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slideLayouts/slideLayout307.xml" ContentType="application/vnd.openxmlformats-officedocument.presentationml.slideLayout+xml"/>
  <Override PartName="/ppt/tags/tag569.xml" ContentType="application/vnd.openxmlformats-officedocument.presentationml.tags+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tags/tag424.xml" ContentType="application/vnd.openxmlformats-officedocument.presentationml.tags+xml"/>
  <Override PartName="/ppt/slideLayouts/slideLayout332.xml" ContentType="application/vnd.openxmlformats-officedocument.presentationml.slideLayout+xml"/>
  <Override PartName="/ppt/tags/tag610.xml" ContentType="application/vnd.openxmlformats-officedocument.presentationml.tags+xml"/>
  <Override PartName="/ppt/slideLayouts/slideLayout477.xml" ContentType="application/vnd.openxmlformats-officedocument.presentationml.slideLayout+xml"/>
  <Override PartName="/ppt/tags/tag755.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63.xml" ContentType="application/vnd.openxmlformats-officedocument.presentationml.tags+xml"/>
  <Override PartName="/ppt/slideLayouts/slideLayout171.xml" ContentType="application/vnd.openxmlformats-officedocument.presentationml.slideLayout+xml"/>
  <Override PartName="/ppt/tags/tag594.xml" ContentType="application/vnd.openxmlformats-officedocument.presentationml.tags+xml"/>
  <Override PartName="/ppt/slideLayouts/slideLayout408.xml" ContentType="application/vnd.openxmlformats-officedocument.presentationml.slideLayout+xml"/>
  <Override PartName="/ppt/tags/tag780.xml" ContentType="application/vnd.openxmlformats-officedocument.presentationml.tags+xml"/>
  <Default Extension="xml" ContentType="application/xml"/>
  <Override PartName="/ppt/slides/slide50.xml" ContentType="application/vnd.openxmlformats-officedocument.presentationml.slide+xml"/>
  <Override PartName="/ppt/slideLayouts/slideLayout24.xml" ContentType="application/vnd.openxmlformats-officedocument.presentationml.slideLayout+xml"/>
  <Override PartName="/ppt/tags/tag38.xml" ContentType="application/vnd.openxmlformats-officedocument.presentationml.tags+xml"/>
  <Override PartName="/ppt/tags/tag339.xml" ContentType="application/vnd.openxmlformats-officedocument.presentationml.tags+xml"/>
  <Override PartName="/ppt/slideLayouts/slideLayout247.xml" ContentType="application/vnd.openxmlformats-officedocument.presentationml.slideLayout+xml"/>
  <Override PartName="/ppt/tags/tag525.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slideLayouts/slideLayout433.xml" ContentType="application/vnd.openxmlformats-officedocument.presentationml.slideLayout+xml"/>
  <Override PartName="/ppt/tags/tag711.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slideLayouts/slideLayout272.xml" ContentType="application/vnd.openxmlformats-officedocument.presentationml.slideLayout+xml"/>
  <Override PartName="/ppt/tags/tag550.xml" ContentType="application/vnd.openxmlformats-officedocument.presentationml.tags+xml"/>
  <Override PartName="/ppt/tags/tag695.xml" ContentType="application/vnd.openxmlformats-officedocument.presentationml.tags+xml"/>
  <Override PartName="/ppt/slideLayouts/slideLayout509.xml" ContentType="application/vnd.openxmlformats-officedocument.presentationml.slideLayout+xml"/>
  <Override PartName="/ppt/tags/tag279.xml" ContentType="application/vnd.openxmlformats-officedocument.presentationml.tags+xml"/>
  <Override PartName="/ppt/slideLayouts/slideLayout203.xml" ContentType="application/vnd.openxmlformats-officedocument.presentationml.slideLayout+xml"/>
  <Override PartName="/ppt/slideLayouts/slideLayout348.xml" ContentType="application/vnd.openxmlformats-officedocument.presentationml.slideLayout+xml"/>
  <Override PartName="/ppt/tags/tag626.xml" ContentType="application/vnd.openxmlformats-officedocument.presentationml.tags+xml"/>
  <Default Extension="xlsx" ContentType="application/vnd.openxmlformats-officedocument.spreadsheetml.sheet"/>
  <Override PartName="/ppt/notesSlides/notesSlide7.xml" ContentType="application/vnd.openxmlformats-officedocument.presentationml.notesSlide+xml"/>
  <Override PartName="/ppt/charts/chart3.xml" ContentType="application/vnd.openxmlformats-officedocument.drawingml.chart+xml"/>
  <Override PartName="/ppt/tags/tag134.xml" ContentType="application/vnd.openxmlformats-officedocument.presentationml.tags+xml"/>
  <Override PartName="/ppt/slideLayouts/slideLayout187.xml" ContentType="application/vnd.openxmlformats-officedocument.presentationml.slideLayout+xml"/>
  <Override PartName="/ppt/tags/tag320.xml" ContentType="application/vnd.openxmlformats-officedocument.presentationml.tags+xml"/>
  <Override PartName="/ppt/tags/tag465.xml" ContentType="application/vnd.openxmlformats-officedocument.presentationml.tags+xml"/>
  <Override PartName="/ppt/slideLayouts/slideLayout373.xml" ContentType="application/vnd.openxmlformats-officedocument.presentationml.slideLayout+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slideLayouts/slideLayout304.xml" ContentType="application/vnd.openxmlformats-officedocument.presentationml.slideLayout+xml"/>
  <Override PartName="/ppt/tags/tag490.xml" ContentType="application/vnd.openxmlformats-officedocument.presentationml.tags+xml"/>
  <Override PartName="/ppt/slideLayouts/slideLayout449.xml" ContentType="application/vnd.openxmlformats-officedocument.presentationml.slideLayout+xml"/>
  <Override PartName="/ppt/tags/tag727.xml" ContentType="application/vnd.openxmlformats-officedocument.presentationml.tags+xml"/>
  <Override PartName="/ppt/diagrams/quickStyle3.xml" ContentType="application/vnd.openxmlformats-officedocument.drawingml.diagramStyle+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tags/tag235.xml" ContentType="application/vnd.openxmlformats-officedocument.presentationml.tags+xml"/>
  <Override PartName="/ppt/tags/tag421.xml" ContentType="application/vnd.openxmlformats-officedocument.presentationml.tags+xml"/>
  <Override PartName="/ppt/slideLayouts/slideLayout288.xml" ContentType="application/vnd.openxmlformats-officedocument.presentationml.slideLayout+xml"/>
  <Override PartName="/ppt/tags/tag566.xml" ContentType="application/vnd.openxmlformats-officedocument.presentationml.tags+xml"/>
  <Override PartName="/ppt/slideLayouts/slideLayout474.xml" ContentType="application/vnd.openxmlformats-officedocument.presentationml.slideLayout+xml"/>
  <Override PartName="/ppt/tags/tag752.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slideLayouts/slideLayout219.xml" ContentType="application/vnd.openxmlformats-officedocument.presentationml.slideLayout+xml"/>
  <Override PartName="/ppt/tags/tag591.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336.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667.xml" ContentType="application/vnd.openxmlformats-officedocument.presentationml.tags+xml"/>
  <Override PartName="/ppt/tags/tag175.xml" ContentType="application/vnd.openxmlformats-officedocument.presentationml.tags+xml"/>
  <Override PartName="/ppt/slideLayouts/slideLayout244.xml" ContentType="application/vnd.openxmlformats-officedocument.presentationml.slideLayout+xml"/>
  <Override PartName="/ppt/tags/tag522.xml" ContentType="application/vnd.openxmlformats-officedocument.presentationml.tags+xml"/>
  <Override PartName="/ppt/slideLayouts/slideLayout430.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tags/tag692.xml" ContentType="application/vnd.openxmlformats-officedocument.presentationml.tags+xml"/>
  <Override PartName="/ppt/slideLayouts/slideLayout506.xml" ContentType="application/vnd.openxmlformats-officedocument.presentationml.slideLayout+xml"/>
  <Override PartName="/ppt/tags/tag106.xml" ContentType="application/vnd.openxmlformats-officedocument.presentationml.tags+xml"/>
  <Override PartName="/ppt/slideLayouts/slideLayout159.xml" ContentType="application/vnd.openxmlformats-officedocument.presentationml.slideLayout+xml"/>
  <Override PartName="/ppt/tags/tag437.xml" ContentType="application/vnd.openxmlformats-officedocument.presentationml.tags+xml"/>
  <Override PartName="/ppt/slideLayouts/slideLayout345.xml" ContentType="application/vnd.openxmlformats-officedocument.presentationml.slideLayout+xml"/>
  <Override PartName="/ppt/tags/tag623.xml" ContentType="application/vnd.openxmlformats-officedocument.presentationml.tags+xml"/>
  <Override PartName="/ppt/tags/tag768.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tags/tag131.xml" ContentType="application/vnd.openxmlformats-officedocument.presentationml.tags+xml"/>
  <Override PartName="/ppt/tags/tag276.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462.xml" ContentType="application/vnd.openxmlformats-officedocument.presentationml.tags+xml"/>
  <Default Extension="svg" ContentType="image/svg+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slideLayouts/slideLayout301.xml" ContentType="application/vnd.openxmlformats-officedocument.presentationml.slideLayout+xml"/>
  <Override PartName="/ppt/tags/tag538.xml" ContentType="application/vnd.openxmlformats-officedocument.presentationml.tags+xml"/>
  <Override PartName="/ppt/slideLayouts/slideLayout446.xml" ContentType="application/vnd.openxmlformats-officedocument.presentationml.slideLayout+xml"/>
  <Override PartName="/ppt/tags/tag724.xml" ContentType="application/vnd.openxmlformats-officedocument.presentationml.tags+xml"/>
  <Override PartName="/ppt/theme/themeOverride3.xml" ContentType="application/vnd.openxmlformats-officedocument.themeOverride+xml"/>
  <Override PartName="/ppt/tags/tag76.xml" ContentType="application/vnd.openxmlformats-officedocument.presentationml.tags+xml"/>
  <Override PartName="/ppt/slideLayouts/slideLayout140.xml" ContentType="application/vnd.openxmlformats-officedocument.presentationml.slideLayout+xml"/>
  <Override PartName="/ppt/tags/tag232.xml" ContentType="application/vnd.openxmlformats-officedocument.presentationml.tags+xml"/>
  <Override PartName="/ppt/tags/tag377.xml" ContentType="application/vnd.openxmlformats-officedocument.presentationml.tags+xml"/>
  <Override PartName="/ppt/slideLayouts/slideLayout285.xml" ContentType="application/vnd.openxmlformats-officedocument.presentationml.slideLayout+xml"/>
  <Override PartName="/ppt/tags/tag563.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639.xml" ContentType="application/vnd.openxmlformats-officedocument.presentationml.tags+xml"/>
  <Override PartName="/ppt/slideLayouts/slideLayout471.xml" ContentType="application/vnd.openxmlformats-officedocument.presentationml.slideLayout+xml"/>
  <Override PartName="/ppt/tags/tag147.xml" ContentType="application/vnd.openxmlformats-officedocument.presentationml.tags+xml"/>
  <Override PartName="/ppt/slideLayouts/slideLayout216.xml" ContentType="application/vnd.openxmlformats-officedocument.presentationml.slideLayout+xml"/>
  <Override PartName="/ppt/tags/tag478.xml" ContentType="application/vnd.openxmlformats-officedocument.presentationml.tags+xml"/>
  <Override PartName="/ppt/slideLayouts/slideLayout402.xml" ContentType="application/vnd.openxmlformats-officedocument.presentationml.slideLayout+xml"/>
  <Override PartName="/ppt/diagrams/layout3.xml" ContentType="application/vnd.openxmlformats-officedocument.drawingml.diagramLayout+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slideLayouts/slideLayout386.xml" ContentType="application/vnd.openxmlformats-officedocument.presentationml.slideLayout+xml"/>
  <Override PartName="/ppt/tags/tag664.xml" ContentType="application/vnd.openxmlformats-officedocument.presentationml.tags+xml"/>
  <Override PartName="/ppt/slideLayouts/slideLayout78.xml" ContentType="application/vnd.openxmlformats-officedocument.presentationml.slideLayout+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03.xml" ContentType="application/vnd.openxmlformats-officedocument.presentationml.tags+xml"/>
  <Override PartName="/ppt/tags/tag248.xml" ContentType="application/vnd.openxmlformats-officedocument.presentationml.tags+xml"/>
  <Override PartName="/ppt/slideLayouts/slideLayout156.xml" ContentType="application/vnd.openxmlformats-officedocument.presentationml.slideLayout+xml"/>
  <Override PartName="/ppt/tags/tag434.xml" ContentType="application/vnd.openxmlformats-officedocument.presentationml.tags+xml"/>
  <Override PartName="/ppt/tags/tag579.xml" ContentType="application/vnd.openxmlformats-officedocument.presentationml.tags+xml"/>
  <Override PartName="/ppt/slideLayouts/slideLayout487.xml" ContentType="application/vnd.openxmlformats-officedocument.presentationml.slideLayout+xml"/>
  <Override PartName="/ppt/slideLayouts/slideLayout503.xml" ContentType="application/vnd.openxmlformats-officedocument.presentationml.slideLayout+xml"/>
  <Override PartName="/ppt/notesSlides/notesSlide1.xml" ContentType="application/vnd.openxmlformats-officedocument.presentationml.notesSlide+xml"/>
  <Override PartName="/ppt/tags/tag273.xml" ContentType="application/vnd.openxmlformats-officedocument.presentationml.tags+xml"/>
  <Override PartName="/ppt/slideLayouts/slideLayout342.xml" ContentType="application/vnd.openxmlformats-officedocument.presentationml.slideLayout+xml"/>
  <Override PartName="/ppt/tags/tag620.xml" ContentType="application/vnd.openxmlformats-officedocument.presentationml.tags+xml"/>
  <Override PartName="/ppt/tags/tag765.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slideLayouts/slideLayout418.xml" ContentType="application/vnd.openxmlformats-officedocument.presentationml.slideLayout+xml"/>
  <Override PartName="/ppt/tags/tag48.xml" ContentType="application/vnd.openxmlformats-officedocument.presentationml.tags+xml"/>
  <Override PartName="/ppt/slideLayouts/slideLayout112.xml" ContentType="application/vnd.openxmlformats-officedocument.presentationml.slideLayout+xml"/>
  <Override PartName="/ppt/tags/tag188.xml" ContentType="application/vnd.openxmlformats-officedocument.presentationml.tags+xml"/>
  <Override PartName="/ppt/tags/tag204.xml" ContentType="application/vnd.openxmlformats-officedocument.presentationml.tags+xml"/>
  <Override PartName="/ppt/tags/tag349.xml" ContentType="application/vnd.openxmlformats-officedocument.presentationml.tags+xml"/>
  <Override PartName="/ppt/slideLayouts/slideLayout257.xml" ContentType="application/vnd.openxmlformats-officedocument.presentationml.slideLayout+xml"/>
  <Override PartName="/ppt/tags/tag535.xml" ContentType="application/vnd.openxmlformats-officedocument.presentationml.tags+xml"/>
  <Override PartName="/ppt/tags/tag73.xml" ContentType="application/vnd.openxmlformats-officedocument.presentationml.tags+xml"/>
  <Override PartName="/ppt/tags/tag374.xml" ContentType="application/vnd.openxmlformats-officedocument.presentationml.tags+xml"/>
  <Override PartName="/ppt/theme/theme17.xml" ContentType="application/vnd.openxmlformats-officedocument.theme+xml"/>
  <Override PartName="/ppt/slideLayouts/slideLayout443.xml" ContentType="application/vnd.openxmlformats-officedocument.presentationml.slideLayout+xml"/>
  <Override PartName="/ppt/tags/tag721.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slideLayouts/slideLayout282.xml" ContentType="application/vnd.openxmlformats-officedocument.presentationml.slideLayout+xml"/>
  <Override PartName="/ppt/tags/tag560.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heme/theme9.xml" ContentType="application/vnd.openxmlformats-officedocument.theme+xml"/>
  <Override PartName="/ppt/slideLayouts/slideLayout213.xml" ContentType="application/vnd.openxmlformats-officedocument.presentationml.slideLayout+xml"/>
  <Override PartName="/ppt/slideLayouts/slideLayout358.xml" ContentType="application/vnd.openxmlformats-officedocument.presentationml.slideLayout+xml"/>
  <Override PartName="/ppt/tags/tag636.xml" ContentType="application/vnd.openxmlformats-officedocument.presentationml.tags+xml"/>
  <Override PartName="/ppt/tags/tag144.xml" ContentType="application/vnd.openxmlformats-officedocument.presentationml.tags+xml"/>
  <Override PartName="/ppt/slideLayouts/slideLayout197.xml" ContentType="application/vnd.openxmlformats-officedocument.presentationml.slideLayout+xml"/>
  <Override PartName="/ppt/tags/tag330.xml" ContentType="application/vnd.openxmlformats-officedocument.presentationml.tags+xml"/>
  <Override PartName="/ppt/tags/tag475.xml" ContentType="application/vnd.openxmlformats-officedocument.presentationml.tags+xml"/>
  <Override PartName="/ppt/slideLayouts/slideLayout383.xml" ContentType="application/vnd.openxmlformats-officedocument.presentationml.slideLayout+xml"/>
  <Override PartName="/ppt/tags/tag661.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slideLayouts/slideLayout459.xml" ContentType="application/vnd.openxmlformats-officedocument.presentationml.slideLayout+xml"/>
  <Override PartName="/ppt/tags/tag737.xml" ContentType="application/vnd.openxmlformats-officedocument.presentationml.tags+xml"/>
  <Override PartName="/ppt/diagrams/drawing2.xml" ContentType="application/vnd.ms-office.drawingml.diagramDrawing+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576.xml" ContentType="application/vnd.openxmlformats-officedocument.presentationml.tags+xml"/>
  <Override PartName="/ppt/slideLayouts/slideLayout500.xml" ContentType="application/vnd.openxmlformats-officedocument.presentationml.slideLayout+xml"/>
  <Override PartName="/ppt/tags/tag100.xml" ContentType="application/vnd.openxmlformats-officedocument.presentationml.tags+xml"/>
  <Override PartName="/ppt/slideLayouts/slideLayout153.xml" ContentType="application/vnd.openxmlformats-officedocument.presentationml.slideLayout+xml"/>
  <Override PartName="/ppt/tags/tag431.xml" ContentType="application/vnd.openxmlformats-officedocument.presentationml.tags+xml"/>
  <Override PartName="/ppt/slideLayouts/slideLayout484.xml" ContentType="application/vnd.openxmlformats-officedocument.presentationml.slideLayout+xml"/>
  <Override PartName="/ppt/tags/tag762.xml" ContentType="application/vnd.openxmlformats-officedocument.presentationml.tags+xml"/>
  <Override PartName="/ppt/slides/slide32.xml" ContentType="application/vnd.openxmlformats-officedocument.presentationml.slide+xml"/>
  <Override PartName="/ppt/tags/tag270.xml" ContentType="application/vnd.openxmlformats-officedocument.presentationml.tags+xml"/>
  <Override PartName="/ppt/slideLayouts/slideLayout229.xml" ContentType="application/vnd.openxmlformats-officedocument.presentationml.slideLayout+xml"/>
  <Override PartName="/ppt/tags/tag507.xml" ContentType="application/vnd.openxmlformats-officedocument.presentationml.tags+xml"/>
  <Override PartName="/ppt/slideLayouts/slideLayout415.xml" ContentType="application/vnd.openxmlformats-officedocument.presentationml.slideLayout+xml"/>
  <Override PartName="/ppt/charts/colors2.xml" ContentType="application/vnd.ms-office.chartcolorstyle+xml"/>
  <Override PartName="/ppt/tags/tag45.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346.xml" ContentType="application/vnd.openxmlformats-officedocument.presentationml.tags+xml"/>
  <Override PartName="/ppt/slideLayouts/slideLayout254.xml" ContentType="application/vnd.openxmlformats-officedocument.presentationml.slideLayout+xml"/>
  <Override PartName="/ppt/tags/tag532.xml" ContentType="application/vnd.openxmlformats-officedocument.presentationml.tags+xml"/>
  <Override PartName="/ppt/slideLayouts/slideLayout399.xml" ContentType="application/vnd.openxmlformats-officedocument.presentationml.slideLayout+xml"/>
  <Override PartName="/ppt/tags/tag677.xml" ContentType="application/vnd.openxmlformats-officedocument.presentationml.tags+xml"/>
  <Override PartName="/ppt/tags/tag185.xml" ContentType="application/vnd.openxmlformats-officedocument.presentationml.tags+xml"/>
  <Override PartName="/ppt/tags/tag371.xml" ContentType="application/vnd.openxmlformats-officedocument.presentationml.tags+xml"/>
  <Override PartName="/ppt/theme/theme14.xml" ContentType="application/vnd.openxmlformats-officedocument.theme+xml"/>
  <Override PartName="/ppt/slideLayouts/slideLayout440.xml" ContentType="application/vnd.openxmlformats-officedocument.presentationml.slideLayout+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slideLayouts/slideLayout516.xml" ContentType="application/vnd.openxmlformats-officedocument.presentationml.slideLayout+xml"/>
  <Override PartName="/ppt/theme/theme6.xml" ContentType="application/vnd.openxmlformats-officedocument.theme+xml"/>
  <Override PartName="/ppt/slideLayouts/slideLayout169.xml" ContentType="application/vnd.openxmlformats-officedocument.presentationml.slideLayout+xml"/>
  <Override PartName="/ppt/tags/tag302.xml" ContentType="application/vnd.openxmlformats-officedocument.presentationml.tags+xml"/>
  <Override PartName="/ppt/slideLayouts/slideLayout210.xml" ContentType="application/vnd.openxmlformats-officedocument.presentationml.slideLayout+xml"/>
  <Override PartName="/ppt/tags/tag447.xml" ContentType="application/vnd.openxmlformats-officedocument.presentationml.tags+xml"/>
  <Override PartName="/ppt/slideLayouts/slideLayout355.xml" ContentType="application/vnd.openxmlformats-officedocument.presentationml.slideLayout+xml"/>
  <Override PartName="/ppt/tags/tag633.xml" ContentType="application/vnd.openxmlformats-officedocument.presentationml.tags+xml"/>
  <Override PartName="/ppt/tags/tag778.xml" ContentType="application/vnd.openxmlformats-officedocument.presentationml.tags+xml"/>
  <Override PartName="/ppt/slides/slide48.xml" ContentType="application/vnd.openxmlformats-officedocument.presentationml.slide+xml"/>
  <Override PartName="/ppt/tags/tag141.xml" ContentType="application/vnd.openxmlformats-officedocument.presentationml.tags+xml"/>
  <Override PartName="/ppt/tags/tag286.xml" ContentType="application/vnd.openxmlformats-officedocument.presentationml.tags+xml"/>
  <Override PartName="/ppt/slideLayouts/slideLayout194.xml" ContentType="application/vnd.openxmlformats-officedocument.presentationml.slideLayout+xml"/>
  <Override PartName="/ppt/tags/tag472.xml" ContentType="application/vnd.openxmlformats-officedocument.presentationml.tags+xml"/>
  <Override PartName="/ppt/tags/tag709.xml" ContentType="application/vnd.openxmlformats-officedocument.presentationml.tags+xml"/>
  <Override PartName="/ppt/charts/style1.xml" ContentType="application/vnd.ms-office.chartstyle+xml"/>
  <Override PartName="/ppt/slideLayouts/slideLayout47.xml" ContentType="application/vnd.openxmlformats-officedocument.presentationml.slideLayout+xml"/>
  <Override PartName="/ppt/tags/tag217.xml" ContentType="application/vnd.openxmlformats-officedocument.presentationml.tags+xml"/>
  <Override PartName="/ppt/tags/tag548.xml" ContentType="application/vnd.openxmlformats-officedocument.presentationml.tags+xml"/>
  <Override PartName="/ppt/slideLayouts/slideLayout380.xml" ContentType="application/vnd.openxmlformats-officedocument.presentationml.slideLayout+xml"/>
  <Override PartName="/ppt/tags/tag86.xml" ContentType="application/vnd.openxmlformats-officedocument.presentationml.tags+xml"/>
  <Override PartName="/ppt/slideLayouts/slideLayout72.xml" ContentType="application/vnd.openxmlformats-officedocument.presentationml.slideLayout+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311.xml" ContentType="application/vnd.openxmlformats-officedocument.presentationml.slideLayout+xml"/>
  <Override PartName="/ppt/slideLayouts/slideLayout456.xml" ContentType="application/vnd.openxmlformats-officedocument.presentationml.slideLayout+xml"/>
  <Override PartName="/ppt/tags/tag734.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slideLayouts/slideLayout295.xml" ContentType="application/vnd.openxmlformats-officedocument.presentationml.slideLayout+xml"/>
  <Override PartName="/ppt/tags/tag573.xml" ContentType="application/vnd.openxmlformats-officedocument.presentationml.tags+xml"/>
  <Override PartName="/ppt/slideLayouts/slideLayout481.xml" ContentType="application/vnd.openxmlformats-officedocument.presentationml.slideLayout+xml"/>
  <Override PartName="/ppt/tags/tag17.xml" ContentType="application/vnd.openxmlformats-officedocument.presentationml.tags+xml"/>
  <Override PartName="/ppt/tags/tag318.xml" ContentType="application/vnd.openxmlformats-officedocument.presentationml.tags+xml"/>
  <Override PartName="/ppt/slideLayouts/slideLayout226.xml" ContentType="application/vnd.openxmlformats-officedocument.presentationml.slideLayout+xml"/>
  <Override PartName="/ppt/tags/tag504.xml" ContentType="application/vnd.openxmlformats-officedocument.presentationml.tags+xml"/>
  <Override PartName="/ppt/tags/tag649.xml" ContentType="application/vnd.openxmlformats-officedocument.presentationml.tags+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488.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42.xml" ContentType="application/vnd.openxmlformats-officedocument.presentationml.tags+xml"/>
  <Override PartName="/ppt/tags/tag182.xml" ContentType="application/vnd.openxmlformats-officedocument.presentationml.tags+xml"/>
  <Override PartName="/ppt/slideLayouts/slideLayout251.xml" ContentType="application/vnd.openxmlformats-officedocument.presentationml.slideLayout+xml"/>
  <Override PartName="/ppt/tags/tag674.xml" ContentType="application/vnd.openxmlformats-officedocument.presentationml.tags+xml"/>
  <Override PartName="/ppt/diagrams/data3.xml" ContentType="application/vnd.openxmlformats-officedocument.drawingml.diagramData+xml"/>
  <Override PartName="/ppt/slideLayouts/slideLayout88.xml" ContentType="application/vnd.openxmlformats-officedocument.presentationml.slideLayout+xml"/>
  <Override PartName="/ppt/theme/theme11.xml" ContentType="application/vnd.openxmlformats-officedocument.theme+xml"/>
  <Override PartName="/ppt/tags/tag419.xml" ContentType="application/vnd.openxmlformats-officedocument.presentationml.tags+xml"/>
  <Override PartName="/ppt/slideLayouts/slideLayout327.xml" ContentType="application/vnd.openxmlformats-officedocument.presentationml.slideLayout+xml"/>
  <Override PartName="/ppt/tags/tag605.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258.xml" ContentType="application/vnd.openxmlformats-officedocument.presentationml.tags+xml"/>
  <Override PartName="/ppt/slideLayouts/slideLayout166.xml" ContentType="application/vnd.openxmlformats-officedocument.presentationml.slideLayout+xml"/>
  <Override PartName="/ppt/tags/tag444.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slides/slide45.xml" ContentType="application/vnd.openxmlformats-officedocument.presentationml.slide+xml"/>
  <Override PartName="/ppt/theme/theme3.xml" ContentType="application/vnd.openxmlformats-officedocument.theme+xml"/>
  <Override PartName="/ppt/tags/tag283.xml" ContentType="application/vnd.openxmlformats-officedocument.presentationml.tags+xml"/>
  <Override PartName="/ppt/slideLayouts/slideLayout352.xml" ContentType="application/vnd.openxmlformats-officedocument.presentationml.slideLayout+xml"/>
  <Override PartName="/ppt/tags/tag630.xml" ContentType="application/vnd.openxmlformats-officedocument.presentationml.tags+xml"/>
  <Override PartName="/ppt/slideLayouts/slideLayout44.xml" ContentType="application/vnd.openxmlformats-officedocument.presentationml.slideLayout+xml"/>
  <Override PartName="/ppt/tags/tag58.xml" ContentType="application/vnd.openxmlformats-officedocument.presentationml.tags+xml"/>
  <Override PartName="/ppt/slideLayouts/slideLayout191.xml" ContentType="application/vnd.openxmlformats-officedocument.presentationml.slideLayout+xml"/>
  <Override PartName="/ppt/tags/tag359.xml" ContentType="application/vnd.openxmlformats-officedocument.presentationml.tags+xml"/>
  <Override PartName="/ppt/slideLayouts/slideLayout428.xml" ContentType="application/vnd.openxmlformats-officedocument.presentationml.slideLayout+xml"/>
  <Override PartName="/ppt/tags/tag706.xml" ContentType="application/vnd.openxmlformats-officedocument.presentationml.tags+xml"/>
  <Override PartName="/ppt/slideLayouts/slideLayout122.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tags/tag400.xml" ContentType="application/vnd.openxmlformats-officedocument.presentationml.tags+xml"/>
  <Override PartName="/ppt/slideLayouts/slideLayout267.xml" ContentType="application/vnd.openxmlformats-officedocument.presentationml.slideLayout+xml"/>
  <Override PartName="/ppt/tags/tag545.xml" ContentType="application/vnd.openxmlformats-officedocument.presentationml.tags+xml"/>
  <Override PartName="/ppt/slideLayouts/slideLayout453.xml" ContentType="application/vnd.openxmlformats-officedocument.presentationml.slideLayout+xml"/>
  <Override PartName="/ppt/tags/tag731.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slideLayouts/slideLayout292.xml" ContentType="application/vnd.openxmlformats-officedocument.presentationml.slideLayout+xml"/>
  <Override PartName="/ppt/tags/tag570.xml" ContentType="application/vnd.openxmlformats-officedocument.presentationml.tags+xml"/>
  <Override PartName="/ppt/theme/theme27.xml" ContentType="application/vnd.openxmlformats-officedocument.theme+xml"/>
  <Override PartName="/ppt/commentAuthors.xml" ContentType="application/vnd.openxmlformats-officedocument.presentationml.commentAuthors+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slideLayouts/slideLayout368.xml" ContentType="application/vnd.openxmlformats-officedocument.presentationml.slideLayout+xml"/>
  <Override PartName="/ppt/tags/tag646.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299.xml" ContentType="application/vnd.openxmlformats-officedocument.presentationml.tags+xml"/>
  <Override PartName="/ppt/slideLayouts/slideLayout223.xml" ContentType="application/vnd.openxmlformats-officedocument.presentationml.slideLayout+xml"/>
  <Override PartName="/ppt/tags/tag485.xml" ContentType="application/vnd.openxmlformats-officedocument.presentationml.tags+xml"/>
  <Override PartName="/ppt/tags/tag501.xml" ContentType="application/vnd.openxmlformats-officedocument.presentationml.tags+xml"/>
  <Override PartName="/ppt/tags/tag340.xml" ContentType="application/vnd.openxmlformats-officedocument.presentationml.tags+xml"/>
  <Override PartName="/ppt/slideLayouts/slideLayout393.xml" ContentType="application/vnd.openxmlformats-officedocument.presentationml.slideLayout+xml"/>
  <Override PartName="/ppt/tags/tag671.xml" ContentType="application/vnd.openxmlformats-officedocument.presentationml.tags+xml"/>
  <Override PartName="/ppt/slideLayouts/slideLayout85.xml" ContentType="application/vnd.openxmlformats-officedocument.presentationml.slideLayout+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slideLayouts/slideLayout469.xml" ContentType="application/vnd.openxmlformats-officedocument.presentationml.slideLayout+xml"/>
  <Override PartName="/ppt/tags/tag747.xml" ContentType="application/vnd.openxmlformats-officedocument.presentationml.tags+xml"/>
  <Override PartName="/ppt/diagrams/colors2.xml" ContentType="application/vnd.openxmlformats-officedocument.drawingml.diagramColors+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55.xml" ContentType="application/vnd.openxmlformats-officedocument.presentationml.tags+xml"/>
  <Override PartName="/ppt/slideLayouts/slideLayout163.xml" ContentType="application/vnd.openxmlformats-officedocument.presentationml.slideLayout+xml"/>
  <Override PartName="/ppt/tags/tag586.xml" ContentType="application/vnd.openxmlformats-officedocument.presentationml.tags+xml"/>
  <Override PartName="/ppt/tags/tag602.xml" ContentType="application/vnd.openxmlformats-officedocument.presentationml.tags+xml"/>
  <Override PartName="/ppt/slideLayouts/slideLayout510.xml" ContentType="application/vnd.openxmlformats-officedocument.presentationml.slideLayout+xml"/>
  <Override PartName="/ppt/slideLayouts/slideLayout16.xml" ContentType="application/vnd.openxmlformats-officedocument.presentationml.slideLayout+xml"/>
  <Override PartName="/ppt/tags/tag280.xml" ContentType="application/vnd.openxmlformats-officedocument.presentationml.tags+xml"/>
  <Override PartName="/ppt/tags/tag441.xml" ContentType="application/vnd.openxmlformats-officedocument.presentationml.tags+xml"/>
  <Override PartName="/ppt/tags/tag772.xml" ContentType="application/vnd.openxmlformats-officedocument.presentationml.tags+xml"/>
  <Override PartName="/ppt/slideLayouts/slideLayout494.xml" ContentType="application/vnd.openxmlformats-officedocument.presentationml.slideLayout+xml"/>
  <Override PartName="/ppt/slides/slide42.xml" ContentType="application/vnd.openxmlformats-officedocument.presentationml.slide+xml"/>
  <Override PartName="/ppt/slideLayouts/slideLayout41.xml" ContentType="application/vnd.openxmlformats-officedocument.presentationml.slideLayout+xml"/>
  <Override PartName="/ppt/slideLayouts/slideLayout239.xml" ContentType="application/vnd.openxmlformats-officedocument.presentationml.slideLayout+xml"/>
  <Override PartName="/ppt/tags/tag517.xml" ContentType="application/vnd.openxmlformats-officedocument.presentationml.tags+xml"/>
  <Override PartName="/ppt/slideLayouts/slideLayout425.xml" ContentType="application/vnd.openxmlformats-officedocument.presentationml.slideLayout+xml"/>
  <Override PartName="/ppt/tags/tag703.xml" ContentType="application/vnd.openxmlformats-officedocument.presentationml.tags+xml"/>
  <Override PartName="/ppt/tags/tag55.xml" ContentType="application/vnd.openxmlformats-officedocument.presentationml.tags+xml"/>
  <Override PartName="/ppt/tags/tag211.xml" ContentType="application/vnd.openxmlformats-officedocument.presentationml.tags+xml"/>
  <Override PartName="/ppt/tags/tag356.xml" ContentType="application/vnd.openxmlformats-officedocument.presentationml.tags+xml"/>
  <Override PartName="/ppt/slideLayouts/slideLayout264.xml" ContentType="application/vnd.openxmlformats-officedocument.presentationml.slideLayout+xml"/>
  <Override PartName="/ppt/tags/tag542.xml" ContentType="application/vnd.openxmlformats-officedocument.presentationml.tags+xml"/>
  <Override PartName="/ppt/tags/tag687.xml" ContentType="application/vnd.openxmlformats-officedocument.presentationml.tags+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slideLayouts/slideLayout450.xml" ContentType="application/vnd.openxmlformats-officedocument.presentationml.slideLayout+xml"/>
  <Override PartName="/ppt/theme/theme24.xml" ContentType="application/vnd.openxmlformats-officedocument.theme+xml"/>
  <Override PartName="/ppt/tags/tag126.xml" ContentType="application/vnd.openxmlformats-officedocument.presentationml.tags+xml"/>
  <Override PartName="/ppt/slideLayouts/slideLayout179.xml" ContentType="application/vnd.openxmlformats-officedocument.presentationml.slideLayout+xml"/>
  <Override PartName="/ppt/tags/tag457.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slideLayouts/slideLayout365.xml" ContentType="application/vnd.openxmlformats-officedocument.presentationml.slideLayout+xml"/>
  <Override PartName="/ppt/tags/tag643.xml" ContentType="application/vnd.openxmlformats-officedocument.presentationml.tags+xml"/>
  <Override PartName="/ppt/slideMasters/slideMaster3.xml" ContentType="application/vnd.openxmlformats-officedocument.presentationml.slideMaster+xml"/>
  <Override PartName="/ppt/slides/slide58.xml" ContentType="application/vnd.openxmlformats-officedocument.presentationml.slide+xml"/>
  <Override PartName="/ppt/slideLayouts/slideLayout57.xml" ContentType="application/vnd.openxmlformats-officedocument.presentationml.slideLayout+xml"/>
  <Override PartName="/ppt/tags/tag151.xml" ContentType="application/vnd.openxmlformats-officedocument.presentationml.tags+xml"/>
  <Override PartName="/ppt/tags/tag482.xml" ContentType="application/vnd.openxmlformats-officedocument.presentationml.tags+xml"/>
  <Override PartName="/ppt/slideLayouts/slideLayout390.xml" ContentType="application/vnd.openxmlformats-officedocument.presentationml.slideLayout+xml"/>
  <Override PartName="/ppt/tags/tag719.xml" ContentType="application/vnd.openxmlformats-officedocument.presentationml.tags+xml"/>
  <Override PartName="/ppt/slideLayouts/slideLayout135.xml" ContentType="application/vnd.openxmlformats-officedocument.presentationml.slideLayout+xml"/>
  <Override PartName="/ppt/tags/tag227.xml" ContentType="application/vnd.openxmlformats-officedocument.presentationml.tags+xml"/>
  <Override PartName="/ppt/tags/tag413.xml" ContentType="application/vnd.openxmlformats-officedocument.presentationml.tags+xml"/>
  <Override PartName="/ppt/tags/tag558.xml" ContentType="application/vnd.openxmlformats-officedocument.presentationml.tags+xml"/>
  <Override PartName="/ppt/slideMasters/slideMaster19.xml" ContentType="application/vnd.openxmlformats-officedocument.presentationml.slideMaster+xml"/>
  <Override PartName="/ppt/tags/tag96.xml" ContentType="application/vnd.openxmlformats-officedocument.presentationml.tags+xml"/>
  <Override PartName="/ppt/slideLayouts/slideLayout82.xml" ContentType="application/vnd.openxmlformats-officedocument.presentationml.slideLayout+xml"/>
  <Override PartName="/ppt/tags/tag252.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slideLayouts/slideLayout466.xml" ContentType="application/vnd.openxmlformats-officedocument.presentationml.slideLayout+xml"/>
  <Override PartName="/ppt/tags/tag744.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583.xml" ContentType="application/vnd.openxmlformats-officedocument.presentationml.tags+xml"/>
  <Override PartName="/ppt/slideLayouts/slideLayout491.xml" ContentType="application/vnd.openxmlformats-officedocument.presentationml.slideLayout+xml"/>
  <Override PartName="/ppt/tags/tag27.xml" ContentType="application/vnd.openxmlformats-officedocument.presentationml.tags+xml"/>
  <Override PartName="/ppt/tags/tag328.xml" ContentType="application/vnd.openxmlformats-officedocument.presentationml.tags+xml"/>
  <Override PartName="/ppt/slideLayouts/slideLayout236.xml" ContentType="application/vnd.openxmlformats-officedocument.presentationml.slideLayout+xml"/>
  <Override PartName="/ppt/tags/tag514.xml" ContentType="application/vnd.openxmlformats-officedocument.presentationml.tags+xml"/>
  <Override PartName="/ppt/tags/tag659.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slideLayouts/slideLayout422.xml" ContentType="application/vnd.openxmlformats-officedocument.presentationml.slideLayout+xml"/>
  <Override PartName="/ppt/tags/tag684.xml" ContentType="application/vnd.openxmlformats-officedocument.presentationml.tags+xml"/>
  <Override PartName="/ppt/tags/tag700.xml" ContentType="application/vnd.openxmlformats-officedocument.presentationml.tags+xml"/>
  <Override PartName="/ppt/tags/tag192.xml" ContentType="application/vnd.openxmlformats-officedocument.presentationml.tags+xml"/>
  <Override PartName="/ppt/slideLayouts/slideLayout261.xml" ContentType="application/vnd.openxmlformats-officedocument.presentationml.slideLayout+xml"/>
  <Override PartName="/ppt/tags/tag429.xml" ContentType="application/vnd.openxmlformats-officedocument.presentationml.tags+xml"/>
  <Override PartName="/ppt/theme/theme21.xml" ContentType="application/vnd.openxmlformats-officedocument.theme+xml"/>
  <Override PartName="/ppt/slideLayouts/slideLayout98.xml" ContentType="application/vnd.openxmlformats-officedocument.presentationml.slideLayout+xml"/>
  <Override PartName="/ppt/tags/tag268.xml" ContentType="application/vnd.openxmlformats-officedocument.presentationml.tags+xml"/>
  <Override PartName="/ppt/slideLayouts/slideLayout337.xml" ContentType="application/vnd.openxmlformats-officedocument.presentationml.slideLayout+xml"/>
  <Override PartName="/ppt/tags/tag599.xml" ContentType="application/vnd.openxmlformats-officedocument.presentationml.tags+xml"/>
  <Override PartName="/ppt/tags/tag615.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slideLayouts/slideLayout176.xml" ContentType="application/vnd.openxmlformats-officedocument.presentationml.slideLayout+xml"/>
  <Override PartName="/ppt/tags/tag454.xml" ContentType="application/vnd.openxmlformats-officedocument.presentationml.tags+xml"/>
  <Override PartName="/ppt/slideLayouts/slideLayout362.xml" ContentType="application/vnd.openxmlformats-officedocument.presentationml.slideLayout+xml"/>
  <Override PartName="/ppt/tags/tag640.xml" ContentType="application/vnd.openxmlformats-officedocument.presentationml.tags+xml"/>
  <Override PartName="/ppt/tags/tag785.xml" ContentType="application/vnd.openxmlformats-officedocument.presentationml.tags+xml"/>
  <Override PartName="/ppt/slides/slide55.xml" ContentType="application/vnd.openxmlformats-officedocument.presentationml.slide+xml"/>
  <Override PartName="/ppt/slideLayouts/slideLayout107.xml" ContentType="application/vnd.openxmlformats-officedocument.presentationml.slideLayout+xml"/>
  <Override PartName="/ppt/tags/tag293.xml" ContentType="application/vnd.openxmlformats-officedocument.presentationml.tags+xml"/>
  <Override PartName="/ppt/slideLayouts/slideLayout438.xml" ContentType="application/vnd.openxmlformats-officedocument.presentationml.slideLayout+xml"/>
  <Override PartName="/ppt/tags/tag716.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369.xml" ContentType="application/vnd.openxmlformats-officedocument.presentationml.tags+xml"/>
  <Override PartName="/ppt/slideLayouts/slideLayout277.xml" ContentType="application/vnd.openxmlformats-officedocument.presentationml.slideLayout+xml"/>
  <Override PartName="/ppt/tags/tag555.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slideLayouts/slideLayout463.xml" ContentType="application/vnd.openxmlformats-officedocument.presentationml.slideLayout+xml"/>
  <Override PartName="/ppt/tags/tag74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93.xml" ContentType="application/vnd.openxmlformats-officedocument.presentationml.tags+xml"/>
  <Override PartName="/ppt/tags/tag139.xml" ContentType="application/vnd.openxmlformats-officedocument.presentationml.tags+xml"/>
  <Override PartName="/ppt/slideLayouts/slideLayout208.xml" ContentType="application/vnd.openxmlformats-officedocument.presentationml.slideLayout+xml"/>
  <Override PartName="/ppt/tags/tag580.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slideLayouts/slideLayout378.xml" ContentType="application/vnd.openxmlformats-officedocument.presentationml.slideLayout+xml"/>
  <Override PartName="/ppt/tags/tag656.xml" ContentType="application/vnd.openxmlformats-officedocument.presentationml.tags+xml"/>
  <Override PartName="/ppt/tags/tag164.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350.xml" ContentType="application/vnd.openxmlformats-officedocument.presentationml.tags+xml"/>
  <Override PartName="/ppt/slideLayouts/slideLayout309.xml" ContentType="application/vnd.openxmlformats-officedocument.presentationml.slideLayout+xml"/>
  <Override PartName="/ppt/tags/tag681.xml" ContentType="application/vnd.openxmlformats-officedocument.presentationml.tags+xml"/>
  <Override PartName="/ppt/slideLayouts/slideLayout95.xml" ContentType="application/vnd.openxmlformats-officedocument.presentationml.slideLayout+xml"/>
  <Override PartName="/ppt/slideLayouts/slideLayout148.xml" ContentType="application/vnd.openxmlformats-officedocument.presentationml.slideLayout+xml"/>
  <Override PartName="/ppt/tags/tag426.xml" ContentType="application/vnd.openxmlformats-officedocument.presentationml.tags+xml"/>
  <Override PartName="/ppt/slideLayouts/slideLayout334.xml" ContentType="application/vnd.openxmlformats-officedocument.presentationml.slideLayout+xml"/>
  <Override PartName="/ppt/tags/tag612.xml" ContentType="application/vnd.openxmlformats-officedocument.presentationml.tags+xml"/>
  <Override PartName="/ppt/slideLayouts/slideLayout479.xml" ContentType="application/vnd.openxmlformats-officedocument.presentationml.slideLayout+xml"/>
  <Override PartName="/ppt/tags/tag757.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65.xml" ContentType="application/vnd.openxmlformats-officedocument.presentationml.tags+xml"/>
  <Override PartName="/ppt/slideLayouts/slideLayout173.xml" ContentType="application/vnd.openxmlformats-officedocument.presentationml.slideLayout+xml"/>
  <Override PartName="/ppt/tags/tag451.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slides/slide2.xml" ContentType="application/vnd.openxmlformats-officedocument.presentationml.slide+xml"/>
  <Override PartName="/ppt/slides/slide52.xml" ContentType="application/vnd.openxmlformats-officedocument.presentationml.slide+xml"/>
  <Override PartName="/ppt/slideLayouts/slideLayout26.xml" ContentType="application/vnd.openxmlformats-officedocument.presentationml.slideLayout+xml"/>
  <Override PartName="/ppt/tags/tag290.xml" ContentType="application/vnd.openxmlformats-officedocument.presentationml.tags+xml"/>
  <Override PartName="/ppt/slideLayouts/slideLayout249.xml" ContentType="application/vnd.openxmlformats-officedocument.presentationml.slideLayout+xml"/>
  <Override PartName="/ppt/tags/tag527.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366.xml" ContentType="application/vnd.openxmlformats-officedocument.presentationml.tags+xml"/>
  <Override PartName="/ppt/slideLayouts/slideLayout435.xml" ContentType="application/vnd.openxmlformats-officedocument.presentationml.slideLayout+xml"/>
  <Override PartName="/ppt/tags/tag713.xml" ContentType="application/vnd.openxmlformats-officedocument.presentationml.tags+xml"/>
  <Override PartName="/ppt/tags/tag65.xml" ContentType="application/vnd.openxmlformats-officedocument.presentationml.tags+xml"/>
  <Override PartName="/ppt/tags/tag221.xml" ContentType="application/vnd.openxmlformats-officedocument.presentationml.tags+xml"/>
  <Override PartName="/ppt/slideLayouts/slideLayout274.xml" ContentType="application/vnd.openxmlformats-officedocument.presentationml.slideLayout+xml"/>
  <Override PartName="/ppt/tags/tag552.xml" ContentType="application/vnd.openxmlformats-officedocument.presentationml.tags+xml"/>
  <Override PartName="/ppt/slideLayouts/slideLayout460.xml" ContentType="application/vnd.openxmlformats-officedocument.presentationml.slideLayout+xml"/>
  <Override PartName="/ppt/tags/tag697.xml" ContentType="application/vnd.openxmlformats-officedocument.presentationml.tags+xml"/>
  <Override PartName="/ppt/slideMasters/slideMaster13.xml" ContentType="application/vnd.openxmlformats-officedocument.presentationml.slideMaster+xml"/>
  <Override PartName="/ppt/tags/tag90.xml" ContentType="application/vnd.openxmlformats-officedocument.presentationml.tags+xml"/>
  <Override PartName="/ppt/slideLayouts/slideLayout205.xml" ContentType="application/vnd.openxmlformats-officedocument.presentationml.slideLayout+xml"/>
  <Override PartName="/ppt/tags/tag391.xml" ContentType="application/vnd.openxmlformats-officedocument.presentationml.tags+xml"/>
  <Override PartName="/ppt/tags/tag628.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slideLayouts/slideLayout189.xml" ContentType="application/vnd.openxmlformats-officedocument.presentationml.slideLayout+xml"/>
  <Override PartName="/ppt/tags/tag322.xml" ContentType="application/vnd.openxmlformats-officedocument.presentationml.tags+xml"/>
  <Override PartName="/ppt/tags/tag467.xml" ContentType="application/vnd.openxmlformats-officedocument.presentationml.tags+xml"/>
  <Override PartName="/ppt/tags/tag21.xml" ContentType="application/vnd.openxmlformats-officedocument.presentationml.tags+xml"/>
  <Override PartName="/ppt/tags/tag161.xml" ContentType="application/vnd.openxmlformats-officedocument.presentationml.tags+xml"/>
  <Override PartName="/ppt/slideLayouts/slideLayout230.xml" ContentType="application/vnd.openxmlformats-officedocument.presentationml.slideLayout+xml"/>
  <Override PartName="/ppt/slideLayouts/slideLayout375.xml" ContentType="application/vnd.openxmlformats-officedocument.presentationml.slideLayout+xml"/>
  <Override PartName="/ppt/tags/tag653.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slideLayouts/slideLayout306.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slideLayouts/slideLayout145.xml" ContentType="application/vnd.openxmlformats-officedocument.presentationml.slideLayout+xml"/>
  <Override PartName="/ppt/tags/tag237.xml" ContentType="application/vnd.openxmlformats-officedocument.presentationml.tags+xml"/>
  <Override PartName="/ppt/tags/tag423.xml" ContentType="application/vnd.openxmlformats-officedocument.presentationml.tags+xml"/>
  <Override PartName="/ppt/tags/tag568.xml" ContentType="application/vnd.openxmlformats-officedocument.presentationml.tags+xml"/>
  <Override PartName="/ppt/slideLayouts/slideLayout476.xml" ContentType="application/vnd.openxmlformats-officedocument.presentationml.slideLayout+xml"/>
  <Override PartName="/ppt/tags/tag754.xml" ContentType="application/vnd.openxmlformats-officedocument.presentationml.tags+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slideLayouts/slideLayout331.xml" ContentType="application/vnd.openxmlformats-officedocument.presentationml.slideLayout+xml"/>
  <Override PartName="/ppt/tags/tag593.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slideLayouts/slideLayout170.xml" ContentType="application/vnd.openxmlformats-officedocument.presentationml.slideLayout+xml"/>
  <Override PartName="/ppt/tags/tag338.xml" ContentType="application/vnd.openxmlformats-officedocument.presentationml.tags+xml"/>
  <Override PartName="/ppt/slideLayouts/slideLayout407.xml" ContentType="application/vnd.openxmlformats-officedocument.presentationml.slideLayout+xml"/>
  <Override PartName="/ppt/tags/tag669.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slideLayouts/slideLayout246.xml" ContentType="application/vnd.openxmlformats-officedocument.presentationml.slideLayout+xml"/>
  <Override PartName="/ppt/tags/tag524.xml" ContentType="application/vnd.openxmlformats-officedocument.presentationml.tags+xml"/>
  <Override PartName="/ppt/slideLayouts/slideLayout432.xml" ContentType="application/vnd.openxmlformats-officedocument.presentationml.slideLayout+xml"/>
  <Override PartName="/ppt/tags/tag710.xml" ContentType="application/vnd.openxmlformats-officedocument.presentationml.tags+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694.xml" ContentType="application/vnd.openxmlformats-officedocument.presentationml.tags+xml"/>
  <Override PartName="/ppt/slideLayouts/slideLayout508.xml" ContentType="application/vnd.openxmlformats-officedocument.presentationml.slideLayout+xml"/>
  <Override PartName="/ppt/slideMasters/slideMaster10.xml" ContentType="application/vnd.openxmlformats-officedocument.presentationml.slideMaster+xml"/>
  <Override PartName="/ppt/tags/tag108.xml" ContentType="application/vnd.openxmlformats-officedocument.presentationml.tags+xml"/>
  <Override PartName="/ppt/tags/tag439.xml" ContentType="application/vnd.openxmlformats-officedocument.presentationml.tags+xml"/>
  <Override PartName="/ppt/slideLayouts/slideLayout347.xml" ContentType="application/vnd.openxmlformats-officedocument.presentationml.slideLayout+xml"/>
  <Override PartName="/ppt/notesSlides/notesSlide6.xml" ContentType="application/vnd.openxmlformats-officedocument.presentationml.notesSlide+xml"/>
  <Override PartName="/ppt/tags/tag133.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625.xml" ContentType="application/vnd.openxmlformats-officedocument.presentationml.tags+xml"/>
  <Override PartName="/ppt/charts/chart2.xml" ContentType="application/vnd.openxmlformats-officedocument.drawingml.chart+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slideLayouts/slideLayout372.xml" ContentType="application/vnd.openxmlformats-officedocument.presentationml.slideLayout+xml"/>
  <Override PartName="/ppt/tags/tag650.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slideLayouts/slideLayout448.xml" ContentType="application/vnd.openxmlformats-officedocument.presentationml.slideLayout+xml"/>
  <Override PartName="/ppt/tags/tag726.xml" ContentType="application/vnd.openxmlformats-officedocument.presentationml.tags+xml"/>
  <Override PartName="/ppt/drawings/drawing2.xml" ContentType="application/vnd.openxmlformats-officedocument.drawingml.chartshapes+xml"/>
  <Override PartName="/ppt/diagrams/quickStyle2.xml" ContentType="application/vnd.openxmlformats-officedocument.drawingml.diagramStyle+xml"/>
  <Override PartName="/ppt/tags/tag78.xml" ContentType="application/vnd.openxmlformats-officedocument.presentationml.tags+xml"/>
  <Override PartName="/ppt/slideLayouts/slideLayout142.xml" ContentType="application/vnd.openxmlformats-officedocument.presentationml.slideLayout+xml"/>
  <Override PartName="/ppt/tags/tag234.xml" ContentType="application/vnd.openxmlformats-officedocument.presentationml.tags+xml"/>
  <Override PartName="/ppt/tags/tag379.xml" ContentType="application/vnd.openxmlformats-officedocument.presentationml.tags+xml"/>
  <Override PartName="/ppt/slideLayouts/slideLayout287.xml" ContentType="application/vnd.openxmlformats-officedocument.presentationml.slideLayout+xml"/>
  <Override PartName="/ppt/tags/tag565.xml" ContentType="application/vnd.openxmlformats-officedocument.presentationml.tags+xml"/>
  <Override PartName="/ppt/tags/tag420.xml" ContentType="application/vnd.openxmlformats-officedocument.presentationml.tags+xml"/>
  <Override PartName="/ppt/slideLayouts/slideLayout473.xml" ContentType="application/vnd.openxmlformats-officedocument.presentationml.slideLayout+xml"/>
  <Override PartName="/ppt/tags/tag751.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tags/tag149.xml" ContentType="application/vnd.openxmlformats-officedocument.presentationml.tags+xml"/>
  <Override PartName="/ppt/slideLayouts/slideLayout218.xml" ContentType="application/vnd.openxmlformats-officedocument.presentationml.slideLayout+xml"/>
  <Override PartName="/ppt/tags/tag590.xml" ContentType="application/vnd.openxmlformats-officedocument.presentationml.tags+xml"/>
  <Override PartName="/ppt/slideLayouts/slideLayout404.xml" ContentType="application/vnd.openxmlformats-officedocument.presentationml.slideLayout+xml"/>
  <Override PartName="/ppt/tags/tag34.xml" ContentType="application/vnd.openxmlformats-officedocument.presentationml.tags+xml"/>
  <Override PartName="/ppt/tags/tag335.xml" ContentType="application/vnd.openxmlformats-officedocument.presentationml.tags+xml"/>
  <Override PartName="/ppt/slideLayouts/slideLayout243.xml" ContentType="application/vnd.openxmlformats-officedocument.presentationml.slideLayout+xml"/>
  <Override PartName="/ppt/tags/tag521.xml" ContentType="application/vnd.openxmlformats-officedocument.presentationml.tags+xml"/>
  <Override PartName="/ppt/slideLayouts/slideLayout388.xml" ContentType="application/vnd.openxmlformats-officedocument.presentationml.slideLayout+xml"/>
  <Override PartName="/ppt/tags/tag666.xml" ContentType="application/vnd.openxmlformats-officedocument.presentationml.tags+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691.xml" ContentType="application/vnd.openxmlformats-officedocument.presentationml.tags+xml"/>
  <Override PartName="/ppt/viewProps.xml" ContentType="application/vnd.openxmlformats-officedocument.presentationml.viewProps+xml"/>
  <Override PartName="/ppt/tags/tag105.xml" ContentType="application/vnd.openxmlformats-officedocument.presentationml.tags+xml"/>
  <Override PartName="/ppt/slideLayouts/slideLayout158.xml" ContentType="application/vnd.openxmlformats-officedocument.presentationml.slideLayout+xml"/>
  <Override PartName="/ppt/tags/tag436.xml" ContentType="application/vnd.openxmlformats-officedocument.presentationml.tags+xml"/>
  <Override PartName="/ppt/slideLayouts/slideLayout505.xml" ContentType="application/vnd.openxmlformats-officedocument.presentationml.slideLayout+xml"/>
  <Override PartName="/ppt/tags/tag275.xml" ContentType="application/vnd.openxmlformats-officedocument.presentationml.tags+xml"/>
  <Override PartName="/ppt/slideLayouts/slideLayout344.xml" ContentType="application/vnd.openxmlformats-officedocument.presentationml.slideLayout+xml"/>
  <Override PartName="/ppt/tags/tag622.xml" ContentType="application/vnd.openxmlformats-officedocument.presentationml.tags+xml"/>
  <Override PartName="/ppt/tags/tag767.xml" ContentType="application/vnd.openxmlformats-officedocument.presentationml.tags+xml"/>
  <Override PartName="/ppt/slideLayouts/slideLayout489.xml" ContentType="application/vnd.openxmlformats-officedocument.presentationml.slideLayout+xml"/>
  <Override PartName="/ppt/notesSlides/notesSlide3.xml" ContentType="application/vnd.openxmlformats-officedocument.presentationml.notes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Layouts/slideLayout183.xml" ContentType="application/vnd.openxmlformats-officedocument.presentationml.slideLayout+xml"/>
  <Override PartName="/ppt/tags/tag461.xml" ContentType="application/vnd.openxmlformats-officedocument.presentationml.tags+xml"/>
  <Override PartName="/ppt/slideLayouts/slideLayout114.xml" ContentType="application/vnd.openxmlformats-officedocument.presentationml.slideLayout+xml"/>
  <Override PartName="/ppt/tags/tag206.xml" ContentType="application/vnd.openxmlformats-officedocument.presentationml.tags+xml"/>
  <Override PartName="/ppt/slideLayouts/slideLayout259.xml" ContentType="application/vnd.openxmlformats-officedocument.presentationml.slideLayout+xml"/>
  <Override PartName="/ppt/tags/tag537.xml" ContentType="application/vnd.openxmlformats-officedocument.presentationml.tags+xml"/>
  <Override PartName="/ppt/tags/tag1.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heme/theme19.xml" ContentType="application/vnd.openxmlformats-officedocument.theme+xml"/>
  <Override PartName="/ppt/slideLayouts/slideLayout445.xml" ContentType="application/vnd.openxmlformats-officedocument.presentationml.slideLayout+xml"/>
  <Override PartName="/ppt/tags/tag723.xml" ContentType="application/vnd.openxmlformats-officedocument.presentationml.tags+xml"/>
  <Override PartName="/ppt/theme/themeOverride2.xml" ContentType="application/vnd.openxmlformats-officedocument.themeOverride+xml"/>
  <Override PartName="/ppt/slideMasters/slideMaster23.xml" ContentType="application/vnd.openxmlformats-officedocument.presentationml.slideMaster+xml"/>
  <Override PartName="/ppt/slideLayouts/slideLayout284.xml" ContentType="application/vnd.openxmlformats-officedocument.presentationml.slideLayout+xml"/>
  <Override PartName="/ppt/tags/tag562.xml" ContentType="application/vnd.openxmlformats-officedocument.presentationml.tags+xml"/>
  <Override PartName="/ppt/slideLayouts/slideLayout470.xml" ContentType="application/vnd.openxmlformats-officedocument.presentationml.slideLayout+xml"/>
  <Override PartName="/ppt/tags/tag307.xml" ContentType="application/vnd.openxmlformats-officedocument.presentationml.tags+xml"/>
  <Override PartName="/ppt/slideLayouts/slideLayout215.xml" ContentType="application/vnd.openxmlformats-officedocument.presentationml.slideLayout+xml"/>
  <Override PartName="/ppt/tags/tag638.xml" ContentType="application/vnd.openxmlformats-officedocument.presentationml.tags+xml"/>
  <Override PartName="/ppt/diagrams/layout2.xml" ContentType="application/vnd.openxmlformats-officedocument.drawingml.diagramLayout+xml"/>
  <Override PartName="/ppt/tags/tag31.xml" ContentType="application/vnd.openxmlformats-officedocument.presentationml.tags+xml"/>
  <Override PartName="/ppt/tags/tag146.xml" ContentType="application/vnd.openxmlformats-officedocument.presentationml.tags+xml"/>
  <Override PartName="/ppt/slideLayouts/slideLayout199.xml" ContentType="application/vnd.openxmlformats-officedocument.presentationml.slideLayout+xml"/>
  <Override PartName="/ppt/tags/tag332.xml" ContentType="application/vnd.openxmlformats-officedocument.presentationml.tags+xml"/>
  <Override PartName="/ppt/tags/tag477.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663.xml" ContentType="application/vnd.openxmlformats-officedocument.presentationml.tags+xml"/>
  <Override PartName="/ppt/tags/tag171.xml" ContentType="application/vnd.openxmlformats-officedocument.presentationml.tags+xml"/>
  <Override PartName="/ppt/slideLayouts/slideLayout240.xml" ContentType="application/vnd.openxmlformats-officedocument.presentationml.slideLayout+xml"/>
  <Override PartName="/ppt/tags/tag408.xml" ContentType="application/vnd.openxmlformats-officedocument.presentationml.tags+xml"/>
  <Override PartName="/ppt/tags/tag739.xml" ContentType="application/vnd.openxmlformats-officedocument.presentationml.tags+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slideLayouts/slideLayout316.xml" ContentType="application/vnd.openxmlformats-officedocument.presentationml.slideLayout+xml"/>
  <Override PartName="/ppt/tags/tag578.xml" ContentType="application/vnd.openxmlformats-officedocument.presentationml.tags+xml"/>
  <Override PartName="/ppt/slideLayouts/slideLayout502.xml" ContentType="application/vnd.openxmlformats-officedocument.presentationml.slideLayout+xml"/>
  <Override PartName="/ppt/tags/tag102.xml" ContentType="application/vnd.openxmlformats-officedocument.presentationml.tags+xml"/>
  <Override PartName="/ppt/slideLayouts/slideLayout155.xml" ContentType="application/vnd.openxmlformats-officedocument.presentationml.slideLayout+xml"/>
  <Override PartName="/ppt/tags/tag433.xml" ContentType="application/vnd.openxmlformats-officedocument.presentationml.tags+xml"/>
  <Override PartName="/ppt/slideLayouts/slideLayout341.xml" ContentType="application/vnd.openxmlformats-officedocument.presentationml.slideLayout+xml"/>
  <Override PartName="/ppt/slideLayouts/slideLayout486.xml" ContentType="application/vnd.openxmlformats-officedocument.presentationml.slideLayout+xml"/>
  <Override PartName="/ppt/tags/tag764.xml" ContentType="application/vnd.openxmlformats-officedocument.presentationml.tags+xml"/>
  <Override PartName="/ppt/slides/slide34.xml" ContentType="application/vnd.openxmlformats-officedocument.presentationml.slide+xml"/>
  <Override PartName="/ppt/tags/tag272.xml" ContentType="application/vnd.openxmlformats-officedocument.presentationml.tags+xml"/>
  <Override PartName="/ppt/slideLayouts/slideLayout180.xml" ContentType="application/vnd.openxmlformats-officedocument.presentationml.slideLayout+xml"/>
  <Override PartName="/ppt/tags/tag509.xml" ContentType="application/vnd.openxmlformats-officedocument.presentationml.tags+xml"/>
  <Override PartName="/ppt/slideLayouts/slideLayout417.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tags/tag203.xml" ContentType="application/vnd.openxmlformats-officedocument.presentationml.tags+xml"/>
  <Override PartName="/ppt/tags/tag348.xml" ContentType="application/vnd.openxmlformats-officedocument.presentationml.tags+xml"/>
  <Override PartName="/ppt/slideLayouts/slideLayout256.xml" ContentType="application/vnd.openxmlformats-officedocument.presentationml.slideLayout+xml"/>
  <Override PartName="/ppt/tags/tag679.xml" ContentType="application/vnd.openxmlformats-officedocument.presentationml.tags+xml"/>
  <Override PartName="/ppt/slideLayouts/slideLayout111.xml" ContentType="application/vnd.openxmlformats-officedocument.presentationml.slideLayout+xml"/>
  <Override PartName="/ppt/tags/tag187.xml" ContentType="application/vnd.openxmlformats-officedocument.presentationml.tags+xml"/>
  <Override PartName="/ppt/theme/theme16.xml" ContentType="application/vnd.openxmlformats-officedocument.theme+xml"/>
  <Override PartName="/ppt/tags/tag534.xml" ContentType="application/vnd.openxmlformats-officedocument.presentationml.tags+xml"/>
  <Override PartName="/ppt/slideLayouts/slideLayout442.xml" ContentType="application/vnd.openxmlformats-officedocument.presentationml.slideLayout+xml"/>
  <Override PartName="/ppt/tags/tag720.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slideMasters/slideMaster20.xml" ContentType="application/vnd.openxmlformats-officedocument.presentationml.slideMaster+xml"/>
  <Override PartName="/ppt/tags/tag50.xml" ContentType="application/vnd.openxmlformats-officedocument.presentationml.tags+xml"/>
  <Override PartName="/ppt/tags/tag304.xml" ContentType="application/vnd.openxmlformats-officedocument.presentationml.tags+xml"/>
  <Override PartName="/ppt/theme/theme8.xml" ContentType="application/vnd.openxmlformats-officedocument.theme+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slideLayouts/slideLayout357.xml" ContentType="application/vnd.openxmlformats-officedocument.presentationml.slideLayout+xml"/>
  <Override PartName="/ppt/tags/tag635.xml" ContentType="application/vnd.openxmlformats-officedocument.presentationml.tags+xml"/>
  <Override PartName="/ppt/slideLayouts/slideLayout420.xml" ContentType="application/vnd.openxmlformats-officedocument.presentationml.slideLayout+xml"/>
  <Override PartName="/ppt/tags/tag682.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slideLayouts/slideLayout149.xml" ContentType="application/vnd.openxmlformats-officedocument.presentationml.slideLayout+xml"/>
  <Override PartName="/ppt/tags/tag288.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427.xml" ContentType="application/vnd.openxmlformats-officedocument.presentationml.tags+xml"/>
  <Override PartName="/ppt/tags/tag474.xml" ContentType="application/vnd.openxmlformats-officedocument.presentationml.tags+xml"/>
  <Override PartName="/ppt/tags/tag758.xml" ContentType="application/vnd.openxmlformats-officedocument.presentationml.tags+xml"/>
  <Override PartName="/ppt/charts/style3.xml" ContentType="application/vnd.ms-office.chartstyle+xml"/>
  <Override PartName="/ppt/slides/slide28.xml" ContentType="application/vnd.openxmlformats-officedocument.presentationml.slide+xml"/>
  <Override PartName="/ppt/slideLayouts/slideLayout49.xml" ContentType="application/vnd.openxmlformats-officedocument.presentationml.slideLayout+xml"/>
  <Override PartName="/ppt/slideLayouts/slideLayout96.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335.xml" ContentType="application/vnd.openxmlformats-officedocument.presentationml.slideLayout+xml"/>
  <Override PartName="/ppt/tags/tag597.xml" ContentType="application/vnd.openxmlformats-officedocument.presentationml.tags+xml"/>
  <Override PartName="/ppt/slideLayouts/slideLayout382.xml" ContentType="application/vnd.openxmlformats-officedocument.presentationml.slideLayout+xml"/>
  <Override PartName="/ppt/tags/tag613.xml" ContentType="application/vnd.openxmlformats-officedocument.presentationml.tags+xml"/>
  <Override PartName="/ppt/tags/tag660.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74.xml" ContentType="application/vnd.openxmlformats-officedocument.presentationml.slideLayout+xml"/>
  <Override PartName="/ppt/slideLayouts/slideLayout127.xml" ContentType="application/vnd.openxmlformats-officedocument.presentationml.slideLayout+xml"/>
  <Override PartName="/ppt/slideLayouts/slideLayout174.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tags/tag452.xml" ContentType="application/vnd.openxmlformats-officedocument.presentationml.tags+xml"/>
  <Override PartName="/ppt/slideLayouts/slideLayout313.xml" ContentType="application/vnd.openxmlformats-officedocument.presentationml.slideLayout+xml"/>
  <Override PartName="/ppt/slideLayouts/slideLayout360.xml" ContentType="application/vnd.openxmlformats-officedocument.presentationml.slideLayout+xml"/>
  <Override PartName="/ppt/slideLayouts/slideLayout458.xml" ContentType="application/vnd.openxmlformats-officedocument.presentationml.slideLayout+xml"/>
  <Override PartName="/ppt/tags/tag736.xml" ContentType="application/vnd.openxmlformats-officedocument.presentationml.tags+xml"/>
  <Override PartName="/ppt/tags/tag783.xml" ContentType="application/vnd.openxmlformats-officedocument.presentationml.tags+xml"/>
  <Override PartName="/ppt/diagrams/drawing1.xml" ContentType="application/vnd.ms-office.drawingml.diagramDrawing+xml"/>
  <Override PartName="/ppt/slides/slide53.xml" ContentType="application/vnd.openxmlformats-officedocument.presentationml.slide+xml"/>
  <Override PartName="/ppt/tags/tag88.xml" ContentType="application/vnd.openxmlformats-officedocument.presentationml.tags+xml"/>
  <Default Extension="jpeg" ContentType="image/jpeg"/>
  <Override PartName="/ppt/slideLayouts/slideLayout105.xml" ContentType="application/vnd.openxmlformats-officedocument.presentationml.slideLayout+xml"/>
  <Override PartName="/ppt/tags/tag244.xml" ContentType="application/vnd.openxmlformats-officedocument.presentationml.tags+xml"/>
  <Override PartName="/ppt/slideLayouts/slideLayout152.xml" ContentType="application/vnd.openxmlformats-officedocument.presentationml.slideLayout+xml"/>
  <Override PartName="/ppt/tags/tag291.xml" ContentType="application/vnd.openxmlformats-officedocument.presentationml.tags+xml"/>
  <Override PartName="/ppt/slideLayouts/slideLayout297.xml" ContentType="application/vnd.openxmlformats-officedocument.presentationml.slideLayout+xml"/>
  <Override PartName="/ppt/tags/tag430.xml" ContentType="application/vnd.openxmlformats-officedocument.presentationml.tags+xml"/>
  <Override PartName="/ppt/tags/tag528.xml" ContentType="application/vnd.openxmlformats-officedocument.presentationml.tags+xml"/>
  <Override PartName="/ppt/tags/tag575.xml" ContentType="application/vnd.openxmlformats-officedocument.presentationml.tags+xml"/>
  <Override PartName="/ppt/slideLayouts/slideLayout436.xml" ContentType="application/vnd.openxmlformats-officedocument.presentationml.slideLayout+xml"/>
  <Override PartName="/ppt/tags/tag714.xml" ContentType="application/vnd.openxmlformats-officedocument.presentationml.tags+xml"/>
  <Override PartName="/ppt/slideLayouts/slideLayout483.xml" ContentType="application/vnd.openxmlformats-officedocument.presentationml.slideLayout+xml"/>
  <Override PartName="/ppt/tags/tag761.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slideLayouts/slideLayout228.xml" ContentType="application/vnd.openxmlformats-officedocument.presentationml.slideLayout+xml"/>
  <Override PartName="/ppt/tags/tag367.xml" ContentType="application/vnd.openxmlformats-officedocument.presentationml.tags+xml"/>
  <Override PartName="/ppt/slideLayouts/slideLayout275.xml" ContentType="application/vnd.openxmlformats-officedocument.presentationml.slideLayout+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tags/tag159.xml" ContentType="application/vnd.openxmlformats-officedocument.presentationml.tags+xml"/>
  <Override PartName="/ppt/slideLayouts/slideLayout130.xml" ContentType="application/vnd.openxmlformats-officedocument.presentationml.slideLayout+xml"/>
  <Override PartName="/ppt/tags/tag345.xml" ContentType="application/vnd.openxmlformats-officedocument.presentationml.tags+xml"/>
  <Override PartName="/ppt/tags/tag392.xml" ContentType="application/vnd.openxmlformats-officedocument.presentationml.tags+xml"/>
  <Override PartName="/ppt/slideLayouts/slideLayout414.xml" ContentType="application/vnd.openxmlformats-officedocument.presentationml.slideLayout+xml"/>
  <Override PartName="/ppt/slideLayouts/slideLayout461.xml" ContentType="application/vnd.openxmlformats-officedocument.presentationml.slideLayout+xml"/>
  <Override PartName="/ppt/charts/colors1.xml" ContentType="application/vnd.ms-office.chartcolorstyle+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slideLayouts/slideLayout206.xml" ContentType="application/vnd.openxmlformats-officedocument.presentationml.slideLayout+xml"/>
  <Override PartName="/ppt/slideLayouts/slideLayout253.xml" ContentType="application/vnd.openxmlformats-officedocument.presentationml.slideLayout+xml"/>
  <Override PartName="/ppt/tags/tag531.xml" ContentType="application/vnd.openxmlformats-officedocument.presentationml.tags+xml"/>
  <Override PartName="/ppt/slideLayouts/slideLayout398.xml" ContentType="application/vnd.openxmlformats-officedocument.presentationml.slideLayout+xml"/>
  <Override PartName="/ppt/tags/tag629.xml" ContentType="application/vnd.openxmlformats-officedocument.presentationml.tags+xml"/>
  <Override PartName="/ppt/tags/tag676.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slideLayouts/slideLayout231.xml" ContentType="application/vnd.openxmlformats-officedocument.presentationml.slideLayout+xml"/>
  <Override PartName="/ppt/tags/tag370.xml" ContentType="application/vnd.openxmlformats-officedocument.presentationml.tags+xml"/>
  <Override PartName="/ppt/theme/theme13.xml" ContentType="application/vnd.openxmlformats-officedocument.theme+xml"/>
  <Override PartName="/ppt/tags/tag468.xml" ContentType="application/vnd.openxmlformats-officedocument.presentationml.tags+xml"/>
  <Override PartName="/ppt/slideLayouts/slideLayout329.xml" ContentType="application/vnd.openxmlformats-officedocument.presentationml.slideLayout+xml"/>
  <Override PartName="/ppt/slideLayouts/slideLayout376.xml" ContentType="application/vnd.openxmlformats-officedocument.presentationml.slideLayout+xml"/>
  <Override PartName="/ppt/tags/tag607.xml" ContentType="application/vnd.openxmlformats-officedocument.presentationml.tags+xml"/>
  <Override PartName="/ppt/tags/tag654.xml" ContentType="application/vnd.openxmlformats-officedocument.presentationml.tags+xml"/>
  <Override PartName="/ppt/slideLayouts/slideLayout68.xml" ContentType="application/vnd.openxmlformats-officedocument.presentationml.slideLayout+xml"/>
  <Override PartName="/ppt/tags/tag115.xml" ContentType="application/vnd.openxmlformats-officedocument.presentationml.tags+xml"/>
  <Override PartName="/ppt/tags/tag162.xml" ContentType="application/vnd.openxmlformats-officedocument.presentationml.tags+xml"/>
  <Override PartName="/ppt/slideLayouts/slideLayout168.xml" ContentType="application/vnd.openxmlformats-officedocument.presentationml.slideLayout+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tags/tag777.xml" ContentType="application/vnd.openxmlformats-officedocument.presentationml.tags+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slides/slide47.xml" ContentType="application/vnd.openxmlformats-officedocument.presentationml.slide+xml"/>
  <Override PartName="/ppt/tags/tag140.xml" ContentType="application/vnd.openxmlformats-officedocument.presentationml.tags+xml"/>
  <Override PartName="/ppt/theme/theme5.xml" ContentType="application/vnd.openxmlformats-officedocument.theme+xml"/>
  <Override PartName="/ppt/tags/tag285.xml" ContentType="application/vnd.openxmlformats-officedocument.presentationml.tags+xml"/>
  <Override PartName="/ppt/slideLayouts/slideLayout354.xml" ContentType="application/vnd.openxmlformats-officedocument.presentationml.slideLayout+xml"/>
  <Override PartName="/ppt/tags/tag632.xml" ContentType="application/vnd.openxmlformats-officedocument.presentationml.tags+xml"/>
  <Override PartName="/ppt/slideLayouts/slideLayout46.xml" ContentType="application/vnd.openxmlformats-officedocument.presentationml.slideLayout+xml"/>
  <Override PartName="/ppt/slideLayouts/slideLayout193.xml" ContentType="application/vnd.openxmlformats-officedocument.presentationml.slideLayout+xml"/>
  <Override PartName="/ppt/tags/tag471.xml" ContentType="application/vnd.openxmlformats-officedocument.presentationml.tags+xml"/>
  <Override PartName="/ppt/tags/tag708.xml" ContentType="application/vnd.openxmlformats-officedocument.presentationml.tags+xml"/>
  <Override PartName="/ppt/tags/tag216.xml" ContentType="application/vnd.openxmlformats-officedocument.presentationml.tags+xml"/>
  <Override PartName="/ppt/slideLayouts/slideLayout124.xml" ContentType="application/vnd.openxmlformats-officedocument.presentationml.slideLayout+xml"/>
  <Override PartName="/ppt/slideLayouts/slideLayout269.xml" ContentType="application/vnd.openxmlformats-officedocument.presentationml.slideLayout+xml"/>
  <Override PartName="/ppt/tags/tag402.xml" ContentType="application/vnd.openxmlformats-officedocument.presentationml.tags+xml"/>
  <Override PartName="/ppt/tags/tag547.xml" ContentType="application/vnd.openxmlformats-officedocument.presentationml.tags+xml"/>
  <Override PartName="/ppt/slideLayouts/slideLayout455.xml" ContentType="application/vnd.openxmlformats-officedocument.presentationml.slideLayout+xml"/>
  <Override PartName="/ppt/tags/tag733.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572.xml" ContentType="application/vnd.openxmlformats-officedocument.presentationml.tags+xml"/>
  <Override PartName="/ppt/tags/tag16.xml" ContentType="application/vnd.openxmlformats-officedocument.presentationml.tags+xml"/>
  <Override PartName="/ppt/tags/tag317.xml" ContentType="application/vnd.openxmlformats-officedocument.presentationml.tags+xml"/>
  <Override PartName="/ppt/slideLayouts/slideLayout480.xml" ContentType="application/vnd.openxmlformats-officedocument.presentationml.slideLayout+xml"/>
  <Override PartName="/ppt/slideMasters/slideMaster8.xml" ContentType="application/vnd.openxmlformats-officedocument.presentationml.slideMaster+xml"/>
  <Override PartName="/ppt/tags/tag156.xml" ContentType="application/vnd.openxmlformats-officedocument.presentationml.tags+xml"/>
  <Override PartName="/ppt/slideLayouts/slideLayout225.xml" ContentType="application/vnd.openxmlformats-officedocument.presentationml.slideLayout+xml"/>
  <Override PartName="/ppt/tags/tag487.xml" ContentType="application/vnd.openxmlformats-officedocument.presentationml.tags+xml"/>
  <Override PartName="/ppt/tags/tag503.xml" ContentType="application/vnd.openxmlformats-officedocument.presentationml.tags+xml"/>
  <Override PartName="/ppt/slideLayouts/slideLayout411.xml" ContentType="application/vnd.openxmlformats-officedocument.presentationml.slideLayout+xml"/>
  <Override PartName="/ppt/tags/tag648.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slideLayouts/slideLayout250.xml" ContentType="application/vnd.openxmlformats-officedocument.presentationml.slideLayout+xml"/>
  <Override PartName="/ppt/slideLayouts/slideLayout395.xml" ContentType="application/vnd.openxmlformats-officedocument.presentationml.slideLayout+xml"/>
  <Override PartName="/ppt/tags/tag673.xml" ContentType="application/vnd.openxmlformats-officedocument.presentationml.tags+xml"/>
  <Override PartName="/ppt/diagrams/data2.xml" ContentType="application/vnd.openxmlformats-officedocument.drawingml.diagramData+xml"/>
  <Override PartName="/ppt/slideLayouts/slideLayout87.xml" ContentType="application/vnd.openxmlformats-officedocument.presentationml.slideLayout+xml"/>
  <Override PartName="/ppt/tags/tag181.xml" ContentType="application/vnd.openxmlformats-officedocument.presentationml.tags+xml"/>
  <Override PartName="/ppt/theme/theme10.xml" ContentType="application/vnd.openxmlformats-officedocument.theme+xml"/>
  <Override PartName="/ppt/tags/tag418.xml" ContentType="application/vnd.openxmlformats-officedocument.presentationml.tags+xml"/>
  <Override PartName="/ppt/slideLayouts/slideLayout326.xml" ContentType="application/vnd.openxmlformats-officedocument.presentationml.slideLayout+xml"/>
  <Override PartName="/ppt/tags/tag749.xml" ContentType="application/vnd.openxmlformats-officedocument.presentationml.tag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slideLayouts/slideLayout512.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443.xml" ContentType="application/vnd.openxmlformats-officedocument.presentationml.tags+xml"/>
  <Override PartName="/ppt/slideLayouts/slideLayout351.xml" ContentType="application/vnd.openxmlformats-officedocument.presentationml.slideLayout+xml"/>
  <Override PartName="/ppt/tags/tag774.xml" ContentType="application/vnd.openxmlformats-officedocument.presentationml.tags+xml"/>
  <Override PartName="/ppt/slideLayouts/slideLayout496.xml" ContentType="application/vnd.openxmlformats-officedocument.presentationml.slideLayout+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slideLayouts/slideLayout190.xml" ContentType="application/vnd.openxmlformats-officedocument.presentationml.slideLayout+xml"/>
  <Override PartName="/ppt/tags/tag519.xml" ContentType="application/vnd.openxmlformats-officedocument.presentationml.tags+xml"/>
  <Override PartName="/ppt/slideLayouts/slideLayout427.xml" ContentType="application/vnd.openxmlformats-officedocument.presentationml.slideLayout+xml"/>
  <Override PartName="/ppt/tags/tag70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slideLayouts/slideLayout266.xml" ContentType="application/vnd.openxmlformats-officedocument.presentationml.slideLayout+xml"/>
  <Override PartName="/ppt/tags/tag544.xml" ContentType="application/vnd.openxmlformats-officedocument.presentationml.tags+xml"/>
  <Override PartName="/ppt/tags/tag689.xml" ContentType="application/vnd.openxmlformats-officedocument.presentationml.tags+xml"/>
  <Override PartName="/ppt/tags/tag82.xml" ContentType="application/vnd.openxmlformats-officedocument.presentationml.tags+xml"/>
  <Override PartName="/ppt/slideLayouts/slideLayout121.xml" ContentType="application/vnd.openxmlformats-officedocument.presentationml.slideLayout+xml"/>
  <Override PartName="/ppt/tags/tag197.xml" ContentType="application/vnd.openxmlformats-officedocument.presentationml.tags+xml"/>
  <Override PartName="/ppt/tags/tag383.xml" ContentType="application/vnd.openxmlformats-officedocument.presentationml.tags+xml"/>
  <Override PartName="/ppt/slideLayouts/slideLayout452.xml" ContentType="application/vnd.openxmlformats-officedocument.presentationml.slideLayout+xml"/>
  <Override PartName="/ppt/tags/tag730.xml" ContentType="application/vnd.openxmlformats-officedocument.presentationml.tags+xml"/>
  <Override PartName="/ppt/theme/theme26.xml" ContentType="application/vnd.openxmlformats-officedocument.theme+xml"/>
  <Override PartName="/ppt/tags/tag128.xml" ContentType="application/vnd.openxmlformats-officedocument.presentationml.tags+xml"/>
  <Override PartName="/ppt/slideLayouts/slideLayout291.xml" ContentType="application/vnd.openxmlformats-officedocument.presentationml.slideLayout+xml"/>
  <Override PartName="/ppt/tags/tag459.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slideLayouts/slideLayout222.xml" ContentType="application/vnd.openxmlformats-officedocument.presentationml.slideLayout+xml"/>
  <Override PartName="/ppt/tags/tag500.xml" ContentType="application/vnd.openxmlformats-officedocument.presentationml.tags+xml"/>
  <Override PartName="/ppt/slideLayouts/slideLayout367.xml" ContentType="application/vnd.openxmlformats-officedocument.presentationml.slideLayout+xml"/>
  <Override PartName="/ppt/tags/tag645.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53.xml" ContentType="application/vnd.openxmlformats-officedocument.presentationml.tags+xml"/>
  <Override PartName="/ppt/tags/tag484.xml" ContentType="application/vnd.openxmlformats-officedocument.presentationml.tags+xml"/>
  <Override PartName="/ppt/slideLayouts/slideLayout392.xml" ContentType="application/vnd.openxmlformats-officedocument.presentationml.slideLayout+xml"/>
  <Override PartName="/ppt/tags/tag670.xml" ContentType="application/vnd.openxmlformats-officedocument.presentationml.tags+xml"/>
  <Override PartName="/ppt/slideLayouts/slideLayout137.xml" ContentType="application/vnd.openxmlformats-officedocument.presentationml.slideLayout+xml"/>
  <Override PartName="/ppt/tags/tag229.xml" ContentType="application/vnd.openxmlformats-officedocument.presentationml.tags+xml"/>
  <Override PartName="/ppt/tags/tag415.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slideLayouts/slideLayout323.xml" ContentType="application/vnd.openxmlformats-officedocument.presentationml.slideLayout+xml"/>
  <Override PartName="/ppt/tags/tag601.xml" ContentType="application/vnd.openxmlformats-officedocument.presentationml.tags+xml"/>
  <Override PartName="/ppt/slideLayouts/slideLayout468.xml" ContentType="application/vnd.openxmlformats-officedocument.presentationml.slideLayout+xml"/>
  <Override PartName="/ppt/tags/tag746.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162.xml" ContentType="application/vnd.openxmlformats-officedocument.presentationml.slideLayout+xml"/>
  <Override PartName="/ppt/tags/tag440.xml" ContentType="application/vnd.openxmlformats-officedocument.presentationml.tags+xml"/>
  <Override PartName="/ppt/tags/tag585.xml" ContentType="application/vnd.openxmlformats-officedocument.presentationml.tags+xml"/>
  <Override PartName="/ppt/tags/tag771.xml" ContentType="application/vnd.openxmlformats-officedocument.presentationml.tags+xml"/>
  <Override PartName="/ppt/slideLayouts/slideLayout493.xml" ContentType="application/vnd.openxmlformats-officedocument.presentationml.slideLayout+xml"/>
  <Override PartName="/ppt/slides/slide41.xml" ContentType="application/vnd.openxmlformats-officedocument.presentationml.slide+xml"/>
  <Override PartName="/ppt/tags/tag29.xml" ContentType="application/vnd.openxmlformats-officedocument.presentationml.tags+xml"/>
  <Override PartName="/ppt/slideLayouts/slideLayout238.xml" ContentType="application/vnd.openxmlformats-officedocument.presentationml.slideLayout+xml"/>
  <Override PartName="/ppt/tags/tag516.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slideLayouts/slideLayout424.xml" ContentType="application/vnd.openxmlformats-officedocument.presentationml.slideLayout+xml"/>
  <Override PartName="/ppt/tags/tag686.xml" ContentType="application/vnd.openxmlformats-officedocument.presentationml.tags+xml"/>
  <Override PartName="/ppt/tags/tag702.xml" ContentType="application/vnd.openxmlformats-officedocument.presentationml.tags+xml"/>
  <Override PartName="/ppt/tags/tag194.xml" ContentType="application/vnd.openxmlformats-officedocument.presentationml.tags+xml"/>
  <Override PartName="/ppt/slideLayouts/slideLayout263.xml" ContentType="application/vnd.openxmlformats-officedocument.presentationml.slideLayout+xml"/>
  <Override PartName="/ppt/tags/tag541.xml" ContentType="application/vnd.openxmlformats-officedocument.presentationml.tags+xml"/>
  <Override PartName="/ppt/theme/theme23.xml" ContentType="application/vnd.openxmlformats-officedocument.theme+xml"/>
  <Override PartName="/ppt/tags/tag380.xml" ContentType="application/vnd.openxmlformats-officedocument.presentationml.tags+xml"/>
  <Override PartName="/ppt/slideLayouts/slideLayout339.xml" ContentType="application/vnd.openxmlformats-officedocument.presentationml.slideLayout+xml"/>
  <Override PartName="/ppt/tags/tag617.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slideLayouts/slideLayout178.xml" ContentType="application/vnd.openxmlformats-officedocument.presentationml.slideLayout+xml"/>
  <Override PartName="/ppt/tags/tag456.xml" ContentType="application/vnd.openxmlformats-officedocument.presentationml.tags+xml"/>
  <Override PartName="/ppt/slideLayouts/slideLayout364.xml" ContentType="application/vnd.openxmlformats-officedocument.presentationml.slideLayout+xml"/>
  <Override PartName="/ppt/tags/tag642.xml" ContentType="application/vnd.openxmlformats-officedocument.presentationml.tags+xml"/>
  <Override PartName="/ppt/tags/tag787.xml" ContentType="application/vnd.openxmlformats-officedocument.presentationml.tags+xml"/>
  <Override PartName="/ppt/slideMasters/slideMaster2.xml" ContentType="application/vnd.openxmlformats-officedocument.presentationml.slideMaster+xml"/>
  <Override PartName="/ppt/slides/slide57.xml" ContentType="application/vnd.openxmlformats-officedocument.presentationml.slide+xml"/>
  <Override PartName="/ppt/tags/tag150.xml" ContentType="application/vnd.openxmlformats-officedocument.presentationml.tags+xml"/>
  <Override PartName="/ppt/slideLayouts/slideLayout109.xml" ContentType="application/vnd.openxmlformats-officedocument.presentationml.slideLayout+xml"/>
  <Override PartName="/ppt/tags/tag295.xml" ContentType="application/vnd.openxmlformats-officedocument.presentationml.tags+xml"/>
  <Override PartName="/ppt/tags/tag481.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slideLayouts/slideLayout279.xml" ContentType="application/vnd.openxmlformats-officedocument.presentationml.slideLayout+xml"/>
  <Override PartName="/ppt/tags/tag718.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slideLayouts/slideLayout320.xml" ContentType="application/vnd.openxmlformats-officedocument.presentationml.slideLayout+xml"/>
  <Override PartName="/ppt/tags/tag557.xml" ContentType="application/vnd.openxmlformats-officedocument.presentationml.tags+xml"/>
  <Override PartName="/ppt/slideLayouts/slideLayout465.xml" ContentType="application/vnd.openxmlformats-officedocument.presentationml.slideLayout+xml"/>
  <Override PartName="/ppt/tags/tag743.xml" ContentType="application/vnd.openxmlformats-officedocument.presentationml.tags+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327.xml" ContentType="application/vnd.openxmlformats-officedocument.presentationml.tags+xml"/>
  <Override PartName="/ppt/slideLayouts/slideLayout235.xml" ContentType="application/vnd.openxmlformats-officedocument.presentationml.slideLayout+xml"/>
  <Override PartName="/ppt/tags/tag658.xml" ContentType="application/vnd.openxmlformats-officedocument.presentationml.tags+xml"/>
  <Override PartName="/ppt/slideLayouts/slideLayout490.xml" ContentType="application/vnd.openxmlformats-officedocument.presentationml.slideLayout+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slideLayouts/slideLayout421.xml" ContentType="application/vnd.openxmlformats-officedocument.presentationml.slideLayout+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683.xml" ContentType="application/vnd.openxmlformats-officedocument.presentationml.tags+xml"/>
  <Override PartName="/ppt/slideLayouts/slideLayout97.xml" ContentType="application/vnd.openxmlformats-officedocument.presentationml.slideLayout+xml"/>
  <Override PartName="/ppt/tags/tag191.xml" ContentType="application/vnd.openxmlformats-officedocument.presentationml.tags+xml"/>
  <Override PartName="/ppt/tags/tag428.xml" ContentType="application/vnd.openxmlformats-officedocument.presentationml.tags+xml"/>
  <Override PartName="/ppt/slideLayouts/slideLayout336.xml" ContentType="application/vnd.openxmlformats-officedocument.presentationml.slideLayout+xml"/>
  <Override PartName="/ppt/tags/tag614.xml" ContentType="application/vnd.openxmlformats-officedocument.presentationml.tags+xml"/>
  <Override PartName="/ppt/theme/theme20.xml" ContentType="application/vnd.openxmlformats-officedocument.theme+xml"/>
  <Override PartName="/ppt/tags/tag759.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slideLayouts/slideLayout175.xml" ContentType="application/vnd.openxmlformats-officedocument.presentationml.slideLayout+xml"/>
  <Override PartName="/ppt/tags/tag453.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slideLayouts/slideLayout361.xml" ContentType="application/vnd.openxmlformats-officedocument.presentationml.slideLayout+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slideLayouts/slideLayout437.xml" ContentType="application/vnd.openxmlformats-officedocument.presentationml.slideLayout+xml"/>
  <Override PartName="/ppt/tags/tag715.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slideLayouts/slideLayout276.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slideLayouts/slideLayout462.xml" ContentType="application/vnd.openxmlformats-officedocument.presentationml.slideLayout+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slideLayouts/slideLayout207.xml" ContentType="application/vnd.openxmlformats-officedocument.presentationml.slideLayout+xml"/>
  <Override PartName="/ppt/tags/tag393.xml" ContentType="application/vnd.openxmlformats-officedocument.presentationml.tags+xml"/>
  <Override PartName="/ppt/tags/tag740.xml" ContentType="application/vnd.openxmlformats-officedocument.presentationml.tags+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slideLayouts/slideLayout232.xml" ContentType="application/vnd.openxmlformats-officedocument.presentationml.slideLayout+xml"/>
  <Override PartName="/ppt/tags/tag510.xml" ContentType="application/vnd.openxmlformats-officedocument.presentationml.tags+xml"/>
  <Override PartName="/ppt/slideLayouts/slideLayout377.xml" ContentType="application/vnd.openxmlformats-officedocument.presentationml.slideLayout+xml"/>
  <Override PartName="/ppt/tags/tag655.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slideLayouts/slideLayout308.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slideLayouts/slideLayout147.xml" ContentType="application/vnd.openxmlformats-officedocument.presentationml.slideLayout+xml"/>
  <Override PartName="/ppt/tags/tag425.xml" ContentType="application/vnd.openxmlformats-officedocument.presentationml.tags+xml"/>
  <Override PartName="/ppt/slideLayouts/slideLayout478.xml" ContentType="application/vnd.openxmlformats-officedocument.presentationml.slideLayout+xml"/>
  <Override PartName="/ppt/tags/tag756.xml" ContentType="application/vnd.openxmlformats-officedocument.presentationml.tags+xml"/>
  <Override PartName="/ppt/slides/slide26.xml" ContentType="application/vnd.openxmlformats-officedocument.presentationml.slide+xml"/>
  <Override PartName="/ppt/slideLayouts/slideLayout94.xml" ContentType="application/vnd.openxmlformats-officedocument.presentationml.slideLayout+xml"/>
  <Override PartName="/ppt/tags/tag264.xml" ContentType="application/vnd.openxmlformats-officedocument.presentationml.tags+xml"/>
  <Override PartName="/ppt/slideLayouts/slideLayout333.xml" ContentType="application/vnd.openxmlformats-officedocument.presentationml.slideLayout+xml"/>
  <Override PartName="/ppt/tags/tag595.xml" ContentType="application/vnd.openxmlformats-officedocument.presentationml.tags+xml"/>
  <Override PartName="/ppt/tags/tag611.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slideLayouts/slideLayout172.xml" ContentType="application/vnd.openxmlformats-officedocument.presentationml.slideLayout+xml"/>
  <Override PartName="/ppt/tags/tag450.xml" ContentType="application/vnd.openxmlformats-officedocument.presentationml.tags+xml"/>
  <Override PartName="/ppt/slideLayouts/slideLayout409.xml" ContentType="application/vnd.openxmlformats-officedocument.presentationml.slideLayout+xml"/>
  <Override PartName="/ppt/tags/tag781.xml" ContentType="application/vnd.openxmlformats-officedocument.presentationml.tags+xml"/>
  <Override PartName="/ppt/slides/slide51.xml" ContentType="application/vnd.openxmlformats-officedocument.presentationml.slide+xml"/>
  <Override PartName="/ppt/tags/tag179.xml" ContentType="application/vnd.openxmlformats-officedocument.presentationml.tags+xml"/>
  <Override PartName="/ppt/slideLayouts/slideLayout103.xml" ContentType="application/vnd.openxmlformats-officedocument.presentationml.slideLayout+xml"/>
  <Override PartName="/ppt/slideLayouts/slideLayout248.xml" ContentType="application/vnd.openxmlformats-officedocument.presentationml.slideLayout+xml"/>
  <Override PartName="/ppt/tags/tag526.xml" ContentType="application/vnd.openxmlformats-officedocument.presentationml.tags+xml"/>
  <Override PartName="/ppt/slideLayouts/slideLayout434.xml" ContentType="application/vnd.openxmlformats-officedocument.presentationml.slideLayout+xml"/>
  <Override PartName="/ppt/tags/tag712.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slideLayouts/slideLayout273.xml" ContentType="application/vnd.openxmlformats-officedocument.presentationml.slideLayout+xml"/>
  <Override PartName="/ppt/tags/tag551.xml" ContentType="application/vnd.openxmlformats-officedocument.presentationml.tags+xml"/>
  <Override PartName="/ppt/tags/tag696.xml" ContentType="application/vnd.openxmlformats-officedocument.presentationml.tags+xml"/>
  <Override PartName="/ppt/slideMasters/slideMaster12.xml" ContentType="application/vnd.openxmlformats-officedocument.presentationml.slideMaster+xml"/>
  <Override PartName="/ppt/tags/tag390.xml" ContentType="application/vnd.openxmlformats-officedocument.presentationml.tags+xml"/>
  <Override PartName="/ppt/slideLayouts/slideLayout349.xml" ContentType="application/vnd.openxmlformats-officedocument.presentationml.slideLayout+xml"/>
  <Override PartName="/ppt/notesSlides/notesSlide8.xml" ContentType="application/vnd.openxmlformats-officedocument.presentationml.notesSlide+xml"/>
  <Override PartName="/ppt/tags/tag135.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627.xml" ContentType="application/vnd.openxmlformats-officedocument.presentationml.tags+xml"/>
  <Override PartName="/ppt/charts/chart4.xml" ContentType="application/vnd.openxmlformats-officedocument.drawingml.chart+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slideLayouts/slideLayout374.xml" ContentType="application/vnd.openxmlformats-officedocument.presentationml.slideLayout+xml"/>
  <Override PartName="/ppt/tags/tag652.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236.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567.xml" ContentType="application/vnd.openxmlformats-officedocument.presentationml.tags+xml"/>
  <Override PartName="/ppt/slideLayouts/slideLayout91.xml" ContentType="application/vnd.openxmlformats-officedocument.presentationml.slideLayout+xml"/>
  <Override PartName="/ppt/slideLayouts/slideLayout144.xml" ContentType="application/vnd.openxmlformats-officedocument.presentationml.slideLayout+xml"/>
  <Override PartName="/ppt/tags/tag422.xml" ContentType="application/vnd.openxmlformats-officedocument.presentationml.tags+xml"/>
  <Override PartName="/ppt/slideLayouts/slideLayout330.xml" ContentType="application/vnd.openxmlformats-officedocument.presentationml.slideLayout+xml"/>
  <Override PartName="/ppt/slideLayouts/slideLayout475.xml" ContentType="application/vnd.openxmlformats-officedocument.presentationml.slideLayout+xml"/>
  <Override PartName="/ppt/tags/tag753.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slideLayouts/slideLayout406.xml" ContentType="application/vnd.openxmlformats-officedocument.presentationml.slideLayout+xml"/>
  <Override PartName="/ppt/tags/tag36.xml" ContentType="application/vnd.openxmlformats-officedocument.presentationml.tags+xml"/>
  <Override PartName="/ppt/tags/tag337.xml" ContentType="application/vnd.openxmlformats-officedocument.presentationml.tags+xml"/>
  <Override PartName="/ppt/slideLayouts/slideLayout245.xml" ContentType="application/vnd.openxmlformats-officedocument.presentationml.slideLayout+xml"/>
  <Override PartName="/ppt/tags/tag523.xml" ContentType="application/vnd.openxmlformats-officedocument.presentationml.tags+xml"/>
  <Override PartName="/ppt/tags/tag668.xml" ContentType="application/vnd.openxmlformats-officedocument.presentationml.tags+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slideLayouts/slideLayout431.xml" ContentType="application/vnd.openxmlformats-officedocument.presentationml.slideLayout+xml"/>
  <Override PartName="/ppt/tags/tag693.xml" ContentType="application/vnd.openxmlformats-officedocument.presentationml.tags+xml"/>
  <Override PartName="/ppt/tags/tag107.xml" ContentType="application/vnd.openxmlformats-officedocument.presentationml.tags+xml"/>
  <Override PartName="/ppt/slideLayouts/slideLayout270.xml" ContentType="application/vnd.openxmlformats-officedocument.presentationml.slideLayout+xml"/>
  <Override PartName="/ppt/tags/tag438.xml" ContentType="application/vnd.openxmlformats-officedocument.presentationml.tags+xml"/>
  <Override PartName="/ppt/slideLayouts/slideLayout507.xml" ContentType="application/vnd.openxmlformats-officedocument.presentationml.slideLayout+xml"/>
  <Override PartName="/ppt/tags/tag277.xml" ContentType="application/vnd.openxmlformats-officedocument.presentationml.tags+xml"/>
  <Override PartName="/ppt/slideLayouts/slideLayout201.xml" ContentType="application/vnd.openxmlformats-officedocument.presentationml.slideLayout+xml"/>
  <Override PartName="/ppt/slideLayouts/slideLayout346.xml" ContentType="application/vnd.openxmlformats-officedocument.presentationml.slideLayout+xml"/>
  <Override PartName="/ppt/tags/tag624.xml" ContentType="application/vnd.openxmlformats-officedocument.presentationml.tags+xml"/>
  <Override PartName="/ppt/tags/tag769.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slides/slide39.xml" ContentType="application/vnd.openxmlformats-officedocument.presentationml.slide+xml"/>
  <Override PartName="/ppt/slideLayouts/slideLayout38.xml" ContentType="application/vnd.openxmlformats-officedocument.presentationml.slideLayout+xml"/>
  <Override PartName="/ppt/tags/tag132.xml" ContentType="application/vnd.openxmlformats-officedocument.presentationml.tags+xml"/>
  <Override PartName="/ppt/slideLayouts/slideLayout185.xml" ContentType="application/vnd.openxmlformats-officedocument.presentationml.slideLayout+xml"/>
  <Override PartName="/ppt/tags/tag463.xml" ContentType="application/vnd.openxmlformats-officedocument.presentationml.tags+xml"/>
  <Override PartName="/ppt/slideLayouts/slideLayout371.xml" ContentType="application/vnd.openxmlformats-officedocument.presentationml.slideLayout+xml"/>
  <Override PartName="/ppt/slideLayouts/slideLayout116.xml" ContentType="application/vnd.openxmlformats-officedocument.presentationml.slideLayout+xml"/>
  <Override PartName="/ppt/tags/tag208.xml" ContentType="application/vnd.openxmlformats-officedocument.presentationml.tags+xml"/>
  <Override PartName="/ppt/tags/tag539.xml" ContentType="application/vnd.openxmlformats-officedocument.presentationml.tags+xml"/>
  <Override PartName="/ppt/drawings/drawing1.xml" ContentType="application/vnd.openxmlformats-officedocument.drawingml.chartshape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slideLayouts/slideLayout302.xml" ContentType="application/vnd.openxmlformats-officedocument.presentationml.slideLayout+xml"/>
  <Override PartName="/ppt/slideLayouts/slideLayout447.xml" ContentType="application/vnd.openxmlformats-officedocument.presentationml.slideLayout+xml"/>
  <Override PartName="/ppt/tags/tag725.xml" ContentType="application/vnd.openxmlformats-officedocument.presentationml.tags+xml"/>
  <Override PartName="/ppt/diagrams/quickStyle1.xml" ContentType="application/vnd.openxmlformats-officedocument.drawingml.diagramStyle+xml"/>
  <Override PartName="/ppt/theme/themeOverride4.xml" ContentType="application/vnd.openxmlformats-officedocument.themeOverride+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slideLayouts/slideLayout286.xml" ContentType="application/vnd.openxmlformats-officedocument.presentationml.slideLayout+xml"/>
  <Override PartName="/ppt/tags/tag564.xml" ContentType="application/vnd.openxmlformats-officedocument.presentationml.tags+xml"/>
  <Override PartName="/ppt/slideLayouts/slideLayout472.xml" ContentType="application/vnd.openxmlformats-officedocument.presentationml.slideLayout+xml"/>
  <Override PartName="/ppt/tags/tag750.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665.xml" ContentType="application/vnd.openxmlformats-officedocument.presentationml.tags+xml"/>
  <Override PartName="/ppt/tags/tag173.xml" ContentType="application/vnd.openxmlformats-officedocument.presentationml.tags+xml"/>
  <Override PartName="/ppt/slideLayouts/slideLayout242.xml" ContentType="application/vnd.openxmlformats-officedocument.presentationml.slideLayout+xml"/>
  <Override PartName="/ppt/tags/tag520.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slideLayouts/slideLayout318.xml" ContentType="application/vnd.openxmlformats-officedocument.presentationml.slideLayout+xml"/>
  <Override PartName="/ppt/tags/tag690.xml" ContentType="application/vnd.openxmlformats-officedocument.presentationml.tags+xml"/>
  <Override PartName="/ppt/slideLayouts/slideLayout504.xml" ContentType="application/vnd.openxmlformats-officedocument.presentationml.slideLayout+xml"/>
  <Override PartName="/ppt/tags/tag104.xml" ContentType="application/vnd.openxmlformats-officedocument.presentationml.tags+xml"/>
  <Override PartName="/ppt/slideLayouts/slideLayout157.xml" ContentType="application/vnd.openxmlformats-officedocument.presentationml.slideLayout+xml"/>
  <Override PartName="/ppt/tags/tag435.xml" ContentType="application/vnd.openxmlformats-officedocument.presentationml.tags+xml"/>
  <Override PartName="/ppt/slideLayouts/slideLayout343.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slideLayouts/slideLayout488.xml" ContentType="application/vnd.openxmlformats-officedocument.presentationml.slideLayout+xml"/>
  <Override PartName="/ppt/notesSlides/notesSlide2.xml" ContentType="application/vnd.openxmlformats-officedocument.presentationml.notesSlide+xml"/>
  <Override PartName="/ppt/slides/slide36.xml" ContentType="application/vnd.openxmlformats-officedocument.presentationml.slide+xml"/>
  <Override PartName="/ppt/tags/tag274.xml" ContentType="application/vnd.openxmlformats-officedocument.presentationml.tags+xml"/>
  <Override PartName="/ppt/slideLayouts/slideLayout182.xml" ContentType="application/vnd.openxmlformats-officedocument.presentationml.slideLayout+xml"/>
  <Override PartName="/ppt/tags/tag460.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tags/tag205.xml" ContentType="application/vnd.openxmlformats-officedocument.presentationml.tags+xml"/>
  <Override PartName="/ppt/slideLayouts/slideLayout258.xml" ContentType="application/vnd.openxmlformats-officedocument.presentationml.slideLayout+xml"/>
  <Override PartName="/ppt/slideLayouts/slideLayout419.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tags/tag189.xml" ContentType="application/vnd.openxmlformats-officedocument.presentationml.tags+xml"/>
  <Override PartName="/ppt/tags/tag536.xml" ContentType="application/vnd.openxmlformats-officedocument.presentationml.tags+xml"/>
  <Override PartName="/ppt/theme/theme18.xml" ContentType="application/vnd.openxmlformats-officedocument.theme+xml"/>
  <Override PartName="/ppt/slideLayouts/slideLayout444.xml" ContentType="application/vnd.openxmlformats-officedocument.presentationml.slideLayout+xml"/>
  <Override PartName="/ppt/tags/tag722.xml" ContentType="application/vnd.openxmlformats-officedocument.presentationml.tags+xml"/>
  <Override PartName="/ppt/theme/themeOverride1.xml" ContentType="application/vnd.openxmlformats-officedocument.themeOverride+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slideLayouts/slideLayout283.xml" ContentType="application/vnd.openxmlformats-officedocument.presentationml.slideLayout+xml"/>
  <Override PartName="/ppt/tags/tag561.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slideLayouts/slideLayout359.xml" ContentType="application/vnd.openxmlformats-officedocument.presentationml.slideLayout+xml"/>
  <Override PartName="/ppt/tags/tag637.xml" ContentType="application/vnd.openxmlformats-officedocument.presentationml.tags+xml"/>
  <Override PartName="/ppt/tags/tag145.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476.xml" ContentType="application/vnd.openxmlformats-officedocument.presentationml.tags+xml"/>
  <Override PartName="/ppt/slideLayouts/slideLayout400.xml" ContentType="application/vnd.openxmlformats-officedocument.presentationml.slideLayout+xml"/>
  <Override PartName="/ppt/diagrams/layout1.xml" ContentType="application/vnd.openxmlformats-officedocument.drawingml.diagramLayout+xml"/>
  <Override PartName="/ppt/tags/tag30.xml" ContentType="application/vnd.openxmlformats-officedocument.presentationml.tags+xml"/>
  <Override PartName="/ppt/tags/tag331.xml" ContentType="application/vnd.openxmlformats-officedocument.presentationml.tags+xml"/>
  <Override PartName="/ppt/slideLayouts/slideLayout384.xml" ContentType="application/vnd.openxmlformats-officedocument.presentationml.slideLayout+xml"/>
  <Override PartName="/ppt/tags/tag662.xml" ContentType="application/vnd.openxmlformats-officedocument.presentationml.tags+xml"/>
  <Override PartName="/ppt/slideLayouts/slideLayout76.xml" ContentType="application/vnd.openxmlformats-officedocument.presentationml.slideLayout+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slideLayouts/slideLayout315.xml" ContentType="application/vnd.openxmlformats-officedocument.presentationml.slideLayout+xml"/>
  <Override PartName="/ppt/tags/tag738.xml" ContentType="application/vnd.openxmlformats-officedocument.presentationml.tags+xml"/>
  <Override PartName="/ppt/diagrams/drawing3.xml" ContentType="application/vnd.ms-office.drawingml.diagramDrawing+xml"/>
  <Override PartName="/ppt/tags/tag101.xml" ContentType="application/vnd.openxmlformats-officedocument.presentationml.tags+xml"/>
  <Override PartName="/ppt/tags/tag246.xml" ContentType="application/vnd.openxmlformats-officedocument.presentationml.tags+xml"/>
  <Override PartName="/ppt/slideLayouts/slideLayout154.xml" ContentType="application/vnd.openxmlformats-officedocument.presentationml.slideLayout+xml"/>
  <Override PartName="/ppt/slideLayouts/slideLayout299.xml" ContentType="application/vnd.openxmlformats-officedocument.presentationml.slideLayout+xml"/>
  <Override PartName="/ppt/tags/tag432.xml" ContentType="application/vnd.openxmlformats-officedocument.presentationml.tags+xml"/>
  <Override PartName="/ppt/tags/tag577.xml" ContentType="application/vnd.openxmlformats-officedocument.presentationml.tags+xml"/>
  <Override PartName="/ppt/slideLayouts/slideLayout485.xml" ContentType="application/vnd.openxmlformats-officedocument.presentationml.slideLayout+xml"/>
  <Override PartName="/ppt/slideLayouts/slideLayout501.xml" ContentType="application/vnd.openxmlformats-officedocument.presentationml.slideLayout+xml"/>
  <Override PartName="/ppt/slides/slide33.xml" ContentType="application/vnd.openxmlformats-officedocument.presentationml.slide+xml"/>
  <Override PartName="/ppt/tags/tag271.xml" ContentType="application/vnd.openxmlformats-officedocument.presentationml.tags+xml"/>
  <Override PartName="/ppt/tags/tag508.xml" ContentType="application/vnd.openxmlformats-officedocument.presentationml.tags+xml"/>
  <Override PartName="/ppt/slideLayouts/slideLayout340.xml" ContentType="application/vnd.openxmlformats-officedocument.presentationml.slideLayout+xml"/>
  <Override PartName="/ppt/tags/tag763.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slideLayouts/slideLayout416.xml" ContentType="application/vnd.openxmlformats-officedocument.presentationml.slideLayout+xml"/>
  <Override PartName="/ppt/charts/colors3.xml" ContentType="application/vnd.ms-office.chartcolorstyle+xml"/>
  <Override PartName="/ppt/tags/tag46.xml" ContentType="application/vnd.openxmlformats-officedocument.presentationml.tags+xml"/>
  <Override PartName="/ppt/slideLayouts/slideLayout110.xml" ContentType="application/vnd.openxmlformats-officedocument.presentationml.slideLayout+xml"/>
  <Override PartName="/ppt/tags/tag186.xml" ContentType="application/vnd.openxmlformats-officedocument.presentationml.tags+xml"/>
  <Override PartName="/ppt/tags/tag202.xml" ContentType="application/vnd.openxmlformats-officedocument.presentationml.tags+xml"/>
  <Override PartName="/ppt/slideLayouts/slideLayout255.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slideLayouts/slideLayout441.xml" ContentType="application/vnd.openxmlformats-officedocument.presentationml.slideLayout+xml"/>
  <Override PartName="/ppt/tags/tag71.xml" ContentType="application/vnd.openxmlformats-officedocument.presentationml.tags+xml"/>
  <Override PartName="/ppt/tags/tag372.xml" ContentType="application/vnd.openxmlformats-officedocument.presentationml.tags+xml"/>
  <Override PartName="/ppt/slideLayouts/slideLayout280.xml" ContentType="application/vnd.openxmlformats-officedocument.presentationml.slideLayout+xml"/>
  <Override PartName="/ppt/theme/theme15.xml" ContentType="application/vnd.openxmlformats-officedocument.theme+xml"/>
  <Override PartName="/ppt/tags/tag609.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slides/slide49.xml" ContentType="application/vnd.openxmlformats-officedocument.presentationml.slide+xml"/>
  <Override PartName="/ppt/tags/tag142.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slideLayouts/slideLayout356.xml" ContentType="application/vnd.openxmlformats-officedocument.presentationml.slideLayout+xml"/>
  <Override PartName="/ppt/tags/tag634.xml" ContentType="application/vnd.openxmlformats-officedocument.presentationml.tags+xml"/>
  <Override PartName="/ppt/slideLayouts/slideLayout48.xml" ContentType="application/vnd.openxmlformats-officedocument.presentationml.slideLayout+xml"/>
  <Override PartName="/ppt/slideLayouts/slideLayout195.xml" ContentType="application/vnd.openxmlformats-officedocument.presentationml.slideLayout+xml"/>
  <Override PartName="/ppt/tags/tag473.xml" ContentType="application/vnd.openxmlformats-officedocument.presentationml.tags+xml"/>
  <Override PartName="/ppt/slideLayouts/slideLayout381.xml" ContentType="application/vnd.openxmlformats-officedocument.presentationml.slideLayout+xml"/>
  <Override PartName="/ppt/charts/style2.xml" ContentType="application/vnd.ms-office.chartstyle+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549.xml" ContentType="application/vnd.openxmlformats-officedocument.presentationml.tags+xml"/>
  <Override PartName="/ppt/slideLayouts/slideLayout457.xml" ContentType="application/vnd.openxmlformats-officedocument.presentationml.slideLayout+xml"/>
  <Override PartName="/ppt/tags/tag735.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574.xml" ContentType="application/vnd.openxmlformats-officedocument.presentationml.tags+xml"/>
  <Override PartName="/ppt/slideLayouts/slideLayout151.xml" ContentType="application/vnd.openxmlformats-officedocument.presentationml.slideLayout+xml"/>
  <Override PartName="/ppt/tags/tag319.xml" ContentType="application/vnd.openxmlformats-officedocument.presentationml.tags+xml"/>
  <Override PartName="/ppt/slideLayouts/slideLayout482.xml" ContentType="application/vnd.openxmlformats-officedocument.presentationml.slideLayout+xml"/>
  <Override PartName="/ppt/tags/tag760.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158.xml" ContentType="application/vnd.openxmlformats-officedocument.presentationml.tags+xml"/>
  <Override PartName="/ppt/slideLayouts/slideLayout227.xml" ContentType="application/vnd.openxmlformats-officedocument.presentationml.slideLayout+xml"/>
  <Override PartName="/ppt/tags/tag505.xml" ContentType="application/vnd.openxmlformats-officedocument.presentationml.tags+xml"/>
  <Override PartName="/ppt/slideLayouts/slideLayout413.xml" ContentType="application/vnd.openxmlformats-officedocument.presentationml.slideLayout+xml"/>
  <Override PartName="/ppt/tags/tag43.xml" ContentType="application/vnd.openxmlformats-officedocument.presentationml.tags+xml"/>
  <Override PartName="/ppt/tags/tag344.xml" ContentType="application/vnd.openxmlformats-officedocument.presentationml.tags+xml"/>
  <Override PartName="/ppt/slideLayouts/slideLayout252.xml" ContentType="application/vnd.openxmlformats-officedocument.presentationml.slideLayout+xml"/>
  <Override PartName="/ppt/tags/tag489.xml" ContentType="application/vnd.openxmlformats-officedocument.presentationml.tags+xml"/>
  <Override PartName="/ppt/tags/tag530.xml" ContentType="application/vnd.openxmlformats-officedocument.presentationml.tags+xml"/>
  <Override PartName="/ppt/slideLayouts/slideLayout397.xml" ContentType="application/vnd.openxmlformats-officedocument.presentationml.slideLayout+xml"/>
  <Override PartName="/ppt/tags/tag675.xml" ContentType="application/vnd.openxmlformats-officedocument.presentationml.tags+xml"/>
  <Override PartName="/ppt/slideLayouts/slideLayout89.xml" ContentType="application/vnd.openxmlformats-officedocument.presentationml.slideLayout+xml"/>
  <Override PartName="/ppt/tags/tag183.xml" ContentType="application/vnd.openxmlformats-officedocument.presentationml.tags+xml"/>
  <Override PartName="/ppt/theme/theme12.xml" ContentType="application/vnd.openxmlformats-officedocument.theme+xml"/>
  <Override PartName="/ppt/tags/tag114.xml" ContentType="application/vnd.openxmlformats-officedocument.presentationml.tags+xml"/>
  <Override PartName="/ppt/tags/tag259.xml" ContentType="application/vnd.openxmlformats-officedocument.presentationml.tags+xml"/>
  <Override PartName="/ppt/slideLayouts/slideLayout328.xml" ContentType="application/vnd.openxmlformats-officedocument.presentationml.slideLayout+xml"/>
  <Override PartName="/ppt/tags/tag606.xml" ContentType="application/vnd.openxmlformats-officedocument.presentationml.tags+xml"/>
  <Override PartName="/ppt/slideLayouts/slideLayout514.xml" ContentType="application/vnd.openxmlformats-officedocument.presentationml.slideLayout+xml"/>
  <Override PartName="/ppt/theme/theme4.xml" ContentType="application/vnd.openxmlformats-officedocument.theme+xml"/>
  <Override PartName="/ppt/slideLayouts/slideLayout167.xml" ContentType="application/vnd.openxmlformats-officedocument.presentationml.slideLayout+xml"/>
  <Override PartName="/ppt/tags/tag300.xml" ContentType="application/vnd.openxmlformats-officedocument.presentationml.tags+xml"/>
  <Override PartName="/ppt/tags/tag445.xml" ContentType="application/vnd.openxmlformats-officedocument.presentationml.tags+xml"/>
  <Override PartName="/ppt/slideLayouts/slideLayout353.xml" ContentType="application/vnd.openxmlformats-officedocument.presentationml.slideLayout+xml"/>
  <Override PartName="/ppt/tags/tag631.xml" ContentType="application/vnd.openxmlformats-officedocument.presentationml.tags+xml"/>
  <Override PartName="/ppt/tags/tag776.xml" ContentType="application/vnd.openxmlformats-officedocument.presentationml.tags+xml"/>
  <Override PartName="/ppt/slideLayouts/slideLayout498.xml" ContentType="application/vnd.openxmlformats-officedocument.presentationml.slideLayout+xml"/>
  <Override PartName="/ppt/slides/slide46.xml" ContentType="application/vnd.openxmlformats-officedocument.presentationml.slide+xml"/>
  <Override PartName="/ppt/slideLayouts/slideLayout45.xml" ContentType="application/vnd.openxmlformats-officedocument.presentationml.slideLayout+xml"/>
  <Override PartName="/ppt/tags/tag284.xml" ContentType="application/vnd.openxmlformats-officedocument.presentationml.tags+xml"/>
  <Override PartName="/ppt/slideLayouts/slideLayout192.xml" ContentType="application/vnd.openxmlformats-officedocument.presentationml.slideLayout+xml"/>
  <Override PartName="/ppt/tags/tag470.xml" ContentType="application/vnd.openxmlformats-officedocument.presentationml.tags+xml"/>
  <Override PartName="/ppt/slideLayouts/slideLayout429.xml" ContentType="application/vnd.openxmlformats-officedocument.presentationml.slideLayout+xml"/>
  <Override PartName="/ppt/tags/tag707.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slideLayouts/slideLayout268.xml" ContentType="application/vnd.openxmlformats-officedocument.presentationml.slideLayout+xml"/>
  <Override PartName="/ppt/tags/tag546.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slideLayouts/slideLayout454.xml" ContentType="application/vnd.openxmlformats-officedocument.presentationml.slideLayout+xml"/>
  <Override PartName="/ppt/tags/tag732.xml" ContentType="application/vnd.openxmlformats-officedocument.presentationml.tags+xml"/>
  <Override PartName="/ppt/tags/tag240.xml" ContentType="application/vnd.openxmlformats-officedocument.presentationml.tags+xml"/>
  <Override PartName="/ppt/slideLayouts/slideLayout293.xml" ContentType="application/vnd.openxmlformats-officedocument.presentationml.slideLayout+xml"/>
  <Override PartName="/ppt/tags/tag571.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slideLayouts/slideLayout224.xml" ContentType="application/vnd.openxmlformats-officedocument.presentationml.slideLayout+xml"/>
  <Override PartName="/ppt/tags/tag502.xml" ContentType="application/vnd.openxmlformats-officedocument.presentationml.tags+xml"/>
  <Override PartName="/ppt/slideLayouts/slideLayout369.xml" ContentType="application/vnd.openxmlformats-officedocument.presentationml.slideLayout+xml"/>
  <Override PartName="/ppt/tags/tag647.xml" ContentType="application/vnd.openxmlformats-officedocument.presentationml.tags+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slideLayouts/slideLayout86.xml" ContentType="application/vnd.openxmlformats-officedocument.presentationml.slideLayout+xml"/>
  <Override PartName="/ppt/tags/tag256.xml" ContentType="application/vnd.openxmlformats-officedocument.presentationml.tags+xml"/>
  <Override PartName="/ppt/slideLayouts/slideLayout325.xml" ContentType="application/vnd.openxmlformats-officedocument.presentationml.slideLayout+xml"/>
  <Override PartName="/ppt/tags/tag603.xml" ContentType="application/vnd.openxmlformats-officedocument.presentationml.tags+xml"/>
  <Override PartName="/ppt/tags/tag748.xml" ContentType="application/vnd.openxmlformats-officedocument.presentationml.tags+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slideLayouts/slideLayout164.xml" ContentType="application/vnd.openxmlformats-officedocument.presentationml.slideLayout+xml"/>
  <Override PartName="/ppt/tags/tag442.xml" ContentType="application/vnd.openxmlformats-officedocument.presentationml.tags+xml"/>
  <Override PartName="/ppt/slideLayouts/slideLayout350.xml" ContentType="application/vnd.openxmlformats-officedocument.presentationml.slideLayout+xml"/>
  <Override PartName="/ppt/tags/tag587.xml" ContentType="application/vnd.openxmlformats-officedocument.presentationml.tags+xml"/>
  <Override PartName="/ppt/tags/tag773.xml" ContentType="application/vnd.openxmlformats-officedocument.presentationml.tags+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slides/slide43.xml" ContentType="application/vnd.openxmlformats-officedocument.presentationml.slide+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357.xml" ContentType="application/vnd.openxmlformats-officedocument.presentationml.tags+xml"/>
  <Override PartName="/ppt/slideLayouts/slideLayout426.xml" ContentType="application/vnd.openxmlformats-officedocument.presentationml.slideLayout+xml"/>
  <Override PartName="/ppt/tags/tag688.xml" ContentType="application/vnd.openxmlformats-officedocument.presentationml.tags+xml"/>
  <Override PartName="/ppt/tags/tag704.xml" ContentType="application/vnd.openxmlformats-officedocument.presentationml.tags+xml"/>
  <Override PartName="/ppt/slideLayouts/slideLayout120.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slideLayouts/slideLayout265.xml" ContentType="application/vnd.openxmlformats-officedocument.presentationml.slideLayout+xml"/>
  <Override PartName="/ppt/tags/tag543.xml" ContentType="application/vnd.openxmlformats-officedocument.presentationml.tags+xml"/>
  <Override PartName="/ppt/slideLayouts/slideLayout451.xml" ContentType="application/vnd.openxmlformats-officedocument.presentationml.slideLayout+xml"/>
  <Override PartName="/ppt/tags/tag81.xml" ContentType="application/vnd.openxmlformats-officedocument.presentationml.tags+xml"/>
  <Override PartName="/ppt/tags/tag382.xml" ContentType="application/vnd.openxmlformats-officedocument.presentationml.tags+xml"/>
  <Override PartName="/ppt/slideLayouts/slideLayout290.xml" ContentType="application/vnd.openxmlformats-officedocument.presentationml.slideLayout+xml"/>
  <Override PartName="/ppt/tags/tag619.xml" ContentType="application/vnd.openxmlformats-officedocument.presentationml.tags+xml"/>
  <Override PartName="/ppt/theme/theme25.xml" ContentType="application/vnd.openxmlformats-officedocument.theme+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458.xml" ContentType="application/vnd.openxmlformats-officedocument.presentationml.tags+xml"/>
  <Override PartName="/ppt/slideLayouts/slideLayout366.xml" ContentType="application/vnd.openxmlformats-officedocument.presentationml.slideLayout+xml"/>
  <Override PartName="/ppt/tags/tag64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297.xml" ContentType="application/vnd.openxmlformats-officedocument.presentationml.tags+xml"/>
  <Override PartName="/ppt/slideLayouts/slideLayout221.xml" ContentType="application/vnd.openxmlformats-officedocument.presentationml.slideLayout+xml"/>
  <Override PartName="/ppt/tags/tag483.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slideLayouts/slideLayout391.xml" ContentType="application/vnd.openxmlformats-officedocument.presentationml.slideLayout+xml"/>
  <Override PartName="/ppt/slideLayouts/slideLayout83.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slideLayouts/slideLayout322.xml" ContentType="application/vnd.openxmlformats-officedocument.presentationml.slideLayout+xml"/>
  <Override PartName="/ppt/tags/tag559.xml" ContentType="application/vnd.openxmlformats-officedocument.presentationml.tags+xml"/>
  <Override PartName="/ppt/tags/tag600.xml" ContentType="application/vnd.openxmlformats-officedocument.presentationml.tags+xml"/>
  <Override PartName="/ppt/slideLayouts/slideLayout467.xml" ContentType="application/vnd.openxmlformats-officedocument.presentationml.slideLayout+xml"/>
  <Override PartName="/ppt/tags/tag745.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53.xml" ContentType="application/vnd.openxmlformats-officedocument.presentationml.tags+xml"/>
  <Override PartName="/ppt/slideLayouts/slideLayout161.xml" ContentType="application/vnd.openxmlformats-officedocument.presentationml.slideLayout+xml"/>
  <Override PartName="/ppt/tags/tag398.xml" ContentType="application/vnd.openxmlformats-officedocument.presentationml.tags+xml"/>
  <Override PartName="/ppt/tags/tag584.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329.xml" ContentType="application/vnd.openxmlformats-officedocument.presentationml.tags+xml"/>
  <Override PartName="/ppt/tags/tag770.xml" ContentType="application/vnd.openxmlformats-officedocument.presentationml.tags+xml"/>
  <Override PartName="/ppt/slideLayouts/slideLayout492.xml" ContentType="application/vnd.openxmlformats-officedocument.presentationml.slideLayout+xml"/>
  <Override PartName="/ppt/slides/slide40.xml" ContentType="application/vnd.openxmlformats-officedocument.presentationml.slide+xml"/>
  <Override PartName="/ppt/tags/tag168.xml" ContentType="application/vnd.openxmlformats-officedocument.presentationml.tags+xml"/>
  <Override PartName="/ppt/slideLayouts/slideLayout237.xml" ContentType="application/vnd.openxmlformats-officedocument.presentationml.slideLayout+xml"/>
  <Override PartName="/ppt/tags/tag499.xml" ContentType="application/vnd.openxmlformats-officedocument.presentationml.tags+xml"/>
  <Override PartName="/ppt/tags/tag515.xml" ContentType="application/vnd.openxmlformats-officedocument.presentationml.tags+xml"/>
  <Override PartName="/ppt/slideLayouts/slideLayout423.xml" ContentType="application/vnd.openxmlformats-officedocument.presentationml.slideLayout+xml"/>
  <Override PartName="/ppt/tags/tag701.xml" ContentType="application/vnd.openxmlformats-officedocument.presentationml.tags+xml"/>
  <Default Extension="wdp" ContentType="image/vnd.ms-photo"/>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slideLayouts/slideLayout262.xml" ContentType="application/vnd.openxmlformats-officedocument.presentationml.slideLayout+xml"/>
  <Override PartName="/ppt/tags/tag540.xml" ContentType="application/vnd.openxmlformats-officedocument.presentationml.tags+xml"/>
  <Override PartName="/ppt/tags/tag685.xml" ContentType="application/vnd.openxmlformats-officedocument.presentationml.tags+xml"/>
  <Override PartName="/ppt/slideLayouts/slideLayout99.xml" ContentType="application/vnd.openxmlformats-officedocument.presentationml.slideLayout+xml"/>
  <Override PartName="/ppt/tags/tag193.xml" ContentType="application/vnd.openxmlformats-officedocument.presentationml.tags+xml"/>
  <Override PartName="/ppt/slideLayouts/slideLayout338.xml" ContentType="application/vnd.openxmlformats-officedocument.presentationml.slideLayout+xml"/>
  <Override PartName="/ppt/tags/tag616.xml" ContentType="application/vnd.openxmlformats-officedocument.presentationml.tags+xml"/>
  <Override PartName="/ppt/theme/theme22.xml" ContentType="application/vnd.openxmlformats-officedocument.theme+xml"/>
  <Override PartName="/ppt/tags/tag124.xml" ContentType="application/vnd.openxmlformats-officedocument.presentationml.tags+xml"/>
  <Override PartName="/ppt/tags/tag269.xml" ContentType="application/vnd.openxmlformats-officedocument.presentationml.tags+xml"/>
  <Override PartName="/ppt/slideLayouts/slideLayout177.xml" ContentType="application/vnd.openxmlformats-officedocument.presentationml.slideLayout+xml"/>
  <Override PartName="/ppt/tags/tag455.xml" ContentType="application/vnd.openxmlformats-officedocument.presentationml.tags+xml"/>
  <Override PartName="/customXml/itemProps3.xml" ContentType="application/vnd.openxmlformats-officedocument.customXmlProperties+xml"/>
  <Override PartName="/ppt/slides/slide6.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slideLayouts/slideLayout363.xml" ContentType="application/vnd.openxmlformats-officedocument.presentationml.slideLayout+xml"/>
  <Override PartName="/ppt/tags/tag641.xml" ContentType="application/vnd.openxmlformats-officedocument.presentationml.tags+xml"/>
  <Override PartName="/ppt/tags/tag786.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80.xml" ContentType="application/vnd.openxmlformats-officedocument.presentationml.tags+xml"/>
  <Override PartName="/ppt/slideLayouts/slideLayout439.xml" ContentType="application/vnd.openxmlformats-officedocument.presentationml.slideLayout+xml"/>
  <Override PartName="/ppt/tags/tag717.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slideLayouts/slideLayout133.xml" ContentType="application/vnd.openxmlformats-officedocument.presentationml.slideLayout+xml"/>
  <Override PartName="/ppt/slideLayouts/slideLayout278.xml" ContentType="application/vnd.openxmlformats-officedocument.presentationml.slideLayout+xml"/>
  <Override PartName="/ppt/tags/tag411.xml" ContentType="application/vnd.openxmlformats-officedocument.presentationml.tags+xml"/>
  <Override PartName="/ppt/tags/tag556.xml" ContentType="application/vnd.openxmlformats-officedocument.presentationml.tags+xml"/>
  <Override PartName="/ppt/slideLayouts/slideLayout464.xml" ContentType="application/vnd.openxmlformats-officedocument.presentationml.slideLayout+xml"/>
  <Default Extension="rels" ContentType="application/vnd.openxmlformats-package.relationships+xml"/>
  <Override PartName="/ppt/slideMasters/slideMaster17.xml" ContentType="application/vnd.openxmlformats-officedocument.presentationml.slideMaster+xml"/>
  <Override PartName="/ppt/tags/tag94.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slideLayouts/slideLayout209.xml" ContentType="application/vnd.openxmlformats-officedocument.presentationml.slideLayout+xml"/>
  <Override PartName="/ppt/tags/tag395.xml" ContentType="application/vnd.openxmlformats-officedocument.presentationml.tags+xml"/>
  <Override PartName="/ppt/tags/tag742.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581.xml" ContentType="application/vnd.openxmlformats-officedocument.presentationml.tags+xml"/>
  <Override PartName="/ppt/tags/tag25.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slideLayouts/slideLayout234.xml" ContentType="application/vnd.openxmlformats-officedocument.presentationml.slideLayout+xml"/>
  <Override PartName="/ppt/tags/tag512.xml" ContentType="application/vnd.openxmlformats-officedocument.presentationml.tags+xml"/>
  <Override PartName="/ppt/slideLayouts/slideLayout379.xml" ContentType="application/vnd.openxmlformats-officedocument.presentationml.slideLayout+xml"/>
  <Override PartName="/ppt/tags/tag657.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4"/>
    <p:sldMasterId id="2147483803" r:id="rId5"/>
    <p:sldMasterId id="2147484043" r:id="rId6"/>
    <p:sldMasterId id="2147484416" r:id="rId7"/>
    <p:sldMasterId id="2147484571" r:id="rId8"/>
    <p:sldMasterId id="2147484608" r:id="rId9"/>
    <p:sldMasterId id="2147484887" r:id="rId10"/>
    <p:sldMasterId id="2147484939" r:id="rId11"/>
    <p:sldMasterId id="2147484950" r:id="rId12"/>
    <p:sldMasterId id="2147484962" r:id="rId13"/>
    <p:sldMasterId id="2147485000" r:id="rId14"/>
    <p:sldMasterId id="2147485027" r:id="rId15"/>
    <p:sldMasterId id="2147485039" r:id="rId16"/>
    <p:sldMasterId id="2147485064" r:id="rId17"/>
    <p:sldMasterId id="2147485095" r:id="rId18"/>
    <p:sldMasterId id="2147485122" r:id="rId19"/>
    <p:sldMasterId id="2147485159" r:id="rId20"/>
    <p:sldMasterId id="2147485186" r:id="rId21"/>
    <p:sldMasterId id="2147485198" r:id="rId22"/>
    <p:sldMasterId id="2147485225" r:id="rId23"/>
    <p:sldMasterId id="2147485278" r:id="rId24"/>
    <p:sldMasterId id="2147485304" r:id="rId25"/>
    <p:sldMasterId id="2147485330" r:id="rId26"/>
    <p:sldMasterId id="2147485343" r:id="rId27"/>
    <p:sldMasterId id="2147485351" r:id="rId28"/>
  </p:sldMasterIdLst>
  <p:notesMasterIdLst>
    <p:notesMasterId r:id="rId87"/>
  </p:notesMasterIdLst>
  <p:handoutMasterIdLst>
    <p:handoutMasterId r:id="rId88"/>
  </p:handoutMasterIdLst>
  <p:sldIdLst>
    <p:sldId id="4580" r:id="rId29"/>
    <p:sldId id="4384" r:id="rId30"/>
    <p:sldId id="4632" r:id="rId31"/>
    <p:sldId id="4633" r:id="rId32"/>
    <p:sldId id="4634" r:id="rId33"/>
    <p:sldId id="4635" r:id="rId34"/>
    <p:sldId id="4636" r:id="rId35"/>
    <p:sldId id="4637" r:id="rId36"/>
    <p:sldId id="4638" r:id="rId37"/>
    <p:sldId id="4639" r:id="rId38"/>
    <p:sldId id="4640" r:id="rId39"/>
    <p:sldId id="4641" r:id="rId40"/>
    <p:sldId id="4642" r:id="rId41"/>
    <p:sldId id="4643" r:id="rId42"/>
    <p:sldId id="4644" r:id="rId43"/>
    <p:sldId id="4645" r:id="rId44"/>
    <p:sldId id="4646" r:id="rId45"/>
    <p:sldId id="4647" r:id="rId46"/>
    <p:sldId id="4648" r:id="rId47"/>
    <p:sldId id="4649" r:id="rId48"/>
    <p:sldId id="4650" r:id="rId49"/>
    <p:sldId id="258" r:id="rId50"/>
    <p:sldId id="261" r:id="rId51"/>
    <p:sldId id="4652" r:id="rId52"/>
    <p:sldId id="4485" r:id="rId53"/>
    <p:sldId id="484" r:id="rId54"/>
    <p:sldId id="472" r:id="rId55"/>
    <p:sldId id="2141411973" r:id="rId56"/>
    <p:sldId id="2141411974" r:id="rId57"/>
    <p:sldId id="493" r:id="rId58"/>
    <p:sldId id="490" r:id="rId59"/>
    <p:sldId id="475" r:id="rId60"/>
    <p:sldId id="473" r:id="rId61"/>
    <p:sldId id="2141411975" r:id="rId62"/>
    <p:sldId id="2141411976" r:id="rId63"/>
    <p:sldId id="2141411977" r:id="rId64"/>
    <p:sldId id="5474" r:id="rId65"/>
    <p:sldId id="2141411978" r:id="rId66"/>
    <p:sldId id="4537" r:id="rId67"/>
    <p:sldId id="2141411979" r:id="rId68"/>
    <p:sldId id="2141411980" r:id="rId69"/>
    <p:sldId id="2141411981" r:id="rId70"/>
    <p:sldId id="2141411982" r:id="rId71"/>
    <p:sldId id="2141411983" r:id="rId72"/>
    <p:sldId id="2141411984" r:id="rId73"/>
    <p:sldId id="2141411985" r:id="rId74"/>
    <p:sldId id="2141411986" r:id="rId75"/>
    <p:sldId id="2141411987" r:id="rId76"/>
    <p:sldId id="262" r:id="rId77"/>
    <p:sldId id="5543" r:id="rId78"/>
    <p:sldId id="4655" r:id="rId79"/>
    <p:sldId id="4656" r:id="rId80"/>
    <p:sldId id="4528" r:id="rId81"/>
    <p:sldId id="4533" r:id="rId82"/>
    <p:sldId id="4535" r:id="rId83"/>
    <p:sldId id="4081" r:id="rId84"/>
    <p:sldId id="2141411988" r:id="rId85"/>
    <p:sldId id="4082" r:id="rId86"/>
  </p:sldIdLst>
  <p:sldSz cx="9144000" cy="6858000" type="screen4x3"/>
  <p:notesSz cx="6858000" cy="9874250"/>
  <p:custDataLst>
    <p:tags r:id="rId8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1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adiq Kariem" initials="SK" lastIdx="3" clrIdx="0">
    <p:extLst>
      <p:ext uri="{19B8F6BF-5375-455C-9EA6-DF929625EA0E}">
        <p15:presenceInfo xmlns:p15="http://schemas.microsoft.com/office/powerpoint/2012/main" xmlns="" userId="S-1-5-21-3528385313-3887411669-492545649-23792" providerId="AD"/>
      </p:ext>
    </p:extLst>
  </p:cmAuthor>
  <p:cmAuthor id="2" name="Sharon Truter" initials="ST" lastIdx="1" clrIdx="1">
    <p:extLst>
      <p:ext uri="{19B8F6BF-5375-455C-9EA6-DF929625EA0E}">
        <p15:presenceInfo xmlns:p15="http://schemas.microsoft.com/office/powerpoint/2012/main" xmlns="" userId="S::Sharon.Truter@westerncape.gov.za::c15a0c39-afa7-4be9-95e7-799142cd1b4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1489"/>
    <a:srgbClr val="C00000"/>
    <a:srgbClr val="3906BA"/>
    <a:srgbClr val="00329B"/>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483" autoAdjust="0"/>
    <p:restoredTop sz="93805" autoAdjust="0"/>
  </p:normalViewPr>
  <p:slideViewPr>
    <p:cSldViewPr>
      <p:cViewPr varScale="1">
        <p:scale>
          <a:sx n="73" d="100"/>
          <a:sy n="73" d="100"/>
        </p:scale>
        <p:origin x="-1062" y="-102"/>
      </p:cViewPr>
      <p:guideLst>
        <p:guide orient="horz" pos="3838"/>
        <p:guide orient="horz" pos="890"/>
        <p:guide pos="5602"/>
        <p:guide pos="204"/>
      </p:guideLst>
    </p:cSldViewPr>
  </p:slideViewPr>
  <p:notesTextViewPr>
    <p:cViewPr>
      <p:scale>
        <a:sx n="75" d="100"/>
        <a:sy n="75" d="100"/>
      </p:scale>
      <p:origin x="0" y="0"/>
    </p:cViewPr>
  </p:notesTextViewPr>
  <p:sorterViewPr>
    <p:cViewPr varScale="1">
      <p:scale>
        <a:sx n="100" d="100"/>
        <a:sy n="100" d="100"/>
      </p:scale>
      <p:origin x="0" y="0"/>
    </p:cViewPr>
  </p:sorterViewPr>
  <p:notesViewPr>
    <p:cSldViewPr showGuides="1">
      <p:cViewPr varScale="1">
        <p:scale>
          <a:sx n="69" d="100"/>
          <a:sy n="69" d="100"/>
        </p:scale>
        <p:origin x="-3456" y="-108"/>
      </p:cViewPr>
      <p:guideLst>
        <p:guide orient="horz" pos="3110"/>
        <p:guide pos="216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1.xml"/><Relationship Id="rId21" Type="http://schemas.openxmlformats.org/officeDocument/2006/relationships/slideMaster" Target="slideMasters/slideMaster18.xml"/><Relationship Id="rId34" Type="http://schemas.openxmlformats.org/officeDocument/2006/relationships/slide" Target="slides/slide6.xml"/><Relationship Id="rId42" Type="http://schemas.openxmlformats.org/officeDocument/2006/relationships/slide" Target="slides/slide14.xml"/><Relationship Id="rId47" Type="http://schemas.openxmlformats.org/officeDocument/2006/relationships/slide" Target="slides/slide19.xml"/><Relationship Id="rId50" Type="http://schemas.openxmlformats.org/officeDocument/2006/relationships/slide" Target="slides/slide22.xml"/><Relationship Id="rId55" Type="http://schemas.openxmlformats.org/officeDocument/2006/relationships/slide" Target="slides/slide27.xml"/><Relationship Id="rId63" Type="http://schemas.openxmlformats.org/officeDocument/2006/relationships/slide" Target="slides/slide35.xml"/><Relationship Id="rId68" Type="http://schemas.openxmlformats.org/officeDocument/2006/relationships/slide" Target="slides/slide40.xml"/><Relationship Id="rId76" Type="http://schemas.openxmlformats.org/officeDocument/2006/relationships/slide" Target="slides/slide48.xml"/><Relationship Id="rId84" Type="http://schemas.openxmlformats.org/officeDocument/2006/relationships/slide" Target="slides/slide56.xml"/><Relationship Id="rId89" Type="http://schemas.openxmlformats.org/officeDocument/2006/relationships/tags" Target="tags/tag1.xml"/><Relationship Id="rId7" Type="http://schemas.openxmlformats.org/officeDocument/2006/relationships/slideMaster" Target="slideMasters/slideMaster4.xml"/><Relationship Id="rId71" Type="http://schemas.openxmlformats.org/officeDocument/2006/relationships/slide" Target="slides/slide43.xml"/><Relationship Id="rId92"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4.xml"/><Relationship Id="rId37" Type="http://schemas.openxmlformats.org/officeDocument/2006/relationships/slide" Target="slides/slide9.xml"/><Relationship Id="rId40" Type="http://schemas.openxmlformats.org/officeDocument/2006/relationships/slide" Target="slides/slide12.xml"/><Relationship Id="rId45" Type="http://schemas.openxmlformats.org/officeDocument/2006/relationships/slide" Target="slides/slide17.xml"/><Relationship Id="rId53" Type="http://schemas.openxmlformats.org/officeDocument/2006/relationships/slide" Target="slides/slide25.xml"/><Relationship Id="rId58" Type="http://schemas.openxmlformats.org/officeDocument/2006/relationships/slide" Target="slides/slide30.xml"/><Relationship Id="rId66" Type="http://schemas.openxmlformats.org/officeDocument/2006/relationships/slide" Target="slides/slide38.xml"/><Relationship Id="rId74" Type="http://schemas.openxmlformats.org/officeDocument/2006/relationships/slide" Target="slides/slide46.xml"/><Relationship Id="rId79" Type="http://schemas.openxmlformats.org/officeDocument/2006/relationships/slide" Target="slides/slide51.xml"/><Relationship Id="rId87"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33.xml"/><Relationship Id="rId82" Type="http://schemas.openxmlformats.org/officeDocument/2006/relationships/slide" Target="slides/slide54.xml"/><Relationship Id="rId90" Type="http://schemas.openxmlformats.org/officeDocument/2006/relationships/commentAuthors" Target="commentAuthors.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2.xml"/><Relationship Id="rId35" Type="http://schemas.openxmlformats.org/officeDocument/2006/relationships/slide" Target="slides/slide7.xml"/><Relationship Id="rId43" Type="http://schemas.openxmlformats.org/officeDocument/2006/relationships/slide" Target="slides/slide15.xml"/><Relationship Id="rId48" Type="http://schemas.openxmlformats.org/officeDocument/2006/relationships/slide" Target="slides/slide20.xml"/><Relationship Id="rId56" Type="http://schemas.openxmlformats.org/officeDocument/2006/relationships/slide" Target="slides/slide28.xml"/><Relationship Id="rId64" Type="http://schemas.openxmlformats.org/officeDocument/2006/relationships/slide" Target="slides/slide36.xml"/><Relationship Id="rId69" Type="http://schemas.openxmlformats.org/officeDocument/2006/relationships/slide" Target="slides/slide41.xml"/><Relationship Id="rId77" Type="http://schemas.openxmlformats.org/officeDocument/2006/relationships/slide" Target="slides/slide49.xml"/><Relationship Id="rId8" Type="http://schemas.openxmlformats.org/officeDocument/2006/relationships/slideMaster" Target="slideMasters/slideMaster5.xml"/><Relationship Id="rId51" Type="http://schemas.openxmlformats.org/officeDocument/2006/relationships/slide" Target="slides/slide23.xml"/><Relationship Id="rId72" Type="http://schemas.openxmlformats.org/officeDocument/2006/relationships/slide" Target="slides/slide44.xml"/><Relationship Id="rId80" Type="http://schemas.openxmlformats.org/officeDocument/2006/relationships/slide" Target="slides/slide52.xml"/><Relationship Id="rId85" Type="http://schemas.openxmlformats.org/officeDocument/2006/relationships/slide" Target="slides/slide57.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5.xml"/><Relationship Id="rId38" Type="http://schemas.openxmlformats.org/officeDocument/2006/relationships/slide" Target="slides/slide10.xml"/><Relationship Id="rId46" Type="http://schemas.openxmlformats.org/officeDocument/2006/relationships/slide" Target="slides/slide18.xml"/><Relationship Id="rId59" Type="http://schemas.openxmlformats.org/officeDocument/2006/relationships/slide" Target="slides/slide31.xml"/><Relationship Id="rId67" Type="http://schemas.openxmlformats.org/officeDocument/2006/relationships/slide" Target="slides/slide39.xml"/><Relationship Id="rId20" Type="http://schemas.openxmlformats.org/officeDocument/2006/relationships/slideMaster" Target="slideMasters/slideMaster17.xml"/><Relationship Id="rId41" Type="http://schemas.openxmlformats.org/officeDocument/2006/relationships/slide" Target="slides/slide13.xml"/><Relationship Id="rId54" Type="http://schemas.openxmlformats.org/officeDocument/2006/relationships/slide" Target="slides/slide26.xml"/><Relationship Id="rId62" Type="http://schemas.openxmlformats.org/officeDocument/2006/relationships/slide" Target="slides/slide34.xml"/><Relationship Id="rId70" Type="http://schemas.openxmlformats.org/officeDocument/2006/relationships/slide" Target="slides/slide42.xml"/><Relationship Id="rId75" Type="http://schemas.openxmlformats.org/officeDocument/2006/relationships/slide" Target="slides/slide47.xml"/><Relationship Id="rId83" Type="http://schemas.openxmlformats.org/officeDocument/2006/relationships/slide" Target="slides/slide55.xml"/><Relationship Id="rId88" Type="http://schemas.openxmlformats.org/officeDocument/2006/relationships/handoutMaster" Target="handoutMasters/handoutMaster1.xml"/><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8.xml"/><Relationship Id="rId49" Type="http://schemas.openxmlformats.org/officeDocument/2006/relationships/slide" Target="slides/slide21.xml"/><Relationship Id="rId57" Type="http://schemas.openxmlformats.org/officeDocument/2006/relationships/slide" Target="slides/slide29.xml"/><Relationship Id="rId10" Type="http://schemas.openxmlformats.org/officeDocument/2006/relationships/slideMaster" Target="slideMasters/slideMaster7.xml"/><Relationship Id="rId31" Type="http://schemas.openxmlformats.org/officeDocument/2006/relationships/slide" Target="slides/slide3.xml"/><Relationship Id="rId44" Type="http://schemas.openxmlformats.org/officeDocument/2006/relationships/slide" Target="slides/slide16.xml"/><Relationship Id="rId52" Type="http://schemas.openxmlformats.org/officeDocument/2006/relationships/slide" Target="slides/slide24.xml"/><Relationship Id="rId60" Type="http://schemas.openxmlformats.org/officeDocument/2006/relationships/slide" Target="slides/slide32.xml"/><Relationship Id="rId65" Type="http://schemas.openxmlformats.org/officeDocument/2006/relationships/slide" Target="slides/slide37.xml"/><Relationship Id="rId73" Type="http://schemas.openxmlformats.org/officeDocument/2006/relationships/slide" Target="slides/slide45.xml"/><Relationship Id="rId78" Type="http://schemas.openxmlformats.org/officeDocument/2006/relationships/slide" Target="slides/slide50.xml"/><Relationship Id="rId81" Type="http://schemas.openxmlformats.org/officeDocument/2006/relationships/slide" Target="slides/slide53.xml"/><Relationship Id="rId86" Type="http://schemas.openxmlformats.org/officeDocument/2006/relationships/slide" Target="slides/slide58.xml"/><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Office_Excel_Worksheet2.xlsx"/><Relationship Id="rId1" Type="http://schemas.openxmlformats.org/officeDocument/2006/relationships/themeOverride" Target="../theme/themeOverride2.xml"/><Relationship Id="rId5" Type="http://schemas.microsoft.com/office/2011/relationships/chartStyle" Target="style1.xml"/><Relationship Id="rId4" Type="http://schemas.microsoft.com/office/2011/relationships/chartColorStyle" Target="colors1.xm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Office_Excel_Worksheet3.xlsx"/><Relationship Id="rId1" Type="http://schemas.openxmlformats.org/officeDocument/2006/relationships/themeOverride" Target="../theme/themeOverride3.xml"/><Relationship Id="rId5" Type="http://schemas.microsoft.com/office/2011/relationships/chartStyle" Target="style2.xml"/><Relationship Id="rId4" Type="http://schemas.microsoft.com/office/2011/relationships/chartColorStyle" Target="colors2.xml"/></Relationships>
</file>

<file path=ppt/charts/_rels/chart4.xml.rels><?xml version="1.0" encoding="UTF-8" standalone="yes"?>
<Relationships xmlns="http://schemas.openxmlformats.org/package/2006/relationships"><Relationship Id="rId3" Type="http://schemas.microsoft.com/office/2011/relationships/chartColorStyle" Target="colors3.xml"/><Relationship Id="rId2" Type="http://schemas.openxmlformats.org/officeDocument/2006/relationships/oleObject" Target="file:///D:\Fransicka%20Heunis\Documents\Change%20Interventions\Vaccine%20project\WCGH%20Covid%2019%20Vaccination%20Strategy_Rapid%20Poll%20Results%2020%20Jan%202021.xlsx" TargetMode="External"/><Relationship Id="rId1" Type="http://schemas.openxmlformats.org/officeDocument/2006/relationships/themeOverride" Target="../theme/themeOverride4.xml"/><Relationship Id="rId4"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cap="all" spc="120" normalizeH="0" baseline="0">
                <a:ln>
                  <a:noFill/>
                </a:ln>
                <a:solidFill>
                  <a:schemeClr val="tx1">
                    <a:lumMod val="65000"/>
                    <a:lumOff val="35000"/>
                  </a:schemeClr>
                </a:solidFill>
                <a:latin typeface="+mn-lt"/>
                <a:ea typeface="+mn-ea"/>
                <a:cs typeface="+mn-cs"/>
              </a:defRPr>
            </a:pPr>
            <a:r>
              <a:rPr lang="en-ZA"/>
              <a:t>TOTAL mEDICAL O</a:t>
            </a:r>
            <a:r>
              <a:rPr lang="en-ZA" baseline="-25000"/>
              <a:t>2</a:t>
            </a:r>
            <a:r>
              <a:rPr lang="en-ZA" baseline="0"/>
              <a:t> CONSUMPTION</a:t>
            </a:r>
          </a:p>
          <a:p>
            <a:pPr>
              <a:defRPr sz="1600" b="1" i="0" u="none" strike="noStrike" kern="1200" cap="all" spc="120" normalizeH="0" baseline="0">
                <a:ln>
                  <a:noFill/>
                </a:ln>
                <a:solidFill>
                  <a:schemeClr val="tx1">
                    <a:lumMod val="65000"/>
                    <a:lumOff val="35000"/>
                  </a:schemeClr>
                </a:solidFill>
                <a:latin typeface="+mn-lt"/>
                <a:ea typeface="+mn-ea"/>
                <a:cs typeface="+mn-cs"/>
              </a:defRPr>
            </a:pPr>
            <a:r>
              <a:rPr lang="en-ZA" baseline="0"/>
              <a:t>wc:HEALTH &amp; </a:t>
            </a:r>
            <a:r>
              <a:rPr lang="en-ZA" sz="1800" baseline="0">
                <a:latin typeface="Calibri" panose="020F0502020204030204" pitchFamily="34" charset="0"/>
                <a:cs typeface="Calibri" panose="020F0502020204030204" pitchFamily="34" charset="0"/>
              </a:rPr>
              <a:t>Ʃ</a:t>
            </a:r>
            <a:r>
              <a:rPr lang="en-ZA" baseline="0">
                <a:latin typeface="Calibri" panose="020F0502020204030204" pitchFamily="34" charset="0"/>
                <a:cs typeface="Calibri" panose="020F0502020204030204" pitchFamily="34" charset="0"/>
              </a:rPr>
              <a:t> HEALTH o</a:t>
            </a:r>
            <a:r>
              <a:rPr lang="en-ZA" cap="all" baseline="-25000">
                <a:latin typeface="Calibri" panose="020F0502020204030204" pitchFamily="34" charset="0"/>
                <a:cs typeface="Calibri" panose="020F0502020204030204" pitchFamily="34" charset="0"/>
              </a:rPr>
              <a:t>2</a:t>
            </a:r>
            <a:r>
              <a:rPr lang="en-ZA" baseline="0">
                <a:latin typeface="Calibri" panose="020F0502020204030204" pitchFamily="34" charset="0"/>
                <a:cs typeface="Calibri" panose="020F0502020204030204" pitchFamily="34" charset="0"/>
              </a:rPr>
              <a:t> CONSUMPTION</a:t>
            </a:r>
            <a:br>
              <a:rPr lang="en-ZA" baseline="0">
                <a:latin typeface="Calibri" panose="020F0502020204030204" pitchFamily="34" charset="0"/>
                <a:cs typeface="Calibri" panose="020F0502020204030204" pitchFamily="34" charset="0"/>
              </a:rPr>
            </a:br>
            <a:r>
              <a:rPr lang="en-ZA" baseline="0">
                <a:latin typeface="Calibri" panose="020F0502020204030204" pitchFamily="34" charset="0"/>
                <a:cs typeface="Calibri" panose="020F0502020204030204" pitchFamily="34" charset="0"/>
              </a:rPr>
              <a:t>(TONS/DAY)</a:t>
            </a:r>
            <a:r>
              <a:rPr lang="en-ZA" baseline="0"/>
              <a:t> </a:t>
            </a:r>
            <a:endParaRPr lang="en-ZA"/>
          </a:p>
        </c:rich>
      </c:tx>
      <c:layout>
        <c:manualLayout>
          <c:xMode val="edge"/>
          <c:yMode val="edge"/>
          <c:x val="0.30270364527765287"/>
          <c:y val="0"/>
        </c:manualLayout>
      </c:layout>
      <c:spPr>
        <a:noFill/>
        <a:ln>
          <a:noFill/>
        </a:ln>
        <a:effectLst/>
      </c:spPr>
    </c:title>
    <c:plotArea>
      <c:layout>
        <c:manualLayout>
          <c:layoutTarget val="inner"/>
          <c:xMode val="edge"/>
          <c:yMode val="edge"/>
          <c:x val="4.0294337120978102E-2"/>
          <c:y val="1.5638592143774794E-2"/>
          <c:w val="0.94606004180717451"/>
          <c:h val="0.83851450549064044"/>
        </c:manualLayout>
      </c:layout>
      <c:barChart>
        <c:barDir val="col"/>
        <c:grouping val="clustered"/>
        <c:ser>
          <c:idx val="1"/>
          <c:order val="0"/>
          <c:tx>
            <c:strRef>
              <c:f>'Combined rate'!$C$25</c:f>
              <c:strCache>
                <c:ptCount val="1"/>
                <c:pt idx="0">
                  <c:v>COMBINED CONSUMPTION VIE</c:v>
                </c:pt>
              </c:strCache>
            </c:strRef>
          </c:tx>
          <c:spPr>
            <a:solidFill>
              <a:srgbClr val="9E29C7"/>
            </a:solidFill>
            <a:ln>
              <a:noFill/>
            </a:ln>
            <a:effectLst/>
          </c:spPr>
          <c:cat>
            <c:numRef>
              <c:f>'Combined rate'!$HU$1:$IY$1</c:f>
              <c:numCache>
                <c:formatCode>dd\ mmm\ yy</c:formatCode>
                <c:ptCount val="31"/>
                <c:pt idx="0">
                  <c:v>44198</c:v>
                </c:pt>
                <c:pt idx="1">
                  <c:v>44199</c:v>
                </c:pt>
                <c:pt idx="2">
                  <c:v>44200</c:v>
                </c:pt>
                <c:pt idx="3">
                  <c:v>44201</c:v>
                </c:pt>
                <c:pt idx="4">
                  <c:v>44202</c:v>
                </c:pt>
                <c:pt idx="5">
                  <c:v>44203</c:v>
                </c:pt>
                <c:pt idx="6">
                  <c:v>44204</c:v>
                </c:pt>
                <c:pt idx="7">
                  <c:v>44205</c:v>
                </c:pt>
                <c:pt idx="8">
                  <c:v>44206</c:v>
                </c:pt>
                <c:pt idx="9">
                  <c:v>44207</c:v>
                </c:pt>
                <c:pt idx="10">
                  <c:v>44208</c:v>
                </c:pt>
                <c:pt idx="11">
                  <c:v>44209</c:v>
                </c:pt>
                <c:pt idx="12">
                  <c:v>44210</c:v>
                </c:pt>
                <c:pt idx="13">
                  <c:v>44211</c:v>
                </c:pt>
                <c:pt idx="14">
                  <c:v>44212</c:v>
                </c:pt>
                <c:pt idx="15">
                  <c:v>44213</c:v>
                </c:pt>
                <c:pt idx="16">
                  <c:v>44214</c:v>
                </c:pt>
                <c:pt idx="17">
                  <c:v>44215</c:v>
                </c:pt>
                <c:pt idx="18">
                  <c:v>44216</c:v>
                </c:pt>
                <c:pt idx="19">
                  <c:v>44217</c:v>
                </c:pt>
                <c:pt idx="20">
                  <c:v>44218</c:v>
                </c:pt>
                <c:pt idx="21">
                  <c:v>44219</c:v>
                </c:pt>
                <c:pt idx="22">
                  <c:v>44220</c:v>
                </c:pt>
                <c:pt idx="23">
                  <c:v>44221</c:v>
                </c:pt>
                <c:pt idx="24">
                  <c:v>44222</c:v>
                </c:pt>
                <c:pt idx="25">
                  <c:v>44223</c:v>
                </c:pt>
                <c:pt idx="26">
                  <c:v>44224</c:v>
                </c:pt>
                <c:pt idx="27">
                  <c:v>44225</c:v>
                </c:pt>
                <c:pt idx="28">
                  <c:v>44226</c:v>
                </c:pt>
                <c:pt idx="29">
                  <c:v>44227</c:v>
                </c:pt>
                <c:pt idx="30">
                  <c:v>44228</c:v>
                </c:pt>
              </c:numCache>
            </c:numRef>
          </c:cat>
          <c:val>
            <c:numRef>
              <c:f>'Combined rate'!$HU$25:$IY$25</c:f>
              <c:numCache>
                <c:formatCode>0.00</c:formatCode>
                <c:ptCount val="31"/>
                <c:pt idx="0">
                  <c:v>49.095737915059942</c:v>
                </c:pt>
                <c:pt idx="1">
                  <c:v>49.491997190447854</c:v>
                </c:pt>
                <c:pt idx="2">
                  <c:v>51.753420554432267</c:v>
                </c:pt>
                <c:pt idx="3">
                  <c:v>50.911579428571429</c:v>
                </c:pt>
                <c:pt idx="4">
                  <c:v>50.933259583705045</c:v>
                </c:pt>
                <c:pt idx="5">
                  <c:v>51.216448263783974</c:v>
                </c:pt>
                <c:pt idx="6">
                  <c:v>49.804211229006761</c:v>
                </c:pt>
                <c:pt idx="7">
                  <c:v>50.029850236153642</c:v>
                </c:pt>
                <c:pt idx="8">
                  <c:v>50.703520077178027</c:v>
                </c:pt>
                <c:pt idx="9">
                  <c:v>45.763005939512333</c:v>
                </c:pt>
                <c:pt idx="10">
                  <c:v>48.819222336622651</c:v>
                </c:pt>
                <c:pt idx="11">
                  <c:v>49.039703457637643</c:v>
                </c:pt>
                <c:pt idx="12">
                  <c:v>48.578218721229518</c:v>
                </c:pt>
                <c:pt idx="13">
                  <c:v>46.166122788265916</c:v>
                </c:pt>
                <c:pt idx="14">
                  <c:v>43.630406227105333</c:v>
                </c:pt>
                <c:pt idx="15">
                  <c:v>46.040215086520362</c:v>
                </c:pt>
                <c:pt idx="16">
                  <c:v>45.383170706548043</c:v>
                </c:pt>
                <c:pt idx="17">
                  <c:v>41.180337651392897</c:v>
                </c:pt>
                <c:pt idx="18">
                  <c:v>41.589045159018497</c:v>
                </c:pt>
                <c:pt idx="19">
                  <c:v>42.039938806048873</c:v>
                </c:pt>
                <c:pt idx="20">
                  <c:v>41.083966852246704</c:v>
                </c:pt>
                <c:pt idx="21">
                  <c:v>42.040320000000001</c:v>
                </c:pt>
                <c:pt idx="22">
                  <c:v>41.591120000000011</c:v>
                </c:pt>
                <c:pt idx="23">
                  <c:v>41.942432000000011</c:v>
                </c:pt>
                <c:pt idx="24">
                  <c:v>35.303567999999999</c:v>
                </c:pt>
                <c:pt idx="25">
                  <c:v>35.031944000000003</c:v>
                </c:pt>
                <c:pt idx="26">
                  <c:v>34.840943999999993</c:v>
                </c:pt>
                <c:pt idx="27">
                  <c:v>33.590344000000009</c:v>
                </c:pt>
                <c:pt idx="28">
                  <c:v>33.04196799999999</c:v>
                </c:pt>
                <c:pt idx="29">
                  <c:v>31.449599999999997</c:v>
                </c:pt>
                <c:pt idx="30">
                  <c:v>31.412879999999994</c:v>
                </c:pt>
              </c:numCache>
            </c:numRef>
          </c:val>
          <c:extLst xmlns:c16r2="http://schemas.microsoft.com/office/drawing/2015/06/chart">
            <c:ext xmlns:c16="http://schemas.microsoft.com/office/drawing/2014/chart" uri="{C3380CC4-5D6E-409C-BE32-E72D297353CC}">
              <c16:uniqueId val="{00000000-2F93-48B4-835E-D8C9546FA2DB}"/>
            </c:ext>
          </c:extLst>
        </c:ser>
        <c:ser>
          <c:idx val="0"/>
          <c:order val="1"/>
          <c:tx>
            <c:strRef>
              <c:f>'Combined rate'!$C$30</c:f>
              <c:strCache>
                <c:ptCount val="1"/>
                <c:pt idx="0">
                  <c:v>AFROX REPORT TOTAL WC</c:v>
                </c:pt>
              </c:strCache>
            </c:strRef>
          </c:tx>
          <c:spPr>
            <a:solidFill>
              <a:srgbClr val="95EF11"/>
            </a:solidFill>
            <a:ln>
              <a:solidFill>
                <a:srgbClr val="95EF11"/>
              </a:solidFill>
            </a:ln>
            <a:effectLst/>
          </c:spPr>
          <c:val>
            <c:numRef>
              <c:f>'Combined rate'!$HU$30:$IY$30</c:f>
              <c:numCache>
                <c:formatCode>0.00</c:formatCode>
                <c:ptCount val="31"/>
                <c:pt idx="0">
                  <c:v>78.319747999999962</c:v>
                </c:pt>
                <c:pt idx="1">
                  <c:v>75.796847999999969</c:v>
                </c:pt>
                <c:pt idx="2">
                  <c:v>82.52088300000004</c:v>
                </c:pt>
                <c:pt idx="3">
                  <c:v>83.774011999999999</c:v>
                </c:pt>
                <c:pt idx="4">
                  <c:v>85.64139200000001</c:v>
                </c:pt>
                <c:pt idx="5">
                  <c:v>85.891615999999999</c:v>
                </c:pt>
                <c:pt idx="6">
                  <c:v>81.689823999999973</c:v>
                </c:pt>
                <c:pt idx="7">
                  <c:v>81.752695999999986</c:v>
                </c:pt>
                <c:pt idx="8">
                  <c:v>80.868459999999956</c:v>
                </c:pt>
                <c:pt idx="9">
                  <c:v>79.500889999999998</c:v>
                </c:pt>
                <c:pt idx="10">
                  <c:v>84.712210000000013</c:v>
                </c:pt>
                <c:pt idx="11">
                  <c:v>87.967793999999998</c:v>
                </c:pt>
                <c:pt idx="12">
                  <c:v>88.034322000000017</c:v>
                </c:pt>
                <c:pt idx="13">
                  <c:v>84.300589999999957</c:v>
                </c:pt>
                <c:pt idx="14">
                  <c:v>81.513677999999999</c:v>
                </c:pt>
                <c:pt idx="15">
                  <c:v>81.513677999999999</c:v>
                </c:pt>
                <c:pt idx="16">
                  <c:v>78.778199999999998</c:v>
                </c:pt>
                <c:pt idx="17">
                  <c:v>77.669699999999992</c:v>
                </c:pt>
                <c:pt idx="18">
                  <c:v>78.772399999999976</c:v>
                </c:pt>
                <c:pt idx="19">
                  <c:v>76.892473999999979</c:v>
                </c:pt>
                <c:pt idx="20">
                  <c:v>77.130177999999972</c:v>
                </c:pt>
                <c:pt idx="21">
                  <c:v>75.997772666666648</c:v>
                </c:pt>
                <c:pt idx="22">
                  <c:v>74.865367333333296</c:v>
                </c:pt>
                <c:pt idx="23">
                  <c:v>73.732961999999986</c:v>
                </c:pt>
                <c:pt idx="24">
                  <c:v>73.733962000000005</c:v>
                </c:pt>
                <c:pt idx="25">
                  <c:v>71.962181999999984</c:v>
                </c:pt>
                <c:pt idx="26">
                  <c:v>76.952656000000005</c:v>
                </c:pt>
                <c:pt idx="27">
                  <c:v>73.459183999999993</c:v>
                </c:pt>
                <c:pt idx="28">
                  <c:v>70.607160000000007</c:v>
                </c:pt>
                <c:pt idx="29">
                  <c:v>67.65337999999997</c:v>
                </c:pt>
                <c:pt idx="30">
                  <c:v>67.462227999999996</c:v>
                </c:pt>
              </c:numCache>
            </c:numRef>
          </c:val>
          <c:extLst xmlns:c16r2="http://schemas.microsoft.com/office/drawing/2015/06/chart">
            <c:ext xmlns:c16="http://schemas.microsoft.com/office/drawing/2014/chart" uri="{C3380CC4-5D6E-409C-BE32-E72D297353CC}">
              <c16:uniqueId val="{00000001-2F93-48B4-835E-D8C9546FA2DB}"/>
            </c:ext>
          </c:extLst>
        </c:ser>
        <c:dLbls/>
        <c:gapWidth val="80"/>
        <c:overlap val="-7"/>
        <c:axId val="125198720"/>
        <c:axId val="125200256"/>
      </c:barChart>
      <c:dateAx>
        <c:axId val="125198720"/>
        <c:scaling>
          <c:orientation val="minMax"/>
        </c:scaling>
        <c:axPos val="b"/>
        <c:numFmt formatCode="dd\ mmm\ yy" sourceLinked="1"/>
        <c:majorTickMark val="none"/>
        <c:tickLblPos val="nextTo"/>
        <c:spPr>
          <a:noFill/>
          <a:ln w="9525" cap="flat" cmpd="sng" algn="ctr">
            <a:solidFill>
              <a:schemeClr val="dk1">
                <a:lumMod val="15000"/>
                <a:lumOff val="85000"/>
              </a:schemeClr>
            </a:solidFill>
            <a:round/>
          </a:ln>
          <a:effectLst/>
        </c:spPr>
        <c:txPr>
          <a:bodyPr rot="-5400000" spcFirstLastPara="1" vertOverflow="ellipsis" vert="horz" wrap="square" anchor="ctr" anchorCtr="1"/>
          <a:lstStyle/>
          <a:p>
            <a:pPr>
              <a:defRPr sz="900" b="0" i="0" u="none" strike="noStrike" kern="1200" baseline="0">
                <a:ln>
                  <a:noFill/>
                </a:ln>
                <a:solidFill>
                  <a:schemeClr val="tx1">
                    <a:lumMod val="65000"/>
                    <a:lumOff val="35000"/>
                  </a:schemeClr>
                </a:solidFill>
                <a:latin typeface="+mn-lt"/>
                <a:ea typeface="+mn-ea"/>
                <a:cs typeface="+mn-cs"/>
              </a:defRPr>
            </a:pPr>
            <a:endParaRPr lang="en-US"/>
          </a:p>
        </c:txPr>
        <c:crossAx val="125200256"/>
        <c:crosses val="autoZero"/>
        <c:auto val="1"/>
        <c:lblOffset val="100"/>
        <c:baseTimeUnit val="days"/>
      </c:dateAx>
      <c:valAx>
        <c:axId val="125200256"/>
        <c:scaling>
          <c:orientation val="minMax"/>
        </c:scaling>
        <c:axPos val="l"/>
        <c:majorGridlines>
          <c:spPr>
            <a:ln w="9525" cap="flat" cmpd="sng" algn="ctr">
              <a:solidFill>
                <a:schemeClr val="tx1">
                  <a:lumMod val="15000"/>
                  <a:lumOff val="85000"/>
                </a:schemeClr>
              </a:solidFill>
              <a:round/>
            </a:ln>
            <a:effectLst/>
          </c:spPr>
        </c:majorGridlines>
        <c:numFmt formatCode="0" sourceLinked="0"/>
        <c:majorTickMark val="none"/>
        <c:tickLblPos val="nextTo"/>
        <c:spPr>
          <a:noFill/>
          <a:ln w="25400" cap="flat" cmpd="sng" algn="ctr">
            <a:noFill/>
            <a:round/>
          </a:ln>
          <a:effectLst/>
        </c:spPr>
        <c:txPr>
          <a:bodyPr rot="-60000000" spcFirstLastPara="1" vertOverflow="ellipsis" vert="horz" wrap="square" anchor="ctr" anchorCtr="1"/>
          <a:lstStyle/>
          <a:p>
            <a:pPr>
              <a:defRPr sz="900" b="0" i="0" u="none" strike="noStrike" kern="1200" baseline="0">
                <a:ln>
                  <a:noFill/>
                </a:ln>
                <a:solidFill>
                  <a:schemeClr val="tx1">
                    <a:lumMod val="65000"/>
                    <a:lumOff val="35000"/>
                  </a:schemeClr>
                </a:solidFill>
                <a:latin typeface="+mn-lt"/>
                <a:ea typeface="+mn-ea"/>
                <a:cs typeface="+mn-cs"/>
              </a:defRPr>
            </a:pPr>
            <a:endParaRPr lang="en-US"/>
          </a:p>
        </c:txPr>
        <c:crossAx val="125198720"/>
        <c:crosses val="autoZero"/>
        <c:crossBetween val="between"/>
      </c:valAx>
      <c:spPr>
        <a:noFill/>
        <a:ln>
          <a:noFill/>
        </a:ln>
        <a:effectLst/>
      </c:spPr>
    </c:plotArea>
    <c:legend>
      <c:legendPos val="b"/>
      <c:layout>
        <c:manualLayout>
          <c:xMode val="edge"/>
          <c:yMode val="edge"/>
          <c:x val="0.24487454629024127"/>
          <c:y val="0.94976404628414668"/>
          <c:w val="0.51328250200604419"/>
          <c:h val="4.9641154746584079E-2"/>
        </c:manualLayout>
      </c:layout>
      <c:spPr>
        <a:noFill/>
        <a:ln>
          <a:noFill/>
        </a:ln>
        <a:effectLst/>
      </c:spPr>
      <c:txPr>
        <a:bodyPr rot="0" spcFirstLastPara="1" vertOverflow="ellipsis" vert="horz" wrap="square" anchor="ctr" anchorCtr="1"/>
        <a:lstStyle/>
        <a:p>
          <a:pPr>
            <a:defRPr sz="1100" b="0" i="0" u="none" strike="noStrike" kern="1200" baseline="0">
              <a:ln>
                <a:noFill/>
              </a:ln>
              <a:solidFill>
                <a:schemeClr val="tx1">
                  <a:lumMod val="65000"/>
                  <a:lumOff val="35000"/>
                </a:schemeClr>
              </a:solidFill>
              <a:latin typeface="+mn-lt"/>
              <a:ea typeface="+mn-ea"/>
              <a:cs typeface="+mn-cs"/>
            </a:defRPr>
          </a:pPr>
          <a:endParaRPr lang="en-US"/>
        </a:p>
      </c:txPr>
    </c:legend>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lt1"/>
    </a:solidFill>
    <a:ln w="9525" cap="flat" cmpd="sng" algn="ctr">
      <a:noFill/>
      <a:round/>
    </a:ln>
    <a:effectLst/>
  </c:spPr>
  <c:txPr>
    <a:bodyPr/>
    <a:lstStyle/>
    <a:p>
      <a:pPr>
        <a:defRPr>
          <a:ln>
            <a:noFill/>
          </a:ln>
        </a:defRPr>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6149307094188984E-2"/>
          <c:y val="2.3742928275869341E-2"/>
          <c:w val="0.86789981814546491"/>
          <c:h val="0.87141913550980177"/>
        </c:manualLayout>
      </c:layout>
      <c:scatterChart>
        <c:scatterStyle val="smoothMarker"/>
        <c:ser>
          <c:idx val="20"/>
          <c:order val="0"/>
          <c:tx>
            <c:strRef>
              <c:f>'Combined rate'!$C$25</c:f>
              <c:strCache>
                <c:ptCount val="1"/>
                <c:pt idx="0">
                  <c:v>COMBINED CONSUMPTION VIE</c:v>
                </c:pt>
              </c:strCache>
              <c:extLst xmlns:c16r2="http://schemas.microsoft.com/office/drawing/2015/06/chart" xmlns:c15="http://schemas.microsoft.com/office/drawing/2012/chart"/>
            </c:strRef>
          </c:tx>
          <c:spPr>
            <a:ln w="19050" cap="rnd">
              <a:solidFill>
                <a:srgbClr val="002060"/>
              </a:solidFill>
              <a:round/>
            </a:ln>
            <a:effectLst/>
          </c:spPr>
          <c:marker>
            <c:symbol val="circle"/>
            <c:size val="5"/>
            <c:spPr>
              <a:solidFill>
                <a:schemeClr val="accent3">
                  <a:lumMod val="80000"/>
                </a:schemeClr>
              </a:solidFill>
              <a:ln w="9525">
                <a:solidFill>
                  <a:schemeClr val="accent3">
                    <a:lumMod val="80000"/>
                  </a:schemeClr>
                </a:solidFill>
              </a:ln>
              <a:effectLst/>
            </c:spPr>
          </c:marker>
          <c:xVal>
            <c:numRef>
              <c:f>'Combined rate'!$G$1:$IY$1</c:f>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f>'Combined rate'!$G$25:$IY$25</c:f>
              <c:numCache>
                <c:formatCode>0.00</c:formatCode>
                <c:ptCount val="253"/>
                <c:pt idx="0">
                  <c:v>16.157703999999999</c:v>
                </c:pt>
                <c:pt idx="1">
                  <c:v>17.118328000000005</c:v>
                </c:pt>
                <c:pt idx="2">
                  <c:v>17.219752</c:v>
                </c:pt>
                <c:pt idx="3">
                  <c:v>16.666840000000001</c:v>
                </c:pt>
                <c:pt idx="4">
                  <c:v>17.291708000000003</c:v>
                </c:pt>
                <c:pt idx="5">
                  <c:v>17.604141999999996</c:v>
                </c:pt>
                <c:pt idx="6">
                  <c:v>17.760358999999998</c:v>
                </c:pt>
                <c:pt idx="7">
                  <c:v>17.916575999999996</c:v>
                </c:pt>
                <c:pt idx="8">
                  <c:v>19.731984000000004</c:v>
                </c:pt>
                <c:pt idx="9">
                  <c:v>20.830440000000003</c:v>
                </c:pt>
                <c:pt idx="10">
                  <c:v>20.949231999999999</c:v>
                </c:pt>
                <c:pt idx="11">
                  <c:v>21.140031999999998</c:v>
                </c:pt>
                <c:pt idx="12">
                  <c:v>21.140031999999998</c:v>
                </c:pt>
                <c:pt idx="13">
                  <c:v>21.137304000000004</c:v>
                </c:pt>
                <c:pt idx="14">
                  <c:v>21.134576000000006</c:v>
                </c:pt>
                <c:pt idx="15">
                  <c:v>21.134576000000006</c:v>
                </c:pt>
                <c:pt idx="16">
                  <c:v>21.938119999999998</c:v>
                </c:pt>
                <c:pt idx="17">
                  <c:v>23.97684799999999</c:v>
                </c:pt>
                <c:pt idx="18">
                  <c:v>23.94883999999999</c:v>
                </c:pt>
                <c:pt idx="19">
                  <c:v>23.248599999999989</c:v>
                </c:pt>
                <c:pt idx="20">
                  <c:v>22.898479999999992</c:v>
                </c:pt>
                <c:pt idx="21">
                  <c:v>22.548359999999988</c:v>
                </c:pt>
                <c:pt idx="22">
                  <c:v>23.129511999999995</c:v>
                </c:pt>
                <c:pt idx="23">
                  <c:v>23.710664000000005</c:v>
                </c:pt>
                <c:pt idx="24">
                  <c:v>23.681576</c:v>
                </c:pt>
                <c:pt idx="25">
                  <c:v>23.825527999999991</c:v>
                </c:pt>
                <c:pt idx="26">
                  <c:v>23.897504000000005</c:v>
                </c:pt>
                <c:pt idx="27">
                  <c:v>23.933491999999994</c:v>
                </c:pt>
                <c:pt idx="28">
                  <c:v>23.96947999999999</c:v>
                </c:pt>
                <c:pt idx="29">
                  <c:v>25.634472000000006</c:v>
                </c:pt>
                <c:pt idx="30">
                  <c:v>25.612991999999998</c:v>
                </c:pt>
                <c:pt idx="31">
                  <c:v>25.846735999999996</c:v>
                </c:pt>
                <c:pt idx="32">
                  <c:v>25.521688000000001</c:v>
                </c:pt>
                <c:pt idx="33">
                  <c:v>25.724519999999991</c:v>
                </c:pt>
                <c:pt idx="34">
                  <c:v>25.825935999999992</c:v>
                </c:pt>
                <c:pt idx="35">
                  <c:v>25.927352000000003</c:v>
                </c:pt>
                <c:pt idx="36">
                  <c:v>27.063135999999997</c:v>
                </c:pt>
                <c:pt idx="37">
                  <c:v>27.127624000000004</c:v>
                </c:pt>
                <c:pt idx="38">
                  <c:v>26.64556</c:v>
                </c:pt>
                <c:pt idx="39">
                  <c:v>26.883119999999991</c:v>
                </c:pt>
                <c:pt idx="40">
                  <c:v>27.286368000000003</c:v>
                </c:pt>
                <c:pt idx="41">
                  <c:v>27.371520000000004</c:v>
                </c:pt>
                <c:pt idx="42">
                  <c:v>27.330192000000004</c:v>
                </c:pt>
                <c:pt idx="43">
                  <c:v>27.573616000000001</c:v>
                </c:pt>
                <c:pt idx="44">
                  <c:v>27.656752000000004</c:v>
                </c:pt>
                <c:pt idx="45">
                  <c:v>27.656776000000004</c:v>
                </c:pt>
                <c:pt idx="46">
                  <c:v>27.357096000000002</c:v>
                </c:pt>
                <c:pt idx="47">
                  <c:v>26.910335999999997</c:v>
                </c:pt>
                <c:pt idx="48">
                  <c:v>27.149903999999999</c:v>
                </c:pt>
                <c:pt idx="49">
                  <c:v>27.149903999999999</c:v>
                </c:pt>
                <c:pt idx="50">
                  <c:v>26.27336</c:v>
                </c:pt>
                <c:pt idx="51">
                  <c:v>26.469631999999994</c:v>
                </c:pt>
                <c:pt idx="52">
                  <c:v>26.423767999999995</c:v>
                </c:pt>
                <c:pt idx="53">
                  <c:v>27.46632799999999</c:v>
                </c:pt>
                <c:pt idx="54">
                  <c:v>26.139664000000007</c:v>
                </c:pt>
                <c:pt idx="55">
                  <c:v>26.012288000000005</c:v>
                </c:pt>
                <c:pt idx="56">
                  <c:v>26.112656000000001</c:v>
                </c:pt>
                <c:pt idx="57">
                  <c:v>25.996175999999995</c:v>
                </c:pt>
                <c:pt idx="58">
                  <c:v>25.58916</c:v>
                </c:pt>
                <c:pt idx="59">
                  <c:v>25.278895999999996</c:v>
                </c:pt>
                <c:pt idx="60">
                  <c:v>25.821535999999988</c:v>
                </c:pt>
                <c:pt idx="61">
                  <c:v>26.088864000000001</c:v>
                </c:pt>
                <c:pt idx="62">
                  <c:v>26.358599999999996</c:v>
                </c:pt>
                <c:pt idx="63">
                  <c:v>26.046648000000001</c:v>
                </c:pt>
                <c:pt idx="64">
                  <c:v>26.073696000000009</c:v>
                </c:pt>
                <c:pt idx="65">
                  <c:v>26.178120000000003</c:v>
                </c:pt>
                <c:pt idx="66">
                  <c:v>25.927967999999996</c:v>
                </c:pt>
                <c:pt idx="67">
                  <c:v>26.169255999999997</c:v>
                </c:pt>
                <c:pt idx="68">
                  <c:v>26.155383999999991</c:v>
                </c:pt>
                <c:pt idx="69">
                  <c:v>24.672359999999994</c:v>
                </c:pt>
                <c:pt idx="70">
                  <c:v>24.593495999999995</c:v>
                </c:pt>
                <c:pt idx="71">
                  <c:v>24.598591999999996</c:v>
                </c:pt>
                <c:pt idx="72">
                  <c:v>25.972415999999996</c:v>
                </c:pt>
                <c:pt idx="73">
                  <c:v>26.445463999999998</c:v>
                </c:pt>
                <c:pt idx="74">
                  <c:v>27.094568000000006</c:v>
                </c:pt>
                <c:pt idx="75">
                  <c:v>26.753983999999999</c:v>
                </c:pt>
                <c:pt idx="76">
                  <c:v>26.099704000000003</c:v>
                </c:pt>
                <c:pt idx="77">
                  <c:v>26.190208000000005</c:v>
                </c:pt>
                <c:pt idx="78">
                  <c:v>26.031696000000004</c:v>
                </c:pt>
                <c:pt idx="79">
                  <c:v>26.267160000000008</c:v>
                </c:pt>
                <c:pt idx="80">
                  <c:v>25.926648</c:v>
                </c:pt>
                <c:pt idx="81">
                  <c:v>25.916512000000001</c:v>
                </c:pt>
                <c:pt idx="82">
                  <c:v>25.920872000000006</c:v>
                </c:pt>
                <c:pt idx="83">
                  <c:v>25.424919999999993</c:v>
                </c:pt>
                <c:pt idx="84">
                  <c:v>25.376608000000001</c:v>
                </c:pt>
                <c:pt idx="85">
                  <c:v>25.841456000000004</c:v>
                </c:pt>
                <c:pt idx="86">
                  <c:v>25.555136000000001</c:v>
                </c:pt>
                <c:pt idx="87">
                  <c:v>25.459736000000003</c:v>
                </c:pt>
                <c:pt idx="88">
                  <c:v>26.400783999999991</c:v>
                </c:pt>
                <c:pt idx="89">
                  <c:v>25.894615999999999</c:v>
                </c:pt>
                <c:pt idx="90">
                  <c:v>25.863088000000005</c:v>
                </c:pt>
                <c:pt idx="91">
                  <c:v>26.000328</c:v>
                </c:pt>
                <c:pt idx="92">
                  <c:v>23.437415999999999</c:v>
                </c:pt>
                <c:pt idx="93">
                  <c:v>23.327952000000003</c:v>
                </c:pt>
                <c:pt idx="94">
                  <c:v>22.343296000000002</c:v>
                </c:pt>
                <c:pt idx="95">
                  <c:v>22.187199999999994</c:v>
                </c:pt>
                <c:pt idx="96">
                  <c:v>21.943215999999996</c:v>
                </c:pt>
                <c:pt idx="97">
                  <c:v>21.234168000000007</c:v>
                </c:pt>
                <c:pt idx="98">
                  <c:v>21.250392000000002</c:v>
                </c:pt>
                <c:pt idx="99">
                  <c:v>21.621959999999998</c:v>
                </c:pt>
                <c:pt idx="100">
                  <c:v>21.367463999999995</c:v>
                </c:pt>
                <c:pt idx="101">
                  <c:v>21.282879999999995</c:v>
                </c:pt>
                <c:pt idx="102">
                  <c:v>21.079048</c:v>
                </c:pt>
                <c:pt idx="103">
                  <c:v>21.819295999999994</c:v>
                </c:pt>
                <c:pt idx="104">
                  <c:v>20.961799999999986</c:v>
                </c:pt>
                <c:pt idx="105">
                  <c:v>19.159359999999992</c:v>
                </c:pt>
                <c:pt idx="106">
                  <c:v>19.741351999999996</c:v>
                </c:pt>
                <c:pt idx="107">
                  <c:v>19.601447999999994</c:v>
                </c:pt>
                <c:pt idx="108">
                  <c:v>19.213952000000003</c:v>
                </c:pt>
                <c:pt idx="109">
                  <c:v>18.649312000000002</c:v>
                </c:pt>
                <c:pt idx="110">
                  <c:v>18.573840000000001</c:v>
                </c:pt>
                <c:pt idx="111">
                  <c:v>18.525511999999996</c:v>
                </c:pt>
                <c:pt idx="112">
                  <c:v>18.630080000000003</c:v>
                </c:pt>
                <c:pt idx="113">
                  <c:v>18.578519999999997</c:v>
                </c:pt>
                <c:pt idx="114">
                  <c:v>18.78291999999999</c:v>
                </c:pt>
                <c:pt idx="115">
                  <c:v>22.564024</c:v>
                </c:pt>
                <c:pt idx="116">
                  <c:v>21.624160000000003</c:v>
                </c:pt>
                <c:pt idx="117">
                  <c:v>21.770311999999993</c:v>
                </c:pt>
                <c:pt idx="118">
                  <c:v>22.146008000000005</c:v>
                </c:pt>
                <c:pt idx="119">
                  <c:v>22.020031999999997</c:v>
                </c:pt>
                <c:pt idx="120">
                  <c:v>22.687887999999997</c:v>
                </c:pt>
                <c:pt idx="121">
                  <c:v>20.283095999999993</c:v>
                </c:pt>
                <c:pt idx="122">
                  <c:v>20.803191999999999</c:v>
                </c:pt>
                <c:pt idx="123">
                  <c:v>19.983631999999989</c:v>
                </c:pt>
                <c:pt idx="124">
                  <c:v>19.528895999999992</c:v>
                </c:pt>
                <c:pt idx="125">
                  <c:v>19.472063999999992</c:v>
                </c:pt>
                <c:pt idx="126">
                  <c:v>19.48925599999999</c:v>
                </c:pt>
                <c:pt idx="127">
                  <c:v>19.793575999999995</c:v>
                </c:pt>
                <c:pt idx="128">
                  <c:v>19.79265599999999</c:v>
                </c:pt>
                <c:pt idx="129">
                  <c:v>19.778183999999992</c:v>
                </c:pt>
                <c:pt idx="130">
                  <c:v>18.567207999999994</c:v>
                </c:pt>
                <c:pt idx="131">
                  <c:v>18.565384000000002</c:v>
                </c:pt>
                <c:pt idx="132">
                  <c:v>18.576176</c:v>
                </c:pt>
                <c:pt idx="133">
                  <c:v>18.546223999999995</c:v>
                </c:pt>
                <c:pt idx="134">
                  <c:v>18.127632000000002</c:v>
                </c:pt>
                <c:pt idx="135">
                  <c:v>17.640296000000003</c:v>
                </c:pt>
                <c:pt idx="136">
                  <c:v>17.597072000000004</c:v>
                </c:pt>
                <c:pt idx="137">
                  <c:v>17.572808000000006</c:v>
                </c:pt>
                <c:pt idx="138">
                  <c:v>17.017864000000014</c:v>
                </c:pt>
                <c:pt idx="139">
                  <c:v>16.889391999999997</c:v>
                </c:pt>
                <c:pt idx="140">
                  <c:v>16.859215999999996</c:v>
                </c:pt>
                <c:pt idx="141">
                  <c:v>16.421391999999994</c:v>
                </c:pt>
                <c:pt idx="142">
                  <c:v>17.790064000000001</c:v>
                </c:pt>
                <c:pt idx="143">
                  <c:v>17.809144</c:v>
                </c:pt>
                <c:pt idx="144">
                  <c:v>17.918096000000006</c:v>
                </c:pt>
                <c:pt idx="145">
                  <c:v>16.121312</c:v>
                </c:pt>
                <c:pt idx="146">
                  <c:v>16.109552000000001</c:v>
                </c:pt>
                <c:pt idx="147">
                  <c:v>15.859080000000002</c:v>
                </c:pt>
                <c:pt idx="148">
                  <c:v>15.823072</c:v>
                </c:pt>
                <c:pt idx="149">
                  <c:v>17.633472000000005</c:v>
                </c:pt>
                <c:pt idx="150">
                  <c:v>17.951791999999998</c:v>
                </c:pt>
                <c:pt idx="151">
                  <c:v>17.456400000000006</c:v>
                </c:pt>
                <c:pt idx="152">
                  <c:v>17.425944000000001</c:v>
                </c:pt>
                <c:pt idx="153">
                  <c:v>16.334359999999997</c:v>
                </c:pt>
                <c:pt idx="154">
                  <c:v>18.117136000000006</c:v>
                </c:pt>
                <c:pt idx="155">
                  <c:v>17.578191999999994</c:v>
                </c:pt>
                <c:pt idx="156">
                  <c:v>18.409872</c:v>
                </c:pt>
                <c:pt idx="157">
                  <c:v>17.790479999999995</c:v>
                </c:pt>
                <c:pt idx="158">
                  <c:v>17.963103999999998</c:v>
                </c:pt>
                <c:pt idx="159">
                  <c:v>17.24616</c:v>
                </c:pt>
                <c:pt idx="160">
                  <c:v>17.386407999999996</c:v>
                </c:pt>
                <c:pt idx="161">
                  <c:v>17.43620799999999</c:v>
                </c:pt>
                <c:pt idx="162">
                  <c:v>17.302887999999999</c:v>
                </c:pt>
                <c:pt idx="163">
                  <c:v>17.334471999999998</c:v>
                </c:pt>
                <c:pt idx="164">
                  <c:v>17.393424000000003</c:v>
                </c:pt>
                <c:pt idx="165">
                  <c:v>17.099511999999997</c:v>
                </c:pt>
                <c:pt idx="166">
                  <c:v>17.135104000000005</c:v>
                </c:pt>
                <c:pt idx="167">
                  <c:v>16.463872000000002</c:v>
                </c:pt>
                <c:pt idx="168">
                  <c:v>16.476839999999996</c:v>
                </c:pt>
                <c:pt idx="169">
                  <c:v>16.885664000000002</c:v>
                </c:pt>
                <c:pt idx="170">
                  <c:v>17.386983999999995</c:v>
                </c:pt>
                <c:pt idx="171">
                  <c:v>17.527407999999991</c:v>
                </c:pt>
                <c:pt idx="172">
                  <c:v>16.717583999999999</c:v>
                </c:pt>
                <c:pt idx="173">
                  <c:v>16.745031999999991</c:v>
                </c:pt>
                <c:pt idx="174">
                  <c:v>16.840791999999993</c:v>
                </c:pt>
                <c:pt idx="175">
                  <c:v>17.16976</c:v>
                </c:pt>
                <c:pt idx="176">
                  <c:v>17.3064</c:v>
                </c:pt>
                <c:pt idx="177">
                  <c:v>17.879120000000004</c:v>
                </c:pt>
                <c:pt idx="178">
                  <c:v>17.697368000000008</c:v>
                </c:pt>
                <c:pt idx="179">
                  <c:v>17.915855999999994</c:v>
                </c:pt>
                <c:pt idx="180">
                  <c:v>18.517791999999996</c:v>
                </c:pt>
                <c:pt idx="181">
                  <c:v>19.236784</c:v>
                </c:pt>
                <c:pt idx="182">
                  <c:v>19.250448000000002</c:v>
                </c:pt>
                <c:pt idx="183">
                  <c:v>19.553775999999999</c:v>
                </c:pt>
                <c:pt idx="184">
                  <c:v>19.435983999999994</c:v>
                </c:pt>
                <c:pt idx="185">
                  <c:v>20.835791999999991</c:v>
                </c:pt>
                <c:pt idx="186">
                  <c:v>21.397280000000006</c:v>
                </c:pt>
                <c:pt idx="187">
                  <c:v>20.143688000000001</c:v>
                </c:pt>
                <c:pt idx="188">
                  <c:v>20.400663999999995</c:v>
                </c:pt>
                <c:pt idx="189">
                  <c:v>21.189704000000003</c:v>
                </c:pt>
                <c:pt idx="190">
                  <c:v>22.07523999999999</c:v>
                </c:pt>
                <c:pt idx="191">
                  <c:v>22.728376000000001</c:v>
                </c:pt>
                <c:pt idx="192">
                  <c:v>22.888455999999998</c:v>
                </c:pt>
                <c:pt idx="193">
                  <c:v>23.416431999999993</c:v>
                </c:pt>
                <c:pt idx="194">
                  <c:v>25.902727999999996</c:v>
                </c:pt>
                <c:pt idx="195">
                  <c:v>23.464967999999992</c:v>
                </c:pt>
                <c:pt idx="196">
                  <c:v>24.749815999999999</c:v>
                </c:pt>
                <c:pt idx="197">
                  <c:v>24.960239999999985</c:v>
                </c:pt>
                <c:pt idx="198">
                  <c:v>24.283511999999991</c:v>
                </c:pt>
                <c:pt idx="199">
                  <c:v>25.340671999999998</c:v>
                </c:pt>
                <c:pt idx="200">
                  <c:v>25.565808000000001</c:v>
                </c:pt>
                <c:pt idx="201">
                  <c:v>26.207672000000002</c:v>
                </c:pt>
                <c:pt idx="202">
                  <c:v>27.740343999999997</c:v>
                </c:pt>
                <c:pt idx="203">
                  <c:v>28.940176000000001</c:v>
                </c:pt>
                <c:pt idx="204">
                  <c:v>28.88212</c:v>
                </c:pt>
                <c:pt idx="205">
                  <c:v>29.809600000000007</c:v>
                </c:pt>
                <c:pt idx="206">
                  <c:v>33.024792000000005</c:v>
                </c:pt>
                <c:pt idx="207">
                  <c:v>33.184143999999996</c:v>
                </c:pt>
                <c:pt idx="208">
                  <c:v>35.884192000000006</c:v>
                </c:pt>
                <c:pt idx="209">
                  <c:v>35.637752000000013</c:v>
                </c:pt>
                <c:pt idx="210">
                  <c:v>35.930242</c:v>
                </c:pt>
                <c:pt idx="211">
                  <c:v>36.260192000000018</c:v>
                </c:pt>
                <c:pt idx="212">
                  <c:v>39.207500000000003</c:v>
                </c:pt>
                <c:pt idx="213">
                  <c:v>37.203895999999993</c:v>
                </c:pt>
                <c:pt idx="214">
                  <c:v>37.555895999999983</c:v>
                </c:pt>
                <c:pt idx="215">
                  <c:v>37.819800000000001</c:v>
                </c:pt>
                <c:pt idx="216">
                  <c:v>43.397391999999989</c:v>
                </c:pt>
                <c:pt idx="217">
                  <c:v>42.085591999999998</c:v>
                </c:pt>
                <c:pt idx="218">
                  <c:v>46.195312000000015</c:v>
                </c:pt>
                <c:pt idx="219">
                  <c:v>45.093136000000008</c:v>
                </c:pt>
                <c:pt idx="220">
                  <c:v>48.868760000000002</c:v>
                </c:pt>
                <c:pt idx="221">
                  <c:v>47.76877114707839</c:v>
                </c:pt>
                <c:pt idx="222">
                  <c:v>49.095737915059942</c:v>
                </c:pt>
                <c:pt idx="223">
                  <c:v>49.491997190447854</c:v>
                </c:pt>
                <c:pt idx="224">
                  <c:v>51.753420554432267</c:v>
                </c:pt>
                <c:pt idx="225">
                  <c:v>50.911579428571429</c:v>
                </c:pt>
                <c:pt idx="226">
                  <c:v>50.933259583705045</c:v>
                </c:pt>
                <c:pt idx="227">
                  <c:v>51.216448263783974</c:v>
                </c:pt>
                <c:pt idx="228">
                  <c:v>49.804211229006761</c:v>
                </c:pt>
                <c:pt idx="229">
                  <c:v>50.029850236153642</c:v>
                </c:pt>
                <c:pt idx="230">
                  <c:v>50.703520077178027</c:v>
                </c:pt>
                <c:pt idx="231">
                  <c:v>45.763005939512333</c:v>
                </c:pt>
                <c:pt idx="232">
                  <c:v>48.819222336622651</c:v>
                </c:pt>
                <c:pt idx="233">
                  <c:v>49.039703457637643</c:v>
                </c:pt>
                <c:pt idx="234">
                  <c:v>48.578218721229518</c:v>
                </c:pt>
                <c:pt idx="235">
                  <c:v>46.166122788265916</c:v>
                </c:pt>
                <c:pt idx="236">
                  <c:v>43.630406227105333</c:v>
                </c:pt>
                <c:pt idx="237">
                  <c:v>46.040215086520362</c:v>
                </c:pt>
                <c:pt idx="238">
                  <c:v>45.383170706548043</c:v>
                </c:pt>
                <c:pt idx="239">
                  <c:v>41.180337651392897</c:v>
                </c:pt>
                <c:pt idx="240">
                  <c:v>41.589045159018497</c:v>
                </c:pt>
                <c:pt idx="241">
                  <c:v>42.039938806048873</c:v>
                </c:pt>
                <c:pt idx="242">
                  <c:v>41.083966852246704</c:v>
                </c:pt>
                <c:pt idx="243">
                  <c:v>42.040320000000001</c:v>
                </c:pt>
                <c:pt idx="244">
                  <c:v>41.591120000000011</c:v>
                </c:pt>
                <c:pt idx="245">
                  <c:v>41.942432000000011</c:v>
                </c:pt>
                <c:pt idx="246">
                  <c:v>35.303567999999999</c:v>
                </c:pt>
                <c:pt idx="247">
                  <c:v>35.031944000000003</c:v>
                </c:pt>
                <c:pt idx="248">
                  <c:v>34.840943999999993</c:v>
                </c:pt>
                <c:pt idx="249">
                  <c:v>33.590344000000009</c:v>
                </c:pt>
                <c:pt idx="250">
                  <c:v>33.04196799999999</c:v>
                </c:pt>
                <c:pt idx="251">
                  <c:v>31.449599999999997</c:v>
                </c:pt>
                <c:pt idx="252">
                  <c:v>31.412879999999994</c:v>
                </c:pt>
              </c:numCache>
            </c:numRef>
          </c:yVal>
          <c:smooth val="1"/>
          <c:extLst xmlns:c16r2="http://schemas.microsoft.com/office/drawing/2015/06/chart">
            <c:ext xmlns:c16="http://schemas.microsoft.com/office/drawing/2014/chart" uri="{C3380CC4-5D6E-409C-BE32-E72D297353CC}">
              <c16:uniqueId val="{00000000-B1BA-4027-B324-9E28FECAA0B8}"/>
            </c:ext>
          </c:extLst>
        </c:ser>
        <c:dLbls/>
        <c:axId val="125271040"/>
        <c:axId val="126067840"/>
        <c:extLst xmlns:c16r2="http://schemas.microsoft.com/office/drawing/2015/06/chart">
          <c:ext xmlns:c15="http://schemas.microsoft.com/office/drawing/2012/chart" uri="{02D57815-91ED-43cb-92C2-25804820EDAC}">
            <c15:filteredScatterSeries>
              <c15:ser>
                <c:idx val="0"/>
                <c:order val="0"/>
                <c:tx>
                  <c:strRef>
                    <c:extLst>
                      <c:ext uri="{02D57815-91ED-43cb-92C2-25804820EDAC}">
                        <c15:formulaRef>
                          <c15:sqref>'Combined rate'!$C$5</c15:sqref>
                        </c15:formulaRef>
                      </c:ext>
                    </c:extLst>
                    <c:strCache>
                      <c:ptCount val="1"/>
                      <c:pt idx="0">
                        <c:v>BRACKENGATE</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xVal>
                  <c:numRef>
                    <c:extLst>
                      <c:ex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c:ext uri="{02D57815-91ED-43cb-92C2-25804820EDAC}">
                        <c15:formulaRef>
                          <c15:sqref>'Combined rate'!$G$5:$IY$5</c15:sqref>
                        </c15:formulaRef>
                      </c:ext>
                    </c:extLst>
                    <c:numCache>
                      <c:formatCode>General</c:formatCode>
                      <c:ptCount val="253"/>
                      <c:pt idx="73" formatCode="0">
                        <c:v>284</c:v>
                      </c:pt>
                      <c:pt idx="74" formatCode="0">
                        <c:v>284</c:v>
                      </c:pt>
                      <c:pt idx="75" formatCode="0">
                        <c:v>284</c:v>
                      </c:pt>
                      <c:pt idx="76" formatCode="0">
                        <c:v>284</c:v>
                      </c:pt>
                      <c:pt idx="77" formatCode="0">
                        <c:v>284</c:v>
                      </c:pt>
                      <c:pt idx="78" formatCode="0">
                        <c:v>284</c:v>
                      </c:pt>
                      <c:pt idx="79" formatCode="0">
                        <c:v>284</c:v>
                      </c:pt>
                      <c:pt idx="80" formatCode="0">
                        <c:v>284</c:v>
                      </c:pt>
                      <c:pt idx="81" formatCode="0">
                        <c:v>274</c:v>
                      </c:pt>
                      <c:pt idx="82" formatCode="0">
                        <c:v>266</c:v>
                      </c:pt>
                      <c:pt idx="83" formatCode="0">
                        <c:v>375</c:v>
                      </c:pt>
                      <c:pt idx="84" formatCode="0">
                        <c:v>375</c:v>
                      </c:pt>
                      <c:pt idx="85" formatCode="0">
                        <c:v>558</c:v>
                      </c:pt>
                      <c:pt idx="86" formatCode="0">
                        <c:v>306</c:v>
                      </c:pt>
                      <c:pt idx="87" formatCode="0">
                        <c:v>390</c:v>
                      </c:pt>
                      <c:pt idx="88" formatCode="0">
                        <c:v>390</c:v>
                      </c:pt>
                      <c:pt idx="89" formatCode="0">
                        <c:v>538</c:v>
                      </c:pt>
                      <c:pt idx="90" formatCode="0">
                        <c:v>538</c:v>
                      </c:pt>
                      <c:pt idx="91" formatCode="0">
                        <c:v>525</c:v>
                      </c:pt>
                      <c:pt idx="92" formatCode="0">
                        <c:v>525</c:v>
                      </c:pt>
                      <c:pt idx="93" formatCode="0">
                        <c:v>528</c:v>
                      </c:pt>
                      <c:pt idx="94" formatCode="0">
                        <c:v>438</c:v>
                      </c:pt>
                      <c:pt idx="95" formatCode="0">
                        <c:v>438</c:v>
                      </c:pt>
                      <c:pt idx="96" formatCode="0">
                        <c:v>372</c:v>
                      </c:pt>
                      <c:pt idx="97" formatCode="0">
                        <c:v>330</c:v>
                      </c:pt>
                      <c:pt idx="98" formatCode="0">
                        <c:v>510</c:v>
                      </c:pt>
                      <c:pt idx="99" formatCode="0">
                        <c:v>510</c:v>
                      </c:pt>
                      <c:pt idx="100" formatCode="0">
                        <c:v>419</c:v>
                      </c:pt>
                      <c:pt idx="101" formatCode="0">
                        <c:v>450</c:v>
                      </c:pt>
                      <c:pt idx="102" formatCode="0">
                        <c:v>450</c:v>
                      </c:pt>
                      <c:pt idx="103" formatCode="0">
                        <c:v>418</c:v>
                      </c:pt>
                      <c:pt idx="104" formatCode="0">
                        <c:v>418</c:v>
                      </c:pt>
                      <c:pt idx="105" formatCode="0">
                        <c:v>360</c:v>
                      </c:pt>
                      <c:pt idx="106" formatCode="0">
                        <c:v>360</c:v>
                      </c:pt>
                      <c:pt idx="107" formatCode="0">
                        <c:v>274</c:v>
                      </c:pt>
                      <c:pt idx="108" formatCode="0">
                        <c:v>300</c:v>
                      </c:pt>
                      <c:pt idx="109" formatCode="0">
                        <c:v>330</c:v>
                      </c:pt>
                      <c:pt idx="110" formatCode="0">
                        <c:v>212</c:v>
                      </c:pt>
                      <c:pt idx="111" formatCode="0">
                        <c:v>326</c:v>
                      </c:pt>
                      <c:pt idx="112" formatCode="0">
                        <c:v>294</c:v>
                      </c:pt>
                      <c:pt idx="113" formatCode="0">
                        <c:v>232</c:v>
                      </c:pt>
                      <c:pt idx="114" formatCode="0">
                        <c:v>380</c:v>
                      </c:pt>
                      <c:pt idx="115" formatCode="0">
                        <c:v>300</c:v>
                      </c:pt>
                      <c:pt idx="116" formatCode="0">
                        <c:v>264</c:v>
                      </c:pt>
                      <c:pt idx="117" formatCode="0">
                        <c:v>390</c:v>
                      </c:pt>
                      <c:pt idx="118" formatCode="0">
                        <c:v>390</c:v>
                      </c:pt>
                      <c:pt idx="119" formatCode="0">
                        <c:v>390</c:v>
                      </c:pt>
                      <c:pt idx="120" formatCode="0">
                        <c:v>194</c:v>
                      </c:pt>
                      <c:pt idx="121" formatCode="0">
                        <c:v>250</c:v>
                      </c:pt>
                      <c:pt idx="122" formatCode="0">
                        <c:v>260</c:v>
                      </c:pt>
                      <c:pt idx="123" formatCode="0">
                        <c:v>260</c:v>
                      </c:pt>
                      <c:pt idx="124" formatCode="0">
                        <c:v>262</c:v>
                      </c:pt>
                      <c:pt idx="125" formatCode="0">
                        <c:v>370</c:v>
                      </c:pt>
                      <c:pt idx="126" formatCode="0">
                        <c:v>390</c:v>
                      </c:pt>
                      <c:pt idx="127" formatCode="0">
                        <c:v>664.70399999999995</c:v>
                      </c:pt>
                      <c:pt idx="128" formatCode="0">
                        <c:v>559</c:v>
                      </c:pt>
                      <c:pt idx="129" formatCode="0">
                        <c:v>559</c:v>
                      </c:pt>
                      <c:pt idx="130" formatCode="0">
                        <c:v>354.45600000000002</c:v>
                      </c:pt>
                      <c:pt idx="131" formatCode="0">
                        <c:v>354.45600000000002</c:v>
                      </c:pt>
                      <c:pt idx="132" formatCode="0">
                        <c:v>354.45600000000002</c:v>
                      </c:pt>
                      <c:pt idx="133" formatCode="0">
                        <c:v>354.45600000000002</c:v>
                      </c:pt>
                      <c:pt idx="134" formatCode="0">
                        <c:v>354.45600000000002</c:v>
                      </c:pt>
                      <c:pt idx="135" formatCode="0">
                        <c:v>354.45600000000002</c:v>
                      </c:pt>
                      <c:pt idx="136" formatCode="0">
                        <c:v>354.45600000000002</c:v>
                      </c:pt>
                      <c:pt idx="137" formatCode="0">
                        <c:v>354.45600000000002</c:v>
                      </c:pt>
                      <c:pt idx="138" formatCode="0">
                        <c:v>354.45600000000002</c:v>
                      </c:pt>
                      <c:pt idx="139" formatCode="0">
                        <c:v>354.45600000000002</c:v>
                      </c:pt>
                      <c:pt idx="140" formatCode="0">
                        <c:v>354.45600000000002</c:v>
                      </c:pt>
                      <c:pt idx="141" formatCode="0">
                        <c:v>354.45600000000002</c:v>
                      </c:pt>
                      <c:pt idx="142" formatCode="0">
                        <c:v>354.45600000000002</c:v>
                      </c:pt>
                      <c:pt idx="143" formatCode="0">
                        <c:v>354.45600000000002</c:v>
                      </c:pt>
                      <c:pt idx="144" formatCode="0">
                        <c:v>354.45600000000002</c:v>
                      </c:pt>
                      <c:pt idx="145" formatCode="0">
                        <c:v>354.45600000000002</c:v>
                      </c:pt>
                      <c:pt idx="146" formatCode="0">
                        <c:v>354.45600000000002</c:v>
                      </c:pt>
                      <c:pt idx="147" formatCode="0">
                        <c:v>271</c:v>
                      </c:pt>
                      <c:pt idx="148" formatCode="0">
                        <c:v>271</c:v>
                      </c:pt>
                      <c:pt idx="149" formatCode="0">
                        <c:v>248</c:v>
                      </c:pt>
                      <c:pt idx="150" formatCode="0">
                        <c:v>250</c:v>
                      </c:pt>
                      <c:pt idx="151" formatCode="0">
                        <c:v>248</c:v>
                      </c:pt>
                      <c:pt idx="152" formatCode="0">
                        <c:v>246</c:v>
                      </c:pt>
                      <c:pt idx="153" formatCode="0">
                        <c:v>248</c:v>
                      </c:pt>
                      <c:pt idx="154" formatCode="0">
                        <c:v>247</c:v>
                      </c:pt>
                      <c:pt idx="155" formatCode="0">
                        <c:v>247</c:v>
                      </c:pt>
                      <c:pt idx="156" formatCode="0">
                        <c:v>247</c:v>
                      </c:pt>
                      <c:pt idx="157" formatCode="0">
                        <c:v>247</c:v>
                      </c:pt>
                      <c:pt idx="158" formatCode="0">
                        <c:v>301</c:v>
                      </c:pt>
                      <c:pt idx="159" formatCode="0">
                        <c:v>322</c:v>
                      </c:pt>
                      <c:pt idx="160" formatCode="0">
                        <c:v>322</c:v>
                      </c:pt>
                      <c:pt idx="161" formatCode="0">
                        <c:v>322</c:v>
                      </c:pt>
                      <c:pt idx="162" formatCode="0">
                        <c:v>322</c:v>
                      </c:pt>
                      <c:pt idx="163" formatCode="0">
                        <c:v>322</c:v>
                      </c:pt>
                      <c:pt idx="164" formatCode="0">
                        <c:v>354.45600000000002</c:v>
                      </c:pt>
                      <c:pt idx="165" formatCode="0">
                        <c:v>354.45600000000002</c:v>
                      </c:pt>
                      <c:pt idx="166" formatCode="0">
                        <c:v>247</c:v>
                      </c:pt>
                      <c:pt idx="167" formatCode="0">
                        <c:v>247</c:v>
                      </c:pt>
                      <c:pt idx="168" formatCode="0">
                        <c:v>247</c:v>
                      </c:pt>
                      <c:pt idx="169" formatCode="0">
                        <c:v>354.45600000000002</c:v>
                      </c:pt>
                      <c:pt idx="170" formatCode="0">
                        <c:v>354.45600000000002</c:v>
                      </c:pt>
                      <c:pt idx="171" formatCode="0">
                        <c:v>354.45600000000002</c:v>
                      </c:pt>
                      <c:pt idx="172" formatCode="0">
                        <c:v>354.45600000000002</c:v>
                      </c:pt>
                      <c:pt idx="173" formatCode="0">
                        <c:v>354.45600000000002</c:v>
                      </c:pt>
                      <c:pt idx="174" formatCode="0">
                        <c:v>354.45600000000002</c:v>
                      </c:pt>
                      <c:pt idx="175" formatCode="0">
                        <c:v>354.45600000000002</c:v>
                      </c:pt>
                      <c:pt idx="176" formatCode="0">
                        <c:v>354.45600000000002</c:v>
                      </c:pt>
                      <c:pt idx="177" formatCode="0">
                        <c:v>354.45600000000002</c:v>
                      </c:pt>
                      <c:pt idx="178" formatCode="0">
                        <c:v>354.45600000000002</c:v>
                      </c:pt>
                      <c:pt idx="179" formatCode="0">
                        <c:v>593.25599999999997</c:v>
                      </c:pt>
                      <c:pt idx="180" formatCode="0">
                        <c:v>593.25599999999997</c:v>
                      </c:pt>
                      <c:pt idx="181" formatCode="0">
                        <c:v>593.25599999999997</c:v>
                      </c:pt>
                      <c:pt idx="182" formatCode="0">
                        <c:v>593.25599999999997</c:v>
                      </c:pt>
                      <c:pt idx="183" formatCode="0">
                        <c:v>869</c:v>
                      </c:pt>
                      <c:pt idx="184" formatCode="0">
                        <c:v>1012</c:v>
                      </c:pt>
                      <c:pt idx="185" formatCode="0">
                        <c:v>1014</c:v>
                      </c:pt>
                      <c:pt idx="186" formatCode="0">
                        <c:v>1014</c:v>
                      </c:pt>
                      <c:pt idx="187" formatCode="0">
                        <c:v>887</c:v>
                      </c:pt>
                      <c:pt idx="188" formatCode="0">
                        <c:v>992</c:v>
                      </c:pt>
                      <c:pt idx="189" formatCode="0">
                        <c:v>983</c:v>
                      </c:pt>
                      <c:pt idx="190" formatCode="0">
                        <c:v>722</c:v>
                      </c:pt>
                      <c:pt idx="191" formatCode="0">
                        <c:v>703</c:v>
                      </c:pt>
                      <c:pt idx="192" formatCode="0">
                        <c:v>716</c:v>
                      </c:pt>
                      <c:pt idx="193" formatCode="0">
                        <c:v>716</c:v>
                      </c:pt>
                      <c:pt idx="194" formatCode="0">
                        <c:v>1650</c:v>
                      </c:pt>
                      <c:pt idx="195" formatCode="0">
                        <c:v>1168</c:v>
                      </c:pt>
                      <c:pt idx="196" formatCode="0">
                        <c:v>1564</c:v>
                      </c:pt>
                      <c:pt idx="197" formatCode="0">
                        <c:v>1078</c:v>
                      </c:pt>
                      <c:pt idx="198" formatCode="0">
                        <c:v>1350</c:v>
                      </c:pt>
                      <c:pt idx="199" formatCode="0">
                        <c:v>1492</c:v>
                      </c:pt>
                      <c:pt idx="200" formatCode="0">
                        <c:v>1898</c:v>
                      </c:pt>
                      <c:pt idx="201" formatCode="0">
                        <c:v>1327</c:v>
                      </c:pt>
                      <c:pt idx="202" formatCode="0">
                        <c:v>3500</c:v>
                      </c:pt>
                      <c:pt idx="203" formatCode="0">
                        <c:v>3570</c:v>
                      </c:pt>
                      <c:pt idx="204" formatCode="0">
                        <c:v>3055</c:v>
                      </c:pt>
                      <c:pt idx="205" formatCode="0">
                        <c:v>3055</c:v>
                      </c:pt>
                      <c:pt idx="206" formatCode="0">
                        <c:v>3498</c:v>
                      </c:pt>
                      <c:pt idx="207" formatCode="0">
                        <c:v>2810</c:v>
                      </c:pt>
                      <c:pt idx="208" formatCode="0">
                        <c:v>3310</c:v>
                      </c:pt>
                      <c:pt idx="209" formatCode="0">
                        <c:v>3178</c:v>
                      </c:pt>
                      <c:pt idx="210" formatCode="0">
                        <c:v>2929</c:v>
                      </c:pt>
                      <c:pt idx="211" formatCode="0">
                        <c:v>2688</c:v>
                      </c:pt>
                      <c:pt idx="212" formatCode="0">
                        <c:v>2614</c:v>
                      </c:pt>
                      <c:pt idx="213" formatCode="0">
                        <c:v>3760</c:v>
                      </c:pt>
                      <c:pt idx="214" formatCode="0">
                        <c:v>3453</c:v>
                      </c:pt>
                      <c:pt idx="215" formatCode="0">
                        <c:v>3453</c:v>
                      </c:pt>
                      <c:pt idx="216" formatCode="0">
                        <c:v>3820</c:v>
                      </c:pt>
                      <c:pt idx="217" formatCode="0">
                        <c:v>3490</c:v>
                      </c:pt>
                      <c:pt idx="218" formatCode="0">
                        <c:v>3614</c:v>
                      </c:pt>
                      <c:pt idx="219" formatCode="0">
                        <c:v>3666</c:v>
                      </c:pt>
                      <c:pt idx="220" formatCode="0">
                        <c:v>3824</c:v>
                      </c:pt>
                      <c:pt idx="221" formatCode="0">
                        <c:v>3824</c:v>
                      </c:pt>
                      <c:pt idx="222" formatCode="0">
                        <c:v>3824</c:v>
                      </c:pt>
                      <c:pt idx="223" formatCode="0">
                        <c:v>3824</c:v>
                      </c:pt>
                      <c:pt idx="224" formatCode="0">
                        <c:v>3824</c:v>
                      </c:pt>
                      <c:pt idx="225" formatCode="0">
                        <c:v>3810</c:v>
                      </c:pt>
                      <c:pt idx="226" formatCode="0">
                        <c:v>3780</c:v>
                      </c:pt>
                      <c:pt idx="227" formatCode="0">
                        <c:v>3680</c:v>
                      </c:pt>
                      <c:pt idx="228" formatCode="0">
                        <c:v>3620</c:v>
                      </c:pt>
                      <c:pt idx="229" formatCode="0">
                        <c:v>3635</c:v>
                      </c:pt>
                      <c:pt idx="230" formatCode="0">
                        <c:v>3625</c:v>
                      </c:pt>
                      <c:pt idx="231" formatCode="0">
                        <c:v>3153</c:v>
                      </c:pt>
                      <c:pt idx="232" formatCode="0">
                        <c:v>3876.6</c:v>
                      </c:pt>
                      <c:pt idx="233" formatCode="0">
                        <c:v>3876.6</c:v>
                      </c:pt>
                      <c:pt idx="234" formatCode="0">
                        <c:v>4109</c:v>
                      </c:pt>
                      <c:pt idx="235" formatCode="0">
                        <c:v>4109</c:v>
                      </c:pt>
                      <c:pt idx="236" formatCode="0">
                        <c:v>3876.6</c:v>
                      </c:pt>
                      <c:pt idx="237" formatCode="0">
                        <c:v>3876.6</c:v>
                      </c:pt>
                      <c:pt idx="238" formatCode="0">
                        <c:v>2683.32</c:v>
                      </c:pt>
                      <c:pt idx="239" formatCode="0">
                        <c:v>3160.152</c:v>
                      </c:pt>
                      <c:pt idx="240" formatCode="0">
                        <c:v>3160.152</c:v>
                      </c:pt>
                      <c:pt idx="241" formatCode="0">
                        <c:v>3160.152</c:v>
                      </c:pt>
                      <c:pt idx="242" formatCode="0">
                        <c:v>3160.152</c:v>
                      </c:pt>
                      <c:pt idx="243" formatCode="0">
                        <c:v>3205</c:v>
                      </c:pt>
                      <c:pt idx="244" formatCode="0">
                        <c:v>3205</c:v>
                      </c:pt>
                      <c:pt idx="245" formatCode="0">
                        <c:v>3205</c:v>
                      </c:pt>
                      <c:pt idx="246" formatCode="0">
                        <c:v>3205</c:v>
                      </c:pt>
                      <c:pt idx="247" formatCode="0">
                        <c:v>3205</c:v>
                      </c:pt>
                      <c:pt idx="248" formatCode="0">
                        <c:v>3205</c:v>
                      </c:pt>
                      <c:pt idx="249" formatCode="0">
                        <c:v>3205</c:v>
                      </c:pt>
                      <c:pt idx="250" formatCode="0">
                        <c:v>3205</c:v>
                      </c:pt>
                      <c:pt idx="251" formatCode="0">
                        <c:v>3205</c:v>
                      </c:pt>
                      <c:pt idx="252" formatCode="0">
                        <c:v>3205</c:v>
                      </c:pt>
                    </c:numCache>
                  </c:numRef>
                </c:yVal>
                <c:smooth val="1"/>
                <c:extLst>
                  <c:ext xmlns:c16="http://schemas.microsoft.com/office/drawing/2014/chart" uri="{C3380CC4-5D6E-409C-BE32-E72D297353CC}">
                    <c16:uniqueId val="{00000002-B1BA-4027-B324-9E28FECAA0B8}"/>
                  </c:ext>
                </c:extLst>
              </c15:ser>
            </c15:filteredScatterSeries>
            <c15:filteredScatterSeries>
              <c15:ser>
                <c:idx val="1"/>
                <c:order val="1"/>
                <c:tx>
                  <c:strRef>
                    <c:extLst xmlns:c15="http://schemas.microsoft.com/office/drawing/2012/chart">
                      <c:ext xmlns:c15="http://schemas.microsoft.com/office/drawing/2012/chart" uri="{02D57815-91ED-43cb-92C2-25804820EDAC}">
                        <c15:formulaRef>
                          <c15:sqref>'Combined rate'!$C$6</c15:sqref>
                        </c15:formulaRef>
                      </c:ext>
                    </c:extLst>
                    <c:strCache>
                      <c:ptCount val="1"/>
                      <c:pt idx="0">
                        <c:v>EERSTE RIVER  </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6:$IY$6</c15:sqref>
                        </c15:formulaRef>
                      </c:ext>
                    </c:extLst>
                    <c:numCache>
                      <c:formatCode>0</c:formatCode>
                      <c:ptCount val="253"/>
                      <c:pt idx="0">
                        <c:v>419.01600000000002</c:v>
                      </c:pt>
                      <c:pt idx="1">
                        <c:v>548.66399999999999</c:v>
                      </c:pt>
                      <c:pt idx="2">
                        <c:v>548.66399999999999</c:v>
                      </c:pt>
                      <c:pt idx="3">
                        <c:v>548.66399999999999</c:v>
                      </c:pt>
                      <c:pt idx="4">
                        <c:v>528.87599999999998</c:v>
                      </c:pt>
                      <c:pt idx="5">
                        <c:v>518.98199999999997</c:v>
                      </c:pt>
                      <c:pt idx="6">
                        <c:v>514.03499999999997</c:v>
                      </c:pt>
                      <c:pt idx="7">
                        <c:v>509.08800000000002</c:v>
                      </c:pt>
                      <c:pt idx="8">
                        <c:v>635.18399999999997</c:v>
                      </c:pt>
                      <c:pt idx="9">
                        <c:v>675.50400000000002</c:v>
                      </c:pt>
                      <c:pt idx="10">
                        <c:v>675.50400000000002</c:v>
                      </c:pt>
                      <c:pt idx="11">
                        <c:v>675.50400000000002</c:v>
                      </c:pt>
                      <c:pt idx="12">
                        <c:v>675.50400000000002</c:v>
                      </c:pt>
                      <c:pt idx="13">
                        <c:v>727.572</c:v>
                      </c:pt>
                      <c:pt idx="14">
                        <c:v>779.64</c:v>
                      </c:pt>
                      <c:pt idx="15">
                        <c:v>779.64</c:v>
                      </c:pt>
                      <c:pt idx="16">
                        <c:v>779.64</c:v>
                      </c:pt>
                      <c:pt idx="17">
                        <c:v>815.20799999999997</c:v>
                      </c:pt>
                      <c:pt idx="18">
                        <c:v>815.20799999999997</c:v>
                      </c:pt>
                      <c:pt idx="19">
                        <c:v>815.20799999999997</c:v>
                      </c:pt>
                      <c:pt idx="20">
                        <c:v>815.20799999999997</c:v>
                      </c:pt>
                      <c:pt idx="21">
                        <c:v>815.20799999999997</c:v>
                      </c:pt>
                      <c:pt idx="22">
                        <c:v>781.58400000000006</c:v>
                      </c:pt>
                      <c:pt idx="23">
                        <c:v>747.96</c:v>
                      </c:pt>
                      <c:pt idx="24">
                        <c:v>747.96</c:v>
                      </c:pt>
                      <c:pt idx="25">
                        <c:v>747.98400000000004</c:v>
                      </c:pt>
                      <c:pt idx="26">
                        <c:v>747.99600000000009</c:v>
                      </c:pt>
                      <c:pt idx="27">
                        <c:v>748.00200000000007</c:v>
                      </c:pt>
                      <c:pt idx="28">
                        <c:v>748.00800000000004</c:v>
                      </c:pt>
                      <c:pt idx="29">
                        <c:v>748.00800000000004</c:v>
                      </c:pt>
                      <c:pt idx="30">
                        <c:v>748.00800000000004</c:v>
                      </c:pt>
                      <c:pt idx="31">
                        <c:v>874.89599999999996</c:v>
                      </c:pt>
                      <c:pt idx="32">
                        <c:v>874.89599999999996</c:v>
                      </c:pt>
                      <c:pt idx="33">
                        <c:v>850.476</c:v>
                      </c:pt>
                      <c:pt idx="34">
                        <c:v>838.26600000000008</c:v>
                      </c:pt>
                      <c:pt idx="35">
                        <c:v>826.05600000000004</c:v>
                      </c:pt>
                      <c:pt idx="36">
                        <c:v>826.05600000000004</c:v>
                      </c:pt>
                      <c:pt idx="37">
                        <c:v>826.05600000000004</c:v>
                      </c:pt>
                      <c:pt idx="38">
                        <c:v>738.64800000000002</c:v>
                      </c:pt>
                      <c:pt idx="39">
                        <c:v>738.64800000000002</c:v>
                      </c:pt>
                      <c:pt idx="40">
                        <c:v>738.64800000000002</c:v>
                      </c:pt>
                      <c:pt idx="41">
                        <c:v>776.76</c:v>
                      </c:pt>
                      <c:pt idx="42">
                        <c:v>776.76</c:v>
                      </c:pt>
                      <c:pt idx="43">
                        <c:v>776.76</c:v>
                      </c:pt>
                      <c:pt idx="44">
                        <c:v>776.76</c:v>
                      </c:pt>
                      <c:pt idx="45">
                        <c:v>776.76</c:v>
                      </c:pt>
                      <c:pt idx="46">
                        <c:v>808.53599999999994</c:v>
                      </c:pt>
                      <c:pt idx="47">
                        <c:v>808.53599999999994</c:v>
                      </c:pt>
                      <c:pt idx="48">
                        <c:v>808.53599999999994</c:v>
                      </c:pt>
                      <c:pt idx="49">
                        <c:v>808.53599999999994</c:v>
                      </c:pt>
                      <c:pt idx="50">
                        <c:v>854.85599999999999</c:v>
                      </c:pt>
                      <c:pt idx="51">
                        <c:v>854.85599999999999</c:v>
                      </c:pt>
                      <c:pt idx="52">
                        <c:v>854.85599999999999</c:v>
                      </c:pt>
                      <c:pt idx="53">
                        <c:v>854.85599999999999</c:v>
                      </c:pt>
                      <c:pt idx="54">
                        <c:v>854.85599999999999</c:v>
                      </c:pt>
                      <c:pt idx="55">
                        <c:v>822.76800000000003</c:v>
                      </c:pt>
                      <c:pt idx="56">
                        <c:v>822.76800000000003</c:v>
                      </c:pt>
                      <c:pt idx="57">
                        <c:v>822.76800000000003</c:v>
                      </c:pt>
                      <c:pt idx="58">
                        <c:v>822.76800000000003</c:v>
                      </c:pt>
                      <c:pt idx="59">
                        <c:v>822.76800000000003</c:v>
                      </c:pt>
                      <c:pt idx="60">
                        <c:v>752.49599999999998</c:v>
                      </c:pt>
                      <c:pt idx="61">
                        <c:v>752.49599999999998</c:v>
                      </c:pt>
                      <c:pt idx="62">
                        <c:v>752.49599999999998</c:v>
                      </c:pt>
                      <c:pt idx="63">
                        <c:v>741.79200000000003</c:v>
                      </c:pt>
                      <c:pt idx="64">
                        <c:v>741.79200000000003</c:v>
                      </c:pt>
                      <c:pt idx="65">
                        <c:v>741.79200000000003</c:v>
                      </c:pt>
                      <c:pt idx="66">
                        <c:v>688.87199999999996</c:v>
                      </c:pt>
                      <c:pt idx="67">
                        <c:v>688.87199999999996</c:v>
                      </c:pt>
                      <c:pt idx="68">
                        <c:v>688.87199999999996</c:v>
                      </c:pt>
                      <c:pt idx="69">
                        <c:v>607.53599999999994</c:v>
                      </c:pt>
                      <c:pt idx="70">
                        <c:v>607.53599999999994</c:v>
                      </c:pt>
                      <c:pt idx="71">
                        <c:v>607.53599999999994</c:v>
                      </c:pt>
                      <c:pt idx="72">
                        <c:v>607.53599999999994</c:v>
                      </c:pt>
                      <c:pt idx="73">
                        <c:v>607.53599999999994</c:v>
                      </c:pt>
                      <c:pt idx="74">
                        <c:v>651.12</c:v>
                      </c:pt>
                      <c:pt idx="75">
                        <c:v>651.12</c:v>
                      </c:pt>
                      <c:pt idx="76">
                        <c:v>651.12</c:v>
                      </c:pt>
                      <c:pt idx="77">
                        <c:v>651.12</c:v>
                      </c:pt>
                      <c:pt idx="78">
                        <c:v>671.23199999999997</c:v>
                      </c:pt>
                      <c:pt idx="79">
                        <c:v>683.25599999999997</c:v>
                      </c:pt>
                      <c:pt idx="80">
                        <c:v>683.25599999999997</c:v>
                      </c:pt>
                      <c:pt idx="81">
                        <c:v>683.25599999999997</c:v>
                      </c:pt>
                      <c:pt idx="82">
                        <c:v>683.25599999999997</c:v>
                      </c:pt>
                      <c:pt idx="83">
                        <c:v>600.69600000000003</c:v>
                      </c:pt>
                      <c:pt idx="84">
                        <c:v>600.69600000000003</c:v>
                      </c:pt>
                      <c:pt idx="85">
                        <c:v>600.69600000000003</c:v>
                      </c:pt>
                      <c:pt idx="86">
                        <c:v>600.69600000000003</c:v>
                      </c:pt>
                      <c:pt idx="87">
                        <c:v>597.072</c:v>
                      </c:pt>
                      <c:pt idx="88">
                        <c:v>597.072</c:v>
                      </c:pt>
                      <c:pt idx="89">
                        <c:v>598.79999999999995</c:v>
                      </c:pt>
                      <c:pt idx="90">
                        <c:v>598.79999999999995</c:v>
                      </c:pt>
                      <c:pt idx="91">
                        <c:v>598.79999999999995</c:v>
                      </c:pt>
                      <c:pt idx="92">
                        <c:v>598.79999999999995</c:v>
                      </c:pt>
                      <c:pt idx="93">
                        <c:v>573.43200000000002</c:v>
                      </c:pt>
                      <c:pt idx="94">
                        <c:v>573.43200000000002</c:v>
                      </c:pt>
                      <c:pt idx="95">
                        <c:v>508.15199999999999</c:v>
                      </c:pt>
                      <c:pt idx="96">
                        <c:v>508.15199999999999</c:v>
                      </c:pt>
                      <c:pt idx="97">
                        <c:v>508.15199999999999</c:v>
                      </c:pt>
                      <c:pt idx="98">
                        <c:v>508.15199999999999</c:v>
                      </c:pt>
                      <c:pt idx="99">
                        <c:v>640.82399999999996</c:v>
                      </c:pt>
                      <c:pt idx="100">
                        <c:v>640.82399999999996</c:v>
                      </c:pt>
                      <c:pt idx="101">
                        <c:v>687.79200000000003</c:v>
                      </c:pt>
                      <c:pt idx="102">
                        <c:v>687.79200000000003</c:v>
                      </c:pt>
                      <c:pt idx="103">
                        <c:v>687.79200000000003</c:v>
                      </c:pt>
                      <c:pt idx="104">
                        <c:v>687.79200000000003</c:v>
                      </c:pt>
                      <c:pt idx="105">
                        <c:v>687.79200000000003</c:v>
                      </c:pt>
                      <c:pt idx="106">
                        <c:v>544.58399999999995</c:v>
                      </c:pt>
                      <c:pt idx="107">
                        <c:v>544.58399999999995</c:v>
                      </c:pt>
                      <c:pt idx="108">
                        <c:v>544.58399999999995</c:v>
                      </c:pt>
                      <c:pt idx="109">
                        <c:v>534.048</c:v>
                      </c:pt>
                      <c:pt idx="110">
                        <c:v>534.048</c:v>
                      </c:pt>
                      <c:pt idx="111">
                        <c:v>534.048</c:v>
                      </c:pt>
                      <c:pt idx="112">
                        <c:v>550.17600000000004</c:v>
                      </c:pt>
                      <c:pt idx="113">
                        <c:v>550.17600000000004</c:v>
                      </c:pt>
                      <c:pt idx="114">
                        <c:v>550.17600000000004</c:v>
                      </c:pt>
                      <c:pt idx="115">
                        <c:v>550.17600000000004</c:v>
                      </c:pt>
                      <c:pt idx="116">
                        <c:v>550.17600000000004</c:v>
                      </c:pt>
                      <c:pt idx="117">
                        <c:v>550.17600000000004</c:v>
                      </c:pt>
                      <c:pt idx="118">
                        <c:v>564.38400000000001</c:v>
                      </c:pt>
                      <c:pt idx="119">
                        <c:v>530.78399999999999</c:v>
                      </c:pt>
                      <c:pt idx="120">
                        <c:v>530.78399999999999</c:v>
                      </c:pt>
                      <c:pt idx="121">
                        <c:v>530.78399999999999</c:v>
                      </c:pt>
                      <c:pt idx="122">
                        <c:v>530.78399999999999</c:v>
                      </c:pt>
                      <c:pt idx="123">
                        <c:v>435.072</c:v>
                      </c:pt>
                      <c:pt idx="124">
                        <c:v>439.96800000000002</c:v>
                      </c:pt>
                      <c:pt idx="125">
                        <c:v>439.96800000000002</c:v>
                      </c:pt>
                      <c:pt idx="126">
                        <c:v>439.96800000000002</c:v>
                      </c:pt>
                      <c:pt idx="127">
                        <c:v>439.96800000000002</c:v>
                      </c:pt>
                      <c:pt idx="128">
                        <c:v>510.048</c:v>
                      </c:pt>
                      <c:pt idx="129">
                        <c:v>510.048</c:v>
                      </c:pt>
                      <c:pt idx="130">
                        <c:v>510.048</c:v>
                      </c:pt>
                      <c:pt idx="131">
                        <c:v>481.63200000000001</c:v>
                      </c:pt>
                      <c:pt idx="132">
                        <c:v>481.63200000000001</c:v>
                      </c:pt>
                      <c:pt idx="133">
                        <c:v>481.63200000000001</c:v>
                      </c:pt>
                      <c:pt idx="134">
                        <c:v>481.63200000000001</c:v>
                      </c:pt>
                      <c:pt idx="135">
                        <c:v>519.64800000000002</c:v>
                      </c:pt>
                      <c:pt idx="136">
                        <c:v>519.64800000000002</c:v>
                      </c:pt>
                      <c:pt idx="137">
                        <c:v>519.64800000000002</c:v>
                      </c:pt>
                      <c:pt idx="138">
                        <c:v>608.83199999999999</c:v>
                      </c:pt>
                      <c:pt idx="139">
                        <c:v>567.52800000000002</c:v>
                      </c:pt>
                      <c:pt idx="140">
                        <c:v>567.52800000000002</c:v>
                      </c:pt>
                      <c:pt idx="141">
                        <c:v>567.52800000000002</c:v>
                      </c:pt>
                      <c:pt idx="142">
                        <c:v>567.52800000000002</c:v>
                      </c:pt>
                      <c:pt idx="143">
                        <c:v>586.32000000000005</c:v>
                      </c:pt>
                      <c:pt idx="144">
                        <c:v>574.89599999999996</c:v>
                      </c:pt>
                      <c:pt idx="145">
                        <c:v>574.89599999999996</c:v>
                      </c:pt>
                      <c:pt idx="146">
                        <c:v>574.89599999999996</c:v>
                      </c:pt>
                      <c:pt idx="147">
                        <c:v>574.89599999999996</c:v>
                      </c:pt>
                      <c:pt idx="148">
                        <c:v>574.89599999999996</c:v>
                      </c:pt>
                      <c:pt idx="149">
                        <c:v>581.11199999999997</c:v>
                      </c:pt>
                      <c:pt idx="150">
                        <c:v>581.11199999999997</c:v>
                      </c:pt>
                      <c:pt idx="151">
                        <c:v>581.11199999999997</c:v>
                      </c:pt>
                      <c:pt idx="152">
                        <c:v>581.11199999999997</c:v>
                      </c:pt>
                      <c:pt idx="153">
                        <c:v>642.6</c:v>
                      </c:pt>
                      <c:pt idx="154">
                        <c:v>642.6</c:v>
                      </c:pt>
                      <c:pt idx="155">
                        <c:v>642.6</c:v>
                      </c:pt>
                      <c:pt idx="156">
                        <c:v>642.6</c:v>
                      </c:pt>
                      <c:pt idx="157">
                        <c:v>599.76</c:v>
                      </c:pt>
                      <c:pt idx="158">
                        <c:v>599.76</c:v>
                      </c:pt>
                      <c:pt idx="159">
                        <c:v>599.76</c:v>
                      </c:pt>
                      <c:pt idx="160">
                        <c:v>599.76</c:v>
                      </c:pt>
                      <c:pt idx="161">
                        <c:v>599.76</c:v>
                      </c:pt>
                      <c:pt idx="162">
                        <c:v>591.36</c:v>
                      </c:pt>
                      <c:pt idx="163">
                        <c:v>591.36</c:v>
                      </c:pt>
                      <c:pt idx="164">
                        <c:v>591.36</c:v>
                      </c:pt>
                      <c:pt idx="165">
                        <c:v>539.54399999999998</c:v>
                      </c:pt>
                      <c:pt idx="166">
                        <c:v>539.54399999999998</c:v>
                      </c:pt>
                      <c:pt idx="167">
                        <c:v>539.54399999999998</c:v>
                      </c:pt>
                      <c:pt idx="168">
                        <c:v>550.99199999999996</c:v>
                      </c:pt>
                      <c:pt idx="169">
                        <c:v>596.976</c:v>
                      </c:pt>
                      <c:pt idx="170">
                        <c:v>596.976</c:v>
                      </c:pt>
                      <c:pt idx="171">
                        <c:v>597.45600000000002</c:v>
                      </c:pt>
                      <c:pt idx="172">
                        <c:v>597.45600000000002</c:v>
                      </c:pt>
                      <c:pt idx="173">
                        <c:v>597.45600000000002</c:v>
                      </c:pt>
                      <c:pt idx="174">
                        <c:v>573.19200000000001</c:v>
                      </c:pt>
                      <c:pt idx="175">
                        <c:v>573.19200000000001</c:v>
                      </c:pt>
                      <c:pt idx="176">
                        <c:v>586.60799999999995</c:v>
                      </c:pt>
                      <c:pt idx="177">
                        <c:v>589.27200000000005</c:v>
                      </c:pt>
                      <c:pt idx="178">
                        <c:v>589.27200000000005</c:v>
                      </c:pt>
                      <c:pt idx="179">
                        <c:v>589.27200000000005</c:v>
                      </c:pt>
                      <c:pt idx="180">
                        <c:v>589.27200000000005</c:v>
                      </c:pt>
                      <c:pt idx="181">
                        <c:v>590.30399999999997</c:v>
                      </c:pt>
                      <c:pt idx="182">
                        <c:v>590.30399999999997</c:v>
                      </c:pt>
                      <c:pt idx="183">
                        <c:v>587.976</c:v>
                      </c:pt>
                      <c:pt idx="184">
                        <c:v>587.976</c:v>
                      </c:pt>
                      <c:pt idx="185">
                        <c:v>582.6</c:v>
                      </c:pt>
                      <c:pt idx="186">
                        <c:v>582.6</c:v>
                      </c:pt>
                      <c:pt idx="187">
                        <c:v>585.45600000000002</c:v>
                      </c:pt>
                      <c:pt idx="188">
                        <c:v>585.45600000000002</c:v>
                      </c:pt>
                      <c:pt idx="189">
                        <c:v>585.48</c:v>
                      </c:pt>
                      <c:pt idx="190">
                        <c:v>585.48</c:v>
                      </c:pt>
                      <c:pt idx="191">
                        <c:v>587.35199999999998</c:v>
                      </c:pt>
                      <c:pt idx="192">
                        <c:v>587.35199999999998</c:v>
                      </c:pt>
                      <c:pt idx="193">
                        <c:v>589.87199999999996</c:v>
                      </c:pt>
                      <c:pt idx="194">
                        <c:v>589.27200000000005</c:v>
                      </c:pt>
                      <c:pt idx="195">
                        <c:v>600.38400000000001</c:v>
                      </c:pt>
                      <c:pt idx="196">
                        <c:v>600.38400000000001</c:v>
                      </c:pt>
                      <c:pt idx="197">
                        <c:v>600.38400000000001</c:v>
                      </c:pt>
                      <c:pt idx="198">
                        <c:v>712.75199999999995</c:v>
                      </c:pt>
                      <c:pt idx="199">
                        <c:v>712.75199999999995</c:v>
                      </c:pt>
                      <c:pt idx="200">
                        <c:v>712.75199999999995</c:v>
                      </c:pt>
                      <c:pt idx="201">
                        <c:v>685.70399999999995</c:v>
                      </c:pt>
                      <c:pt idx="202">
                        <c:v>850.72799999999995</c:v>
                      </c:pt>
                      <c:pt idx="203">
                        <c:v>850.72799999999995</c:v>
                      </c:pt>
                      <c:pt idx="204">
                        <c:v>850.72799999999995</c:v>
                      </c:pt>
                      <c:pt idx="205">
                        <c:v>850.72799999999995</c:v>
                      </c:pt>
                      <c:pt idx="206">
                        <c:v>1063.5119999999999</c:v>
                      </c:pt>
                      <c:pt idx="207">
                        <c:v>1242.096</c:v>
                      </c:pt>
                      <c:pt idx="208">
                        <c:v>1242.096</c:v>
                      </c:pt>
                      <c:pt idx="209">
                        <c:v>1255.0319999999999</c:v>
                      </c:pt>
                      <c:pt idx="210">
                        <c:v>1242.096</c:v>
                      </c:pt>
                      <c:pt idx="211">
                        <c:v>1334.088</c:v>
                      </c:pt>
                      <c:pt idx="212">
                        <c:v>1334.1</c:v>
                      </c:pt>
                      <c:pt idx="213">
                        <c:v>1316.9760000000001</c:v>
                      </c:pt>
                      <c:pt idx="214">
                        <c:v>1316.9760000000001</c:v>
                      </c:pt>
                      <c:pt idx="215">
                        <c:v>1440.24</c:v>
                      </c:pt>
                      <c:pt idx="216">
                        <c:v>1440.24</c:v>
                      </c:pt>
                      <c:pt idx="217">
                        <c:v>1440.24</c:v>
                      </c:pt>
                      <c:pt idx="218">
                        <c:v>1440.24</c:v>
                      </c:pt>
                      <c:pt idx="219">
                        <c:v>1242</c:v>
                      </c:pt>
                      <c:pt idx="220">
                        <c:v>1361.4480000000001</c:v>
                      </c:pt>
                      <c:pt idx="221">
                        <c:v>1361.4480000000001</c:v>
                      </c:pt>
                      <c:pt idx="222">
                        <c:v>1614.0719999999999</c:v>
                      </c:pt>
                      <c:pt idx="223">
                        <c:v>1614.0719999999999</c:v>
                      </c:pt>
                      <c:pt idx="224">
                        <c:v>1529.76</c:v>
                      </c:pt>
                      <c:pt idx="225">
                        <c:v>1529.76</c:v>
                      </c:pt>
                      <c:pt idx="226">
                        <c:v>1529.76</c:v>
                      </c:pt>
                      <c:pt idx="227">
                        <c:v>1078.5119999999999</c:v>
                      </c:pt>
                      <c:pt idx="228">
                        <c:v>1120</c:v>
                      </c:pt>
                      <c:pt idx="229">
                        <c:v>1321.752</c:v>
                      </c:pt>
                      <c:pt idx="230">
                        <c:v>1321.752</c:v>
                      </c:pt>
                      <c:pt idx="231">
                        <c:v>1321.752</c:v>
                      </c:pt>
                      <c:pt idx="232">
                        <c:v>1657.3440000000001</c:v>
                      </c:pt>
                      <c:pt idx="233">
                        <c:v>1657.3440000000001</c:v>
                      </c:pt>
                      <c:pt idx="234">
                        <c:v>1657.3440000000001</c:v>
                      </c:pt>
                      <c:pt idx="235">
                        <c:v>1657.3440000000001</c:v>
                      </c:pt>
                      <c:pt idx="236">
                        <c:v>1463.088</c:v>
                      </c:pt>
                      <c:pt idx="237">
                        <c:v>1463.088</c:v>
                      </c:pt>
                      <c:pt idx="238">
                        <c:v>1463.088</c:v>
                      </c:pt>
                      <c:pt idx="239">
                        <c:v>1103.04</c:v>
                      </c:pt>
                      <c:pt idx="240">
                        <c:v>1037.4960000000001</c:v>
                      </c:pt>
                      <c:pt idx="241">
                        <c:v>1037.4960000000001</c:v>
                      </c:pt>
                      <c:pt idx="242">
                        <c:v>1037.4960000000001</c:v>
                      </c:pt>
                      <c:pt idx="243">
                        <c:v>1037.4960000000001</c:v>
                      </c:pt>
                      <c:pt idx="244">
                        <c:v>1037.4960000000001</c:v>
                      </c:pt>
                      <c:pt idx="245">
                        <c:v>874.72799999999995</c:v>
                      </c:pt>
                      <c:pt idx="246">
                        <c:v>874.72799999999995</c:v>
                      </c:pt>
                      <c:pt idx="247">
                        <c:v>904.00800000000004</c:v>
                      </c:pt>
                      <c:pt idx="248">
                        <c:v>904.00800000000004</c:v>
                      </c:pt>
                      <c:pt idx="249">
                        <c:v>726.096</c:v>
                      </c:pt>
                      <c:pt idx="250">
                        <c:v>726.096</c:v>
                      </c:pt>
                      <c:pt idx="251">
                        <c:v>468.93599999999998</c:v>
                      </c:pt>
                      <c:pt idx="252">
                        <c:v>468.93599999999998</c:v>
                      </c:pt>
                    </c:numCache>
                  </c:numRef>
                </c:yVal>
                <c:smooth val="1"/>
                <c:extLst xmlns:c15="http://schemas.microsoft.com/office/drawing/2012/chart">
                  <c:ext xmlns:c16="http://schemas.microsoft.com/office/drawing/2014/chart" uri="{C3380CC4-5D6E-409C-BE32-E72D297353CC}">
                    <c16:uniqueId val="{00000003-B1BA-4027-B324-9E28FECAA0B8}"/>
                  </c:ext>
                </c:extLst>
              </c15:ser>
            </c15:filteredScatterSeries>
            <c15:filteredScatterSeries>
              <c15:ser>
                <c:idx val="2"/>
                <c:order val="2"/>
                <c:tx>
                  <c:strRef>
                    <c:extLst xmlns:c15="http://schemas.microsoft.com/office/drawing/2012/chart">
                      <c:ext xmlns:c15="http://schemas.microsoft.com/office/drawing/2012/chart" uri="{02D57815-91ED-43cb-92C2-25804820EDAC}">
                        <c15:formulaRef>
                          <c15:sqref>'Combined rate'!$C$7</c15:sqref>
                        </c15:formulaRef>
                      </c:ext>
                    </c:extLst>
                    <c:strCache>
                      <c:ptCount val="1"/>
                      <c:pt idx="0">
                        <c:v>GEORGE </c:v>
                      </c:pt>
                    </c:strCache>
                  </c:strRef>
                </c:tx>
                <c:spPr>
                  <a:ln w="19050" cap="rnd">
                    <a:solidFill>
                      <a:schemeClr val="accent3"/>
                    </a:solidFill>
                    <a:round/>
                  </a:ln>
                  <a:effectLst/>
                </c:spPr>
                <c:marker>
                  <c:symbol val="circle"/>
                  <c:size val="5"/>
                  <c:spPr>
                    <a:solidFill>
                      <a:schemeClr val="accent3"/>
                    </a:solidFill>
                    <a:ln w="9525">
                      <a:solidFill>
                        <a:schemeClr val="accent3"/>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7:$IY$7</c15:sqref>
                        </c15:formulaRef>
                      </c:ext>
                    </c:extLst>
                    <c:numCache>
                      <c:formatCode>0</c:formatCode>
                      <c:ptCount val="253"/>
                      <c:pt idx="0">
                        <c:v>364.32</c:v>
                      </c:pt>
                      <c:pt idx="1">
                        <c:v>364.32</c:v>
                      </c:pt>
                      <c:pt idx="2">
                        <c:v>364.32</c:v>
                      </c:pt>
                      <c:pt idx="3">
                        <c:v>379.27199999999999</c:v>
                      </c:pt>
                      <c:pt idx="4">
                        <c:v>379.27199999999999</c:v>
                      </c:pt>
                      <c:pt idx="5">
                        <c:v>379.27199999999999</c:v>
                      </c:pt>
                      <c:pt idx="6">
                        <c:v>379.27199999999999</c:v>
                      </c:pt>
                      <c:pt idx="7">
                        <c:v>379.27199999999999</c:v>
                      </c:pt>
                      <c:pt idx="8">
                        <c:v>373.75200000000001</c:v>
                      </c:pt>
                      <c:pt idx="9">
                        <c:v>409.96800000000002</c:v>
                      </c:pt>
                      <c:pt idx="10">
                        <c:v>409.96800000000002</c:v>
                      </c:pt>
                      <c:pt idx="11">
                        <c:v>409.96800000000002</c:v>
                      </c:pt>
                      <c:pt idx="12">
                        <c:v>409.96800000000002</c:v>
                      </c:pt>
                      <c:pt idx="13">
                        <c:v>409.96800000000002</c:v>
                      </c:pt>
                      <c:pt idx="14">
                        <c:v>409.96800000000002</c:v>
                      </c:pt>
                      <c:pt idx="15">
                        <c:v>409.96800000000002</c:v>
                      </c:pt>
                      <c:pt idx="16">
                        <c:v>418.392</c:v>
                      </c:pt>
                      <c:pt idx="17">
                        <c:v>418.392</c:v>
                      </c:pt>
                      <c:pt idx="18">
                        <c:v>418.392</c:v>
                      </c:pt>
                      <c:pt idx="19">
                        <c:v>418.392</c:v>
                      </c:pt>
                      <c:pt idx="20">
                        <c:v>418.392</c:v>
                      </c:pt>
                      <c:pt idx="21">
                        <c:v>418.392</c:v>
                      </c:pt>
                      <c:pt idx="22">
                        <c:v>467.53200000000004</c:v>
                      </c:pt>
                      <c:pt idx="23">
                        <c:v>516.67200000000003</c:v>
                      </c:pt>
                      <c:pt idx="24">
                        <c:v>516.67200000000003</c:v>
                      </c:pt>
                      <c:pt idx="25">
                        <c:v>516.67200000000003</c:v>
                      </c:pt>
                      <c:pt idx="26">
                        <c:v>516.67200000000003</c:v>
                      </c:pt>
                      <c:pt idx="27">
                        <c:v>516.67200000000003</c:v>
                      </c:pt>
                      <c:pt idx="28">
                        <c:v>516.67200000000003</c:v>
                      </c:pt>
                      <c:pt idx="29">
                        <c:v>516.67200000000003</c:v>
                      </c:pt>
                      <c:pt idx="30">
                        <c:v>487.56</c:v>
                      </c:pt>
                      <c:pt idx="31">
                        <c:v>487.56</c:v>
                      </c:pt>
                      <c:pt idx="32">
                        <c:v>487.56</c:v>
                      </c:pt>
                      <c:pt idx="33">
                        <c:v>487.56</c:v>
                      </c:pt>
                      <c:pt idx="34">
                        <c:v>487.56</c:v>
                      </c:pt>
                      <c:pt idx="35">
                        <c:v>487.56</c:v>
                      </c:pt>
                      <c:pt idx="36">
                        <c:v>635.85599999999999</c:v>
                      </c:pt>
                      <c:pt idx="37">
                        <c:v>635.85599999999999</c:v>
                      </c:pt>
                      <c:pt idx="38">
                        <c:v>635.85599999999999</c:v>
                      </c:pt>
                      <c:pt idx="39">
                        <c:v>635.85599999999999</c:v>
                      </c:pt>
                      <c:pt idx="40">
                        <c:v>635.85599999999999</c:v>
                      </c:pt>
                      <c:pt idx="41">
                        <c:v>635.85599999999999</c:v>
                      </c:pt>
                      <c:pt idx="42">
                        <c:v>638.11199999999997</c:v>
                      </c:pt>
                      <c:pt idx="43">
                        <c:v>638.11199999999997</c:v>
                      </c:pt>
                      <c:pt idx="44">
                        <c:v>728.64</c:v>
                      </c:pt>
                      <c:pt idx="45">
                        <c:v>728.64</c:v>
                      </c:pt>
                      <c:pt idx="46">
                        <c:v>728.64</c:v>
                      </c:pt>
                      <c:pt idx="47">
                        <c:v>728.64</c:v>
                      </c:pt>
                      <c:pt idx="48">
                        <c:v>938.49599999999998</c:v>
                      </c:pt>
                      <c:pt idx="49">
                        <c:v>938.49599999999998</c:v>
                      </c:pt>
                      <c:pt idx="50">
                        <c:v>947.83199999999999</c:v>
                      </c:pt>
                      <c:pt idx="51">
                        <c:v>1269.4079999999999</c:v>
                      </c:pt>
                      <c:pt idx="52">
                        <c:v>1269.4079999999999</c:v>
                      </c:pt>
                      <c:pt idx="53">
                        <c:v>1269.4079999999999</c:v>
                      </c:pt>
                      <c:pt idx="54">
                        <c:v>1269.4079999999999</c:v>
                      </c:pt>
                      <c:pt idx="55">
                        <c:v>1269.4079999999999</c:v>
                      </c:pt>
                      <c:pt idx="56">
                        <c:v>1312.4880000000001</c:v>
                      </c:pt>
                      <c:pt idx="57">
                        <c:v>1142.3520000000001</c:v>
                      </c:pt>
                      <c:pt idx="58">
                        <c:v>1142.3520000000001</c:v>
                      </c:pt>
                      <c:pt idx="59">
                        <c:v>1142.3520000000001</c:v>
                      </c:pt>
                      <c:pt idx="60">
                        <c:v>1142.3520000000001</c:v>
                      </c:pt>
                      <c:pt idx="61">
                        <c:v>1142.3520000000001</c:v>
                      </c:pt>
                      <c:pt idx="62">
                        <c:v>1296.576</c:v>
                      </c:pt>
                      <c:pt idx="63">
                        <c:v>1296.576</c:v>
                      </c:pt>
                      <c:pt idx="64">
                        <c:v>1296.576</c:v>
                      </c:pt>
                      <c:pt idx="65">
                        <c:v>1431.48</c:v>
                      </c:pt>
                      <c:pt idx="66">
                        <c:v>1431.48</c:v>
                      </c:pt>
                      <c:pt idx="67">
                        <c:v>1431.48</c:v>
                      </c:pt>
                      <c:pt idx="68">
                        <c:v>1431.48</c:v>
                      </c:pt>
                      <c:pt idx="69">
                        <c:v>1431.48</c:v>
                      </c:pt>
                      <c:pt idx="70">
                        <c:v>1682.232</c:v>
                      </c:pt>
                      <c:pt idx="71">
                        <c:v>1682.232</c:v>
                      </c:pt>
                      <c:pt idx="72">
                        <c:v>1682.232</c:v>
                      </c:pt>
                      <c:pt idx="73">
                        <c:v>1750.0319999999999</c:v>
                      </c:pt>
                      <c:pt idx="74">
                        <c:v>1750.0319999999999</c:v>
                      </c:pt>
                      <c:pt idx="75">
                        <c:v>1750.0319999999999</c:v>
                      </c:pt>
                      <c:pt idx="76">
                        <c:v>1750.0319999999999</c:v>
                      </c:pt>
                      <c:pt idx="77">
                        <c:v>1706.8320000000001</c:v>
                      </c:pt>
                      <c:pt idx="78">
                        <c:v>1706.8320000000001</c:v>
                      </c:pt>
                      <c:pt idx="79">
                        <c:v>1605.7919999999999</c:v>
                      </c:pt>
                      <c:pt idx="80">
                        <c:v>1605.7919999999999</c:v>
                      </c:pt>
                      <c:pt idx="81">
                        <c:v>1605.7919999999999</c:v>
                      </c:pt>
                      <c:pt idx="82">
                        <c:v>1605.7919999999999</c:v>
                      </c:pt>
                      <c:pt idx="83">
                        <c:v>1420.2719999999999</c:v>
                      </c:pt>
                      <c:pt idx="84">
                        <c:v>1420.2719999999999</c:v>
                      </c:pt>
                      <c:pt idx="85">
                        <c:v>1420.2719999999999</c:v>
                      </c:pt>
                      <c:pt idx="86">
                        <c:v>1402.3440000000001</c:v>
                      </c:pt>
                      <c:pt idx="87">
                        <c:v>1402.3440000000001</c:v>
                      </c:pt>
                      <c:pt idx="88">
                        <c:v>1402.3440000000001</c:v>
                      </c:pt>
                      <c:pt idx="89">
                        <c:v>1402.3440000000001</c:v>
                      </c:pt>
                      <c:pt idx="90">
                        <c:v>1402.3440000000001</c:v>
                      </c:pt>
                      <c:pt idx="91">
                        <c:v>1405.9680000000001</c:v>
                      </c:pt>
                      <c:pt idx="92">
                        <c:v>1420.296</c:v>
                      </c:pt>
                      <c:pt idx="93">
                        <c:v>1420.296</c:v>
                      </c:pt>
                      <c:pt idx="94">
                        <c:v>1420.296</c:v>
                      </c:pt>
                      <c:pt idx="95">
                        <c:v>1420.296</c:v>
                      </c:pt>
                      <c:pt idx="96">
                        <c:v>1420.296</c:v>
                      </c:pt>
                      <c:pt idx="97">
                        <c:v>1420.296</c:v>
                      </c:pt>
                      <c:pt idx="98">
                        <c:v>1275.2639999999999</c:v>
                      </c:pt>
                      <c:pt idx="99">
                        <c:v>1275.2639999999999</c:v>
                      </c:pt>
                      <c:pt idx="100">
                        <c:v>1275.2639999999999</c:v>
                      </c:pt>
                      <c:pt idx="101">
                        <c:v>1085.6400000000001</c:v>
                      </c:pt>
                      <c:pt idx="102">
                        <c:v>1085.6400000000001</c:v>
                      </c:pt>
                      <c:pt idx="103">
                        <c:v>1085.6400000000001</c:v>
                      </c:pt>
                      <c:pt idx="104">
                        <c:v>957.57600000000002</c:v>
                      </c:pt>
                      <c:pt idx="105">
                        <c:v>957.57600000000002</c:v>
                      </c:pt>
                      <c:pt idx="106">
                        <c:v>957.57600000000002</c:v>
                      </c:pt>
                      <c:pt idx="107">
                        <c:v>957.57600000000002</c:v>
                      </c:pt>
                      <c:pt idx="108">
                        <c:v>877.96799999999996</c:v>
                      </c:pt>
                      <c:pt idx="109">
                        <c:v>877.96799999999996</c:v>
                      </c:pt>
                      <c:pt idx="110">
                        <c:v>877.96799999999996</c:v>
                      </c:pt>
                      <c:pt idx="111">
                        <c:v>877.96799999999996</c:v>
                      </c:pt>
                      <c:pt idx="112">
                        <c:v>861.74400000000003</c:v>
                      </c:pt>
                      <c:pt idx="113">
                        <c:v>861.74400000000003</c:v>
                      </c:pt>
                      <c:pt idx="114">
                        <c:v>861.74400000000003</c:v>
                      </c:pt>
                      <c:pt idx="115">
                        <c:v>861.74400000000003</c:v>
                      </c:pt>
                      <c:pt idx="116">
                        <c:v>716.42399999999998</c:v>
                      </c:pt>
                      <c:pt idx="117">
                        <c:v>716.42399999999998</c:v>
                      </c:pt>
                      <c:pt idx="118">
                        <c:v>716.42399999999998</c:v>
                      </c:pt>
                      <c:pt idx="119">
                        <c:v>699.14400000000001</c:v>
                      </c:pt>
                      <c:pt idx="120">
                        <c:v>699.14400000000001</c:v>
                      </c:pt>
                      <c:pt idx="121">
                        <c:v>699.14400000000001</c:v>
                      </c:pt>
                      <c:pt idx="122">
                        <c:v>699.14400000000001</c:v>
                      </c:pt>
                      <c:pt idx="123">
                        <c:v>699.14400000000001</c:v>
                      </c:pt>
                      <c:pt idx="124">
                        <c:v>699.14400000000001</c:v>
                      </c:pt>
                      <c:pt idx="125">
                        <c:v>699.14400000000001</c:v>
                      </c:pt>
                      <c:pt idx="126">
                        <c:v>699.14400000000001</c:v>
                      </c:pt>
                      <c:pt idx="127">
                        <c:v>705.93600000000004</c:v>
                      </c:pt>
                      <c:pt idx="128">
                        <c:v>705.93600000000004</c:v>
                      </c:pt>
                      <c:pt idx="129">
                        <c:v>705.93600000000004</c:v>
                      </c:pt>
                      <c:pt idx="130">
                        <c:v>737.76</c:v>
                      </c:pt>
                      <c:pt idx="131">
                        <c:v>737.76</c:v>
                      </c:pt>
                      <c:pt idx="132">
                        <c:v>737.76</c:v>
                      </c:pt>
                      <c:pt idx="133">
                        <c:v>737.76</c:v>
                      </c:pt>
                      <c:pt idx="134">
                        <c:v>737.76</c:v>
                      </c:pt>
                      <c:pt idx="135">
                        <c:v>737.76</c:v>
                      </c:pt>
                      <c:pt idx="136">
                        <c:v>756.19200000000001</c:v>
                      </c:pt>
                      <c:pt idx="137">
                        <c:v>756.19200000000001</c:v>
                      </c:pt>
                      <c:pt idx="138">
                        <c:v>756.19200000000001</c:v>
                      </c:pt>
                      <c:pt idx="139">
                        <c:v>756.19200000000001</c:v>
                      </c:pt>
                      <c:pt idx="140">
                        <c:v>756.19200000000001</c:v>
                      </c:pt>
                      <c:pt idx="141">
                        <c:v>756.19200000000001</c:v>
                      </c:pt>
                      <c:pt idx="142">
                        <c:v>662.52</c:v>
                      </c:pt>
                      <c:pt idx="143">
                        <c:v>662.52</c:v>
                      </c:pt>
                      <c:pt idx="144">
                        <c:v>662.52</c:v>
                      </c:pt>
                      <c:pt idx="145">
                        <c:v>662.52</c:v>
                      </c:pt>
                      <c:pt idx="146">
                        <c:v>662.52</c:v>
                      </c:pt>
                      <c:pt idx="147">
                        <c:v>609.40800000000002</c:v>
                      </c:pt>
                      <c:pt idx="148">
                        <c:v>609.40800000000002</c:v>
                      </c:pt>
                      <c:pt idx="149">
                        <c:v>609.40800000000002</c:v>
                      </c:pt>
                      <c:pt idx="150">
                        <c:v>609.40800000000002</c:v>
                      </c:pt>
                      <c:pt idx="151">
                        <c:v>609.40800000000002</c:v>
                      </c:pt>
                      <c:pt idx="152">
                        <c:v>572.01599999999996</c:v>
                      </c:pt>
                      <c:pt idx="153">
                        <c:v>572.01599999999996</c:v>
                      </c:pt>
                      <c:pt idx="154">
                        <c:v>572.01599999999996</c:v>
                      </c:pt>
                      <c:pt idx="155">
                        <c:v>572.01599999999996</c:v>
                      </c:pt>
                      <c:pt idx="156">
                        <c:v>490.392</c:v>
                      </c:pt>
                      <c:pt idx="157">
                        <c:v>490.392</c:v>
                      </c:pt>
                      <c:pt idx="158">
                        <c:v>490.392</c:v>
                      </c:pt>
                      <c:pt idx="159">
                        <c:v>490.392</c:v>
                      </c:pt>
                      <c:pt idx="160">
                        <c:v>490.392</c:v>
                      </c:pt>
                      <c:pt idx="161">
                        <c:v>542.49599999999998</c:v>
                      </c:pt>
                      <c:pt idx="162">
                        <c:v>542.49599999999998</c:v>
                      </c:pt>
                      <c:pt idx="163">
                        <c:v>542.49599999999998</c:v>
                      </c:pt>
                      <c:pt idx="164">
                        <c:v>542.49599999999998</c:v>
                      </c:pt>
                      <c:pt idx="165">
                        <c:v>542.49599999999998</c:v>
                      </c:pt>
                      <c:pt idx="166">
                        <c:v>542.49599999999998</c:v>
                      </c:pt>
                      <c:pt idx="167">
                        <c:v>560.928</c:v>
                      </c:pt>
                      <c:pt idx="168">
                        <c:v>560.928</c:v>
                      </c:pt>
                      <c:pt idx="169">
                        <c:v>560.928</c:v>
                      </c:pt>
                      <c:pt idx="170">
                        <c:v>687.12</c:v>
                      </c:pt>
                      <c:pt idx="171">
                        <c:v>687.12</c:v>
                      </c:pt>
                      <c:pt idx="172">
                        <c:v>687.12</c:v>
                      </c:pt>
                      <c:pt idx="173">
                        <c:v>687.12</c:v>
                      </c:pt>
                      <c:pt idx="174">
                        <c:v>687.12</c:v>
                      </c:pt>
                      <c:pt idx="175">
                        <c:v>1041.5039999999999</c:v>
                      </c:pt>
                      <c:pt idx="176">
                        <c:v>1041.5039999999999</c:v>
                      </c:pt>
                      <c:pt idx="177">
                        <c:v>1041.5039999999999</c:v>
                      </c:pt>
                      <c:pt idx="178">
                        <c:v>1170.336</c:v>
                      </c:pt>
                      <c:pt idx="179">
                        <c:v>1170.336</c:v>
                      </c:pt>
                      <c:pt idx="180">
                        <c:v>1170.336</c:v>
                      </c:pt>
                      <c:pt idx="181">
                        <c:v>1478.616</c:v>
                      </c:pt>
                      <c:pt idx="182">
                        <c:v>1478.616</c:v>
                      </c:pt>
                      <c:pt idx="183">
                        <c:v>1478.616</c:v>
                      </c:pt>
                      <c:pt idx="184">
                        <c:v>1478.616</c:v>
                      </c:pt>
                      <c:pt idx="185">
                        <c:v>1592.16</c:v>
                      </c:pt>
                      <c:pt idx="186">
                        <c:v>1740.6959999999999</c:v>
                      </c:pt>
                      <c:pt idx="187">
                        <c:v>1740.6959999999999</c:v>
                      </c:pt>
                      <c:pt idx="188">
                        <c:v>1740.6959999999999</c:v>
                      </c:pt>
                      <c:pt idx="189">
                        <c:v>2237.0160000000001</c:v>
                      </c:pt>
                      <c:pt idx="190">
                        <c:v>2237.0160000000001</c:v>
                      </c:pt>
                      <c:pt idx="191">
                        <c:v>2705.0160000000001</c:v>
                      </c:pt>
                      <c:pt idx="192">
                        <c:v>2705.0160000000001</c:v>
                      </c:pt>
                      <c:pt idx="193">
                        <c:v>2705.0160000000001</c:v>
                      </c:pt>
                      <c:pt idx="194">
                        <c:v>2705.0160000000001</c:v>
                      </c:pt>
                      <c:pt idx="195">
                        <c:v>2705.0160000000001</c:v>
                      </c:pt>
                      <c:pt idx="196">
                        <c:v>2284.2240000000002</c:v>
                      </c:pt>
                      <c:pt idx="197">
                        <c:v>2555.0160000000001</c:v>
                      </c:pt>
                      <c:pt idx="198">
                        <c:v>2555.0160000000001</c:v>
                      </c:pt>
                      <c:pt idx="199">
                        <c:v>2555.0160000000001</c:v>
                      </c:pt>
                      <c:pt idx="200">
                        <c:v>2555.0160000000001</c:v>
                      </c:pt>
                      <c:pt idx="201">
                        <c:v>2471.2080000000001</c:v>
                      </c:pt>
                      <c:pt idx="202">
                        <c:v>2471.2080000000001</c:v>
                      </c:pt>
                      <c:pt idx="203">
                        <c:v>3137.88</c:v>
                      </c:pt>
                      <c:pt idx="204">
                        <c:v>3137.88</c:v>
                      </c:pt>
                      <c:pt idx="205">
                        <c:v>2536.752</c:v>
                      </c:pt>
                      <c:pt idx="206">
                        <c:v>2536.752</c:v>
                      </c:pt>
                      <c:pt idx="207">
                        <c:v>2536.752</c:v>
                      </c:pt>
                      <c:pt idx="208">
                        <c:v>2536.752</c:v>
                      </c:pt>
                      <c:pt idx="209">
                        <c:v>2453.904</c:v>
                      </c:pt>
                      <c:pt idx="210">
                        <c:v>2536.752</c:v>
                      </c:pt>
                      <c:pt idx="211">
                        <c:v>2453.904</c:v>
                      </c:pt>
                      <c:pt idx="212">
                        <c:v>2453.9</c:v>
                      </c:pt>
                      <c:pt idx="213">
                        <c:v>2447.712</c:v>
                      </c:pt>
                      <c:pt idx="214">
                        <c:v>2447.712</c:v>
                      </c:pt>
                      <c:pt idx="215">
                        <c:v>2447.712</c:v>
                      </c:pt>
                      <c:pt idx="216">
                        <c:v>2447.712</c:v>
                      </c:pt>
                      <c:pt idx="217">
                        <c:v>2447.712</c:v>
                      </c:pt>
                      <c:pt idx="218">
                        <c:v>2389.576</c:v>
                      </c:pt>
                      <c:pt idx="219">
                        <c:v>2362.5360000000001</c:v>
                      </c:pt>
                      <c:pt idx="220">
                        <c:v>2362.5360000000001</c:v>
                      </c:pt>
                      <c:pt idx="221">
                        <c:v>2305.5839999999998</c:v>
                      </c:pt>
                      <c:pt idx="222">
                        <c:v>2305.5839999999998</c:v>
                      </c:pt>
                      <c:pt idx="223">
                        <c:v>2305.5839999999998</c:v>
                      </c:pt>
                      <c:pt idx="224">
                        <c:v>1868.616</c:v>
                      </c:pt>
                      <c:pt idx="225">
                        <c:v>1868.616</c:v>
                      </c:pt>
                      <c:pt idx="226">
                        <c:v>1868.616</c:v>
                      </c:pt>
                      <c:pt idx="227">
                        <c:v>1868.616</c:v>
                      </c:pt>
                      <c:pt idx="228">
                        <c:v>2250</c:v>
                      </c:pt>
                      <c:pt idx="229">
                        <c:v>2250</c:v>
                      </c:pt>
                      <c:pt idx="230">
                        <c:v>2250</c:v>
                      </c:pt>
                      <c:pt idx="231">
                        <c:v>2037.9359999999999</c:v>
                      </c:pt>
                      <c:pt idx="232">
                        <c:v>2037.9359999999999</c:v>
                      </c:pt>
                      <c:pt idx="233">
                        <c:v>2037.9359999999999</c:v>
                      </c:pt>
                      <c:pt idx="234">
                        <c:v>2085.576</c:v>
                      </c:pt>
                      <c:pt idx="235">
                        <c:v>2085.576</c:v>
                      </c:pt>
                      <c:pt idx="236">
                        <c:v>2085.576</c:v>
                      </c:pt>
                      <c:pt idx="237">
                        <c:v>2085.576</c:v>
                      </c:pt>
                      <c:pt idx="238">
                        <c:v>2134.4639999999999</c:v>
                      </c:pt>
                      <c:pt idx="239">
                        <c:v>2134.4639999999999</c:v>
                      </c:pt>
                      <c:pt idx="240">
                        <c:v>1948.56</c:v>
                      </c:pt>
                      <c:pt idx="241">
                        <c:v>1948.56</c:v>
                      </c:pt>
                      <c:pt idx="242">
                        <c:v>1948.56</c:v>
                      </c:pt>
                      <c:pt idx="243">
                        <c:v>1948.56</c:v>
                      </c:pt>
                      <c:pt idx="244">
                        <c:v>1948.56</c:v>
                      </c:pt>
                      <c:pt idx="245">
                        <c:v>1809.6959999999999</c:v>
                      </c:pt>
                      <c:pt idx="246">
                        <c:v>1809.6959999999999</c:v>
                      </c:pt>
                      <c:pt idx="247">
                        <c:v>1809.6959999999999</c:v>
                      </c:pt>
                      <c:pt idx="248">
                        <c:v>1809.6959999999999</c:v>
                      </c:pt>
                      <c:pt idx="249">
                        <c:v>1809.6959999999999</c:v>
                      </c:pt>
                      <c:pt idx="250">
                        <c:v>1882.8</c:v>
                      </c:pt>
                      <c:pt idx="251">
                        <c:v>1882.8</c:v>
                      </c:pt>
                      <c:pt idx="252">
                        <c:v>1882.8</c:v>
                      </c:pt>
                    </c:numCache>
                  </c:numRef>
                </c:yVal>
                <c:smooth val="1"/>
                <c:extLst xmlns:c15="http://schemas.microsoft.com/office/drawing/2012/chart">
                  <c:ext xmlns:c16="http://schemas.microsoft.com/office/drawing/2014/chart" uri="{C3380CC4-5D6E-409C-BE32-E72D297353CC}">
                    <c16:uniqueId val="{00000004-B1BA-4027-B324-9E28FECAA0B8}"/>
                  </c:ext>
                </c:extLst>
              </c15:ser>
            </c15:filteredScatterSeries>
            <c15:filteredScatterSeries>
              <c15:ser>
                <c:idx val="3"/>
                <c:order val="3"/>
                <c:tx>
                  <c:strRef>
                    <c:extLst xmlns:c15="http://schemas.microsoft.com/office/drawing/2012/chart">
                      <c:ext xmlns:c15="http://schemas.microsoft.com/office/drawing/2012/chart" uri="{02D57815-91ED-43cb-92C2-25804820EDAC}">
                        <c15:formulaRef>
                          <c15:sqref>'Combined rate'!$C$8</c15:sqref>
                        </c15:formulaRef>
                      </c:ext>
                    </c:extLst>
                    <c:strCache>
                      <c:ptCount val="1"/>
                      <c:pt idx="0">
                        <c:v>GROOTE SCHUUR  </c:v>
                      </c:pt>
                    </c:strCache>
                  </c:strRef>
                </c:tx>
                <c:spPr>
                  <a:ln w="19050" cap="rnd">
                    <a:solidFill>
                      <a:schemeClr val="accent4"/>
                    </a:solidFill>
                    <a:round/>
                  </a:ln>
                  <a:effectLst/>
                </c:spPr>
                <c:marker>
                  <c:symbol val="circle"/>
                  <c:size val="5"/>
                  <c:spPr>
                    <a:solidFill>
                      <a:schemeClr val="accent4"/>
                    </a:solidFill>
                    <a:ln w="9525">
                      <a:solidFill>
                        <a:schemeClr val="accent4"/>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8:$IY$8</c15:sqref>
                        </c15:formulaRef>
                      </c:ext>
                    </c:extLst>
                    <c:numCache>
                      <c:formatCode>0</c:formatCode>
                      <c:ptCount val="253"/>
                      <c:pt idx="0">
                        <c:v>4007.248</c:v>
                      </c:pt>
                      <c:pt idx="1">
                        <c:v>4205.8239999999996</c:v>
                      </c:pt>
                      <c:pt idx="2">
                        <c:v>4205.8239999999996</c:v>
                      </c:pt>
                      <c:pt idx="3">
                        <c:v>4244.08</c:v>
                      </c:pt>
                      <c:pt idx="4">
                        <c:v>4181.0479999999998</c:v>
                      </c:pt>
                      <c:pt idx="5">
                        <c:v>4149.5319999999992</c:v>
                      </c:pt>
                      <c:pt idx="6">
                        <c:v>4133.7739999999994</c:v>
                      </c:pt>
                      <c:pt idx="7">
                        <c:v>4118.0159999999996</c:v>
                      </c:pt>
                      <c:pt idx="8">
                        <c:v>5279.0640000000003</c:v>
                      </c:pt>
                      <c:pt idx="9">
                        <c:v>5279.0640000000003</c:v>
                      </c:pt>
                      <c:pt idx="10">
                        <c:v>5278</c:v>
                      </c:pt>
                      <c:pt idx="11">
                        <c:v>5278</c:v>
                      </c:pt>
                      <c:pt idx="12">
                        <c:v>5278</c:v>
                      </c:pt>
                      <c:pt idx="13">
                        <c:v>5123.8919999999998</c:v>
                      </c:pt>
                      <c:pt idx="14">
                        <c:v>4969.7839999999997</c:v>
                      </c:pt>
                      <c:pt idx="15">
                        <c:v>4969.7839999999997</c:v>
                      </c:pt>
                      <c:pt idx="16">
                        <c:v>5295.68</c:v>
                      </c:pt>
                      <c:pt idx="17">
                        <c:v>6697.76</c:v>
                      </c:pt>
                      <c:pt idx="18">
                        <c:v>6697.76</c:v>
                      </c:pt>
                      <c:pt idx="19">
                        <c:v>6156.7360000000008</c:v>
                      </c:pt>
                      <c:pt idx="20">
                        <c:v>5886.2240000000002</c:v>
                      </c:pt>
                      <c:pt idx="21">
                        <c:v>5615.7120000000004</c:v>
                      </c:pt>
                      <c:pt idx="22">
                        <c:v>6255.4480000000003</c:v>
                      </c:pt>
                      <c:pt idx="23">
                        <c:v>6895.1840000000002</c:v>
                      </c:pt>
                      <c:pt idx="24">
                        <c:v>6895.0879999999997</c:v>
                      </c:pt>
                      <c:pt idx="25">
                        <c:v>6576.6080000000002</c:v>
                      </c:pt>
                      <c:pt idx="26">
                        <c:v>6417.3680000000004</c:v>
                      </c:pt>
                      <c:pt idx="27">
                        <c:v>6337.7479999999996</c:v>
                      </c:pt>
                      <c:pt idx="28">
                        <c:v>6258.1279999999997</c:v>
                      </c:pt>
                      <c:pt idx="29">
                        <c:v>8341.848</c:v>
                      </c:pt>
                      <c:pt idx="30">
                        <c:v>8341.848</c:v>
                      </c:pt>
                      <c:pt idx="31">
                        <c:v>8367.2960000000003</c:v>
                      </c:pt>
                      <c:pt idx="32">
                        <c:v>8144.152</c:v>
                      </c:pt>
                      <c:pt idx="33">
                        <c:v>8157.18</c:v>
                      </c:pt>
                      <c:pt idx="34">
                        <c:v>8163.6939999999995</c:v>
                      </c:pt>
                      <c:pt idx="35">
                        <c:v>8170.2079999999996</c:v>
                      </c:pt>
                      <c:pt idx="36">
                        <c:v>9232</c:v>
                      </c:pt>
                      <c:pt idx="37">
                        <c:v>9232</c:v>
                      </c:pt>
                      <c:pt idx="38">
                        <c:v>9247.3359999999993</c:v>
                      </c:pt>
                      <c:pt idx="39">
                        <c:v>9229.1039999999994</c:v>
                      </c:pt>
                      <c:pt idx="40">
                        <c:v>9229.1039999999994</c:v>
                      </c:pt>
                      <c:pt idx="41">
                        <c:v>9242.3040000000001</c:v>
                      </c:pt>
                      <c:pt idx="42">
                        <c:v>9242.3040000000001</c:v>
                      </c:pt>
                      <c:pt idx="43">
                        <c:v>9254.9439999999995</c:v>
                      </c:pt>
                      <c:pt idx="44">
                        <c:v>9254.9439999999995</c:v>
                      </c:pt>
                      <c:pt idx="45">
                        <c:v>9254.9439999999995</c:v>
                      </c:pt>
                      <c:pt idx="46">
                        <c:v>9373.8719999999994</c:v>
                      </c:pt>
                      <c:pt idx="47">
                        <c:v>9373.8719999999994</c:v>
                      </c:pt>
                      <c:pt idx="48">
                        <c:v>9382.3680000000004</c:v>
                      </c:pt>
                      <c:pt idx="49">
                        <c:v>9382.3680000000004</c:v>
                      </c:pt>
                      <c:pt idx="50">
                        <c:v>9120.5120000000006</c:v>
                      </c:pt>
                      <c:pt idx="51">
                        <c:v>9120.5120000000006</c:v>
                      </c:pt>
                      <c:pt idx="52">
                        <c:v>9120.5120000000006</c:v>
                      </c:pt>
                      <c:pt idx="53">
                        <c:v>9523.4</c:v>
                      </c:pt>
                      <c:pt idx="54">
                        <c:v>9025.2639999999992</c:v>
                      </c:pt>
                      <c:pt idx="55">
                        <c:v>9029.6</c:v>
                      </c:pt>
                      <c:pt idx="56">
                        <c:v>9029.6</c:v>
                      </c:pt>
                      <c:pt idx="57">
                        <c:v>9007.7759999999998</c:v>
                      </c:pt>
                      <c:pt idx="58">
                        <c:v>9007.7759999999998</c:v>
                      </c:pt>
                      <c:pt idx="59">
                        <c:v>9219.7999999999993</c:v>
                      </c:pt>
                      <c:pt idx="60">
                        <c:v>9219.7999999999993</c:v>
                      </c:pt>
                      <c:pt idx="61">
                        <c:v>8962.8960000000006</c:v>
                      </c:pt>
                      <c:pt idx="62">
                        <c:v>8965.3919999999998</c:v>
                      </c:pt>
                      <c:pt idx="63">
                        <c:v>8965.3919999999998</c:v>
                      </c:pt>
                      <c:pt idx="64">
                        <c:v>8968.1039999999994</c:v>
                      </c:pt>
                      <c:pt idx="65">
                        <c:v>8968.1039999999994</c:v>
                      </c:pt>
                      <c:pt idx="66">
                        <c:v>8968.1039999999994</c:v>
                      </c:pt>
                      <c:pt idx="67">
                        <c:v>9133.9599999999991</c:v>
                      </c:pt>
                      <c:pt idx="68">
                        <c:v>9133.9599999999991</c:v>
                      </c:pt>
                      <c:pt idx="69">
                        <c:v>8344.1039999999994</c:v>
                      </c:pt>
                      <c:pt idx="70">
                        <c:v>8344.1039999999994</c:v>
                      </c:pt>
                      <c:pt idx="71">
                        <c:v>8346.0560000000005</c:v>
                      </c:pt>
                      <c:pt idx="72">
                        <c:v>9564.5280000000002</c:v>
                      </c:pt>
                      <c:pt idx="73">
                        <c:v>9564.5280000000002</c:v>
                      </c:pt>
                      <c:pt idx="74">
                        <c:v>9019.0560000000005</c:v>
                      </c:pt>
                      <c:pt idx="75">
                        <c:v>9019.0560000000005</c:v>
                      </c:pt>
                      <c:pt idx="76">
                        <c:v>8414.2160000000003</c:v>
                      </c:pt>
                      <c:pt idx="77">
                        <c:v>8414.2160000000003</c:v>
                      </c:pt>
                      <c:pt idx="78">
                        <c:v>8413.84</c:v>
                      </c:pt>
                      <c:pt idx="79">
                        <c:v>8413.84</c:v>
                      </c:pt>
                      <c:pt idx="80">
                        <c:v>8413.84</c:v>
                      </c:pt>
                      <c:pt idx="81">
                        <c:v>8413.7039999999997</c:v>
                      </c:pt>
                      <c:pt idx="82">
                        <c:v>8413.7039999999997</c:v>
                      </c:pt>
                      <c:pt idx="83">
                        <c:v>8696.3439999999991</c:v>
                      </c:pt>
                      <c:pt idx="84">
                        <c:v>8696.3439999999991</c:v>
                      </c:pt>
                      <c:pt idx="85">
                        <c:v>8696.0720000000001</c:v>
                      </c:pt>
                      <c:pt idx="86">
                        <c:v>8696.0720000000001</c:v>
                      </c:pt>
                      <c:pt idx="87">
                        <c:v>8696.0720000000001</c:v>
                      </c:pt>
                      <c:pt idx="88">
                        <c:v>8594.0319999999992</c:v>
                      </c:pt>
                      <c:pt idx="89">
                        <c:v>8594.0319999999992</c:v>
                      </c:pt>
                      <c:pt idx="90">
                        <c:v>8593.9680000000008</c:v>
                      </c:pt>
                      <c:pt idx="91">
                        <c:v>8593.9680000000008</c:v>
                      </c:pt>
                      <c:pt idx="92">
                        <c:v>7671.3360000000002</c:v>
                      </c:pt>
                      <c:pt idx="93">
                        <c:v>7671.3360000000002</c:v>
                      </c:pt>
                      <c:pt idx="94">
                        <c:v>6789.5439999999999</c:v>
                      </c:pt>
                      <c:pt idx="95">
                        <c:v>6789.4719999999998</c:v>
                      </c:pt>
                      <c:pt idx="96">
                        <c:v>6789.4719999999998</c:v>
                      </c:pt>
                      <c:pt idx="97">
                        <c:v>6175.9679999999998</c:v>
                      </c:pt>
                      <c:pt idx="98">
                        <c:v>6175.9679999999998</c:v>
                      </c:pt>
                      <c:pt idx="99">
                        <c:v>6687.8159999999998</c:v>
                      </c:pt>
                      <c:pt idx="100">
                        <c:v>6687.64</c:v>
                      </c:pt>
                      <c:pt idx="101">
                        <c:v>6687.64</c:v>
                      </c:pt>
                      <c:pt idx="102">
                        <c:v>6687.64</c:v>
                      </c:pt>
                      <c:pt idx="103">
                        <c:v>6687.64</c:v>
                      </c:pt>
                      <c:pt idx="104">
                        <c:v>6687.64</c:v>
                      </c:pt>
                      <c:pt idx="105">
                        <c:v>4942.4799999999996</c:v>
                      </c:pt>
                      <c:pt idx="106">
                        <c:v>5834.5519999999997</c:v>
                      </c:pt>
                      <c:pt idx="107">
                        <c:v>5834.5519999999997</c:v>
                      </c:pt>
                      <c:pt idx="108">
                        <c:v>5834.5519999999997</c:v>
                      </c:pt>
                      <c:pt idx="109">
                        <c:v>5243.1040000000003</c:v>
                      </c:pt>
                      <c:pt idx="110">
                        <c:v>5243.1040000000003</c:v>
                      </c:pt>
                      <c:pt idx="111">
                        <c:v>4706.5680000000002</c:v>
                      </c:pt>
                      <c:pt idx="112">
                        <c:v>4706.576</c:v>
                      </c:pt>
                      <c:pt idx="113">
                        <c:v>4706.576</c:v>
                      </c:pt>
                      <c:pt idx="114">
                        <c:v>4706.5519999999997</c:v>
                      </c:pt>
                      <c:pt idx="115">
                        <c:v>8563.5759999999991</c:v>
                      </c:pt>
                      <c:pt idx="116">
                        <c:v>8563.5759999999991</c:v>
                      </c:pt>
                      <c:pt idx="117">
                        <c:v>8583.7279999999992</c:v>
                      </c:pt>
                      <c:pt idx="118">
                        <c:v>8583.7279999999992</c:v>
                      </c:pt>
                      <c:pt idx="119">
                        <c:v>8612.5040000000008</c:v>
                      </c:pt>
                      <c:pt idx="120">
                        <c:v>9687.6560000000009</c:v>
                      </c:pt>
                      <c:pt idx="121">
                        <c:v>7171.88</c:v>
                      </c:pt>
                      <c:pt idx="122">
                        <c:v>7171.88</c:v>
                      </c:pt>
                      <c:pt idx="123">
                        <c:v>6421.4639999999999</c:v>
                      </c:pt>
                      <c:pt idx="124">
                        <c:v>6445.0879999999997</c:v>
                      </c:pt>
                      <c:pt idx="125">
                        <c:v>6464.4080000000004</c:v>
                      </c:pt>
                      <c:pt idx="126">
                        <c:v>6464.4080000000004</c:v>
                      </c:pt>
                      <c:pt idx="127">
                        <c:v>6464.4080000000004</c:v>
                      </c:pt>
                      <c:pt idx="128">
                        <c:v>6436.04</c:v>
                      </c:pt>
                      <c:pt idx="129">
                        <c:v>6436.04</c:v>
                      </c:pt>
                      <c:pt idx="130">
                        <c:v>5569.7920000000004</c:v>
                      </c:pt>
                      <c:pt idx="131">
                        <c:v>5569.7920000000004</c:v>
                      </c:pt>
                      <c:pt idx="132">
                        <c:v>5587.3760000000002</c:v>
                      </c:pt>
                      <c:pt idx="133">
                        <c:v>5587.3760000000002</c:v>
                      </c:pt>
                      <c:pt idx="134">
                        <c:v>5163.0959999999995</c:v>
                      </c:pt>
                      <c:pt idx="135">
                        <c:v>4833.4160000000002</c:v>
                      </c:pt>
                      <c:pt idx="136">
                        <c:v>4833.4160000000002</c:v>
                      </c:pt>
                      <c:pt idx="137">
                        <c:v>4838.12</c:v>
                      </c:pt>
                      <c:pt idx="138">
                        <c:v>4197.6400000000003</c:v>
                      </c:pt>
                      <c:pt idx="139">
                        <c:v>3675.5680000000002</c:v>
                      </c:pt>
                      <c:pt idx="140">
                        <c:v>3673.52</c:v>
                      </c:pt>
                      <c:pt idx="141">
                        <c:v>3679.3119999999999</c:v>
                      </c:pt>
                      <c:pt idx="142">
                        <c:v>5151.9040000000005</c:v>
                      </c:pt>
                      <c:pt idx="143">
                        <c:v>5151.9040000000005</c:v>
                      </c:pt>
                      <c:pt idx="144">
                        <c:v>4344.5360000000001</c:v>
                      </c:pt>
                      <c:pt idx="145">
                        <c:v>3821.0239999999999</c:v>
                      </c:pt>
                      <c:pt idx="146">
                        <c:v>3824.84</c:v>
                      </c:pt>
                      <c:pt idx="147">
                        <c:v>3824.84</c:v>
                      </c:pt>
                      <c:pt idx="148">
                        <c:v>3800.2080000000001</c:v>
                      </c:pt>
                      <c:pt idx="149">
                        <c:v>5645.7280000000001</c:v>
                      </c:pt>
                      <c:pt idx="150">
                        <c:v>5645.7280000000001</c:v>
                      </c:pt>
                      <c:pt idx="151">
                        <c:v>4887.5200000000004</c:v>
                      </c:pt>
                      <c:pt idx="152">
                        <c:v>4889.5680000000002</c:v>
                      </c:pt>
                      <c:pt idx="153">
                        <c:v>4168.0320000000002</c:v>
                      </c:pt>
                      <c:pt idx="154">
                        <c:v>4168.0320000000002</c:v>
                      </c:pt>
                      <c:pt idx="155">
                        <c:v>4165.7520000000004</c:v>
                      </c:pt>
                      <c:pt idx="156">
                        <c:v>5063.2879999999996</c:v>
                      </c:pt>
                      <c:pt idx="157">
                        <c:v>5063.2879999999996</c:v>
                      </c:pt>
                      <c:pt idx="158">
                        <c:v>5063.3999999999996</c:v>
                      </c:pt>
                      <c:pt idx="159">
                        <c:v>4439.4560000000001</c:v>
                      </c:pt>
                      <c:pt idx="160">
                        <c:v>4579.9920000000002</c:v>
                      </c:pt>
                      <c:pt idx="161">
                        <c:v>4579.9920000000002</c:v>
                      </c:pt>
                      <c:pt idx="162">
                        <c:v>4843.2240000000002</c:v>
                      </c:pt>
                      <c:pt idx="163">
                        <c:v>4843.2240000000002</c:v>
                      </c:pt>
                      <c:pt idx="164">
                        <c:v>4843.2240000000002</c:v>
                      </c:pt>
                      <c:pt idx="165">
                        <c:v>4752.88</c:v>
                      </c:pt>
                      <c:pt idx="166">
                        <c:v>4753.92</c:v>
                      </c:pt>
                      <c:pt idx="167">
                        <c:v>4337.4719999999998</c:v>
                      </c:pt>
                      <c:pt idx="168">
                        <c:v>4338.0320000000002</c:v>
                      </c:pt>
                      <c:pt idx="169">
                        <c:v>4338.0320000000002</c:v>
                      </c:pt>
                      <c:pt idx="170">
                        <c:v>4645.24</c:v>
                      </c:pt>
                      <c:pt idx="171">
                        <c:v>4645.24</c:v>
                      </c:pt>
                      <c:pt idx="172">
                        <c:v>3948.192</c:v>
                      </c:pt>
                      <c:pt idx="173">
                        <c:v>4168.1440000000002</c:v>
                      </c:pt>
                      <c:pt idx="174">
                        <c:v>4158.2079999999996</c:v>
                      </c:pt>
                      <c:pt idx="175">
                        <c:v>4158.4960000000001</c:v>
                      </c:pt>
                      <c:pt idx="176">
                        <c:v>4158.4960000000001</c:v>
                      </c:pt>
                      <c:pt idx="177">
                        <c:v>4681.7280000000001</c:v>
                      </c:pt>
                      <c:pt idx="178">
                        <c:v>4314.5519999999997</c:v>
                      </c:pt>
                      <c:pt idx="179">
                        <c:v>4314.5519999999997</c:v>
                      </c:pt>
                      <c:pt idx="180">
                        <c:v>4753.152</c:v>
                      </c:pt>
                      <c:pt idx="181">
                        <c:v>4753.152</c:v>
                      </c:pt>
                      <c:pt idx="182">
                        <c:v>4752.9040000000005</c:v>
                      </c:pt>
                      <c:pt idx="183">
                        <c:v>4752.9040000000005</c:v>
                      </c:pt>
                      <c:pt idx="184">
                        <c:v>4450</c:v>
                      </c:pt>
                      <c:pt idx="185">
                        <c:v>5330</c:v>
                      </c:pt>
                      <c:pt idx="186">
                        <c:v>4811</c:v>
                      </c:pt>
                      <c:pt idx="187">
                        <c:v>4410</c:v>
                      </c:pt>
                      <c:pt idx="188">
                        <c:v>4410</c:v>
                      </c:pt>
                      <c:pt idx="189">
                        <c:v>4984.1360000000004</c:v>
                      </c:pt>
                      <c:pt idx="190">
                        <c:v>5266.576</c:v>
                      </c:pt>
                      <c:pt idx="191">
                        <c:v>5266.576</c:v>
                      </c:pt>
                      <c:pt idx="192">
                        <c:v>5266.576</c:v>
                      </c:pt>
                      <c:pt idx="193">
                        <c:v>5521.6639999999998</c:v>
                      </c:pt>
                      <c:pt idx="194">
                        <c:v>5516.7520000000004</c:v>
                      </c:pt>
                      <c:pt idx="195">
                        <c:v>5201.24</c:v>
                      </c:pt>
                      <c:pt idx="196">
                        <c:v>5201.24</c:v>
                      </c:pt>
                      <c:pt idx="197">
                        <c:v>5241.04</c:v>
                      </c:pt>
                      <c:pt idx="198">
                        <c:v>5241.04</c:v>
                      </c:pt>
                      <c:pt idx="199">
                        <c:v>5241.04</c:v>
                      </c:pt>
                      <c:pt idx="200">
                        <c:v>5232.384</c:v>
                      </c:pt>
                      <c:pt idx="201">
                        <c:v>5385</c:v>
                      </c:pt>
                      <c:pt idx="202">
                        <c:v>5305</c:v>
                      </c:pt>
                      <c:pt idx="203">
                        <c:v>5828</c:v>
                      </c:pt>
                      <c:pt idx="204">
                        <c:v>5213.9440000000004</c:v>
                      </c:pt>
                      <c:pt idx="205">
                        <c:v>5213.9440000000004</c:v>
                      </c:pt>
                      <c:pt idx="206">
                        <c:v>5970.9920000000002</c:v>
                      </c:pt>
                      <c:pt idx="207">
                        <c:v>5966.9440000000004</c:v>
                      </c:pt>
                      <c:pt idx="208">
                        <c:v>5612</c:v>
                      </c:pt>
                      <c:pt idx="209">
                        <c:v>5468</c:v>
                      </c:pt>
                      <c:pt idx="210">
                        <c:v>5966.9440000000004</c:v>
                      </c:pt>
                      <c:pt idx="211">
                        <c:v>5541</c:v>
                      </c:pt>
                      <c:pt idx="212">
                        <c:v>6767.6</c:v>
                      </c:pt>
                      <c:pt idx="213">
                        <c:v>6097</c:v>
                      </c:pt>
                      <c:pt idx="214">
                        <c:v>5890</c:v>
                      </c:pt>
                      <c:pt idx="215">
                        <c:v>6389</c:v>
                      </c:pt>
                      <c:pt idx="216">
                        <c:v>9618</c:v>
                      </c:pt>
                      <c:pt idx="217">
                        <c:v>9320</c:v>
                      </c:pt>
                      <c:pt idx="218">
                        <c:v>10790</c:v>
                      </c:pt>
                      <c:pt idx="219">
                        <c:v>10326</c:v>
                      </c:pt>
                      <c:pt idx="220">
                        <c:v>10545</c:v>
                      </c:pt>
                      <c:pt idx="221">
                        <c:v>10736.487999999999</c:v>
                      </c:pt>
                      <c:pt idx="222">
                        <c:v>10840.944</c:v>
                      </c:pt>
                      <c:pt idx="223">
                        <c:v>10840.944</c:v>
                      </c:pt>
                      <c:pt idx="224">
                        <c:v>12332.064</c:v>
                      </c:pt>
                      <c:pt idx="225">
                        <c:v>12348.791999999999</c:v>
                      </c:pt>
                      <c:pt idx="226">
                        <c:v>12348.791999999999</c:v>
                      </c:pt>
                      <c:pt idx="227">
                        <c:v>12348.791999999999</c:v>
                      </c:pt>
                      <c:pt idx="228">
                        <c:v>12371.84</c:v>
                      </c:pt>
                      <c:pt idx="229">
                        <c:v>13184</c:v>
                      </c:pt>
                      <c:pt idx="230">
                        <c:v>13360</c:v>
                      </c:pt>
                      <c:pt idx="231">
                        <c:v>11936</c:v>
                      </c:pt>
                      <c:pt idx="232">
                        <c:v>11046</c:v>
                      </c:pt>
                      <c:pt idx="233">
                        <c:v>11147</c:v>
                      </c:pt>
                      <c:pt idx="234">
                        <c:v>11255</c:v>
                      </c:pt>
                      <c:pt idx="235">
                        <c:v>9893</c:v>
                      </c:pt>
                      <c:pt idx="236">
                        <c:v>9543</c:v>
                      </c:pt>
                      <c:pt idx="237">
                        <c:v>11489</c:v>
                      </c:pt>
                      <c:pt idx="238">
                        <c:v>12016</c:v>
                      </c:pt>
                      <c:pt idx="239">
                        <c:v>9265.6682385098829</c:v>
                      </c:pt>
                      <c:pt idx="240">
                        <c:v>8510.4899809521648</c:v>
                      </c:pt>
                      <c:pt idx="241">
                        <c:v>9669.8428060488677</c:v>
                      </c:pt>
                      <c:pt idx="242">
                        <c:v>8835.2628522467239</c:v>
                      </c:pt>
                      <c:pt idx="243">
                        <c:v>10733.128000000001</c:v>
                      </c:pt>
                      <c:pt idx="244">
                        <c:v>11268.856</c:v>
                      </c:pt>
                      <c:pt idx="245">
                        <c:v>11628.768</c:v>
                      </c:pt>
                      <c:pt idx="246">
                        <c:v>6610</c:v>
                      </c:pt>
                      <c:pt idx="247">
                        <c:v>6610</c:v>
                      </c:pt>
                      <c:pt idx="248">
                        <c:v>6842</c:v>
                      </c:pt>
                      <c:pt idx="249">
                        <c:v>6600</c:v>
                      </c:pt>
                      <c:pt idx="250">
                        <c:v>6284</c:v>
                      </c:pt>
                      <c:pt idx="251">
                        <c:v>6129</c:v>
                      </c:pt>
                      <c:pt idx="252">
                        <c:v>6129</c:v>
                      </c:pt>
                    </c:numCache>
                  </c:numRef>
                </c:yVal>
                <c:smooth val="1"/>
                <c:extLst xmlns:c15="http://schemas.microsoft.com/office/drawing/2012/chart">
                  <c:ext xmlns:c16="http://schemas.microsoft.com/office/drawing/2014/chart" uri="{C3380CC4-5D6E-409C-BE32-E72D297353CC}">
                    <c16:uniqueId val="{00000005-B1BA-4027-B324-9E28FECAA0B8}"/>
                  </c:ext>
                </c:extLst>
              </c15:ser>
            </c15:filteredScatterSeries>
            <c15:filteredScatterSeries>
              <c15:ser>
                <c:idx val="4"/>
                <c:order val="4"/>
                <c:tx>
                  <c:strRef>
                    <c:extLst xmlns:c15="http://schemas.microsoft.com/office/drawing/2012/chart">
                      <c:ext xmlns:c15="http://schemas.microsoft.com/office/drawing/2012/chart" uri="{02D57815-91ED-43cb-92C2-25804820EDAC}">
                        <c15:formulaRef>
                          <c15:sqref>'Combined rate'!$C$9</c15:sqref>
                        </c15:formulaRef>
                      </c:ext>
                    </c:extLst>
                    <c:strCache>
                      <c:ptCount val="1"/>
                      <c:pt idx="0">
                        <c:v>HEIDEVELD</c:v>
                      </c:pt>
                    </c:strCache>
                  </c:strRef>
                </c:tx>
                <c:spPr>
                  <a:ln w="19050" cap="rnd">
                    <a:solidFill>
                      <a:schemeClr val="accent5"/>
                    </a:solidFill>
                    <a:round/>
                  </a:ln>
                  <a:effectLst/>
                </c:spPr>
                <c:marker>
                  <c:symbol val="circle"/>
                  <c:size val="5"/>
                  <c:spPr>
                    <a:solidFill>
                      <a:schemeClr val="accent5"/>
                    </a:solidFill>
                    <a:ln w="9525">
                      <a:solidFill>
                        <a:schemeClr val="accent5"/>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9:$IY$9</c15:sqref>
                        </c15:formulaRef>
                      </c:ext>
                    </c:extLst>
                    <c:numCache>
                      <c:formatCode>0</c:formatCode>
                      <c:ptCount val="253"/>
                      <c:pt idx="0">
                        <c:v>102.792</c:v>
                      </c:pt>
                      <c:pt idx="1">
                        <c:v>128.304</c:v>
                      </c:pt>
                      <c:pt idx="2">
                        <c:v>128.304</c:v>
                      </c:pt>
                      <c:pt idx="3">
                        <c:v>119.47199999999999</c:v>
                      </c:pt>
                      <c:pt idx="4">
                        <c:v>119.47199999999999</c:v>
                      </c:pt>
                      <c:pt idx="5">
                        <c:v>119.47199999999999</c:v>
                      </c:pt>
                      <c:pt idx="6">
                        <c:v>119.47199999999999</c:v>
                      </c:pt>
                      <c:pt idx="7">
                        <c:v>119.47199999999999</c:v>
                      </c:pt>
                      <c:pt idx="8">
                        <c:v>119.47199999999999</c:v>
                      </c:pt>
                      <c:pt idx="9">
                        <c:v>119.47199999999999</c:v>
                      </c:pt>
                      <c:pt idx="10">
                        <c:v>119.47199999999999</c:v>
                      </c:pt>
                      <c:pt idx="11">
                        <c:v>119.47199999999999</c:v>
                      </c:pt>
                      <c:pt idx="12">
                        <c:v>119.47199999999999</c:v>
                      </c:pt>
                      <c:pt idx="13">
                        <c:v>155.42400000000001</c:v>
                      </c:pt>
                      <c:pt idx="14">
                        <c:v>191.376</c:v>
                      </c:pt>
                      <c:pt idx="15">
                        <c:v>191.376</c:v>
                      </c:pt>
                      <c:pt idx="16">
                        <c:v>191.376</c:v>
                      </c:pt>
                      <c:pt idx="17">
                        <c:v>191.376</c:v>
                      </c:pt>
                      <c:pt idx="18">
                        <c:v>191.376</c:v>
                      </c:pt>
                      <c:pt idx="19">
                        <c:v>191.376</c:v>
                      </c:pt>
                      <c:pt idx="20">
                        <c:v>191.376</c:v>
                      </c:pt>
                      <c:pt idx="21">
                        <c:v>191.376</c:v>
                      </c:pt>
                      <c:pt idx="22">
                        <c:v>188.55599999999998</c:v>
                      </c:pt>
                      <c:pt idx="23">
                        <c:v>185.73599999999999</c:v>
                      </c:pt>
                      <c:pt idx="24">
                        <c:v>185.73599999999999</c:v>
                      </c:pt>
                      <c:pt idx="25">
                        <c:v>168</c:v>
                      </c:pt>
                      <c:pt idx="26">
                        <c:v>159.13200000000001</c:v>
                      </c:pt>
                      <c:pt idx="27">
                        <c:v>154.69800000000001</c:v>
                      </c:pt>
                      <c:pt idx="28">
                        <c:v>150.26400000000001</c:v>
                      </c:pt>
                      <c:pt idx="29">
                        <c:v>150.26400000000001</c:v>
                      </c:pt>
                      <c:pt idx="30">
                        <c:v>150.26400000000001</c:v>
                      </c:pt>
                      <c:pt idx="31">
                        <c:v>150.26400000000001</c:v>
                      </c:pt>
                      <c:pt idx="32">
                        <c:v>150.26400000000001</c:v>
                      </c:pt>
                      <c:pt idx="33">
                        <c:v>150.26400000000001</c:v>
                      </c:pt>
                      <c:pt idx="34">
                        <c:v>150.26400000000001</c:v>
                      </c:pt>
                      <c:pt idx="35">
                        <c:v>150.26400000000001</c:v>
                      </c:pt>
                      <c:pt idx="36">
                        <c:v>150.26400000000001</c:v>
                      </c:pt>
                      <c:pt idx="37">
                        <c:v>150.26400000000001</c:v>
                      </c:pt>
                      <c:pt idx="38">
                        <c:v>124.824</c:v>
                      </c:pt>
                      <c:pt idx="39">
                        <c:v>124.824</c:v>
                      </c:pt>
                      <c:pt idx="40">
                        <c:v>124.824</c:v>
                      </c:pt>
                      <c:pt idx="41">
                        <c:v>124.824</c:v>
                      </c:pt>
                      <c:pt idx="42">
                        <c:v>124.824</c:v>
                      </c:pt>
                      <c:pt idx="43">
                        <c:v>124.824</c:v>
                      </c:pt>
                      <c:pt idx="44">
                        <c:v>93.623999999999995</c:v>
                      </c:pt>
                      <c:pt idx="45">
                        <c:v>93.623999999999995</c:v>
                      </c:pt>
                      <c:pt idx="46">
                        <c:v>134.68799999999999</c:v>
                      </c:pt>
                      <c:pt idx="47">
                        <c:v>134.68799999999999</c:v>
                      </c:pt>
                      <c:pt idx="48">
                        <c:v>134.68799999999999</c:v>
                      </c:pt>
                      <c:pt idx="49">
                        <c:v>134.68799999999999</c:v>
                      </c:pt>
                      <c:pt idx="50">
                        <c:v>134.68799999999999</c:v>
                      </c:pt>
                      <c:pt idx="51">
                        <c:v>134.68799999999999</c:v>
                      </c:pt>
                      <c:pt idx="52">
                        <c:v>134.68799999999999</c:v>
                      </c:pt>
                      <c:pt idx="53">
                        <c:v>134.68799999999999</c:v>
                      </c:pt>
                      <c:pt idx="54">
                        <c:v>134.68799999999999</c:v>
                      </c:pt>
                      <c:pt idx="55">
                        <c:v>134.68799999999999</c:v>
                      </c:pt>
                      <c:pt idx="56">
                        <c:v>134.68799999999999</c:v>
                      </c:pt>
                      <c:pt idx="57">
                        <c:v>134.68799999999999</c:v>
                      </c:pt>
                      <c:pt idx="58">
                        <c:v>140.4</c:v>
                      </c:pt>
                      <c:pt idx="59">
                        <c:v>137.304</c:v>
                      </c:pt>
                      <c:pt idx="60">
                        <c:v>137.304</c:v>
                      </c:pt>
                      <c:pt idx="61">
                        <c:v>137.304</c:v>
                      </c:pt>
                      <c:pt idx="62">
                        <c:v>137.304</c:v>
                      </c:pt>
                      <c:pt idx="63">
                        <c:v>137.304</c:v>
                      </c:pt>
                      <c:pt idx="64">
                        <c:v>137.304</c:v>
                      </c:pt>
                      <c:pt idx="65">
                        <c:v>137.304</c:v>
                      </c:pt>
                      <c:pt idx="66">
                        <c:v>137.304</c:v>
                      </c:pt>
                      <c:pt idx="67">
                        <c:v>137.304</c:v>
                      </c:pt>
                      <c:pt idx="68">
                        <c:v>144.26400000000001</c:v>
                      </c:pt>
                      <c:pt idx="69">
                        <c:v>144.26400000000001</c:v>
                      </c:pt>
                      <c:pt idx="70">
                        <c:v>144.26400000000001</c:v>
                      </c:pt>
                      <c:pt idx="71">
                        <c:v>144.26400000000001</c:v>
                      </c:pt>
                      <c:pt idx="72">
                        <c:v>144.26400000000001</c:v>
                      </c:pt>
                      <c:pt idx="73">
                        <c:v>144.26400000000001</c:v>
                      </c:pt>
                      <c:pt idx="74">
                        <c:v>136.96799999999999</c:v>
                      </c:pt>
                      <c:pt idx="75">
                        <c:v>136.96799999999999</c:v>
                      </c:pt>
                      <c:pt idx="76">
                        <c:v>136.96799999999999</c:v>
                      </c:pt>
                      <c:pt idx="77">
                        <c:v>136.96799999999999</c:v>
                      </c:pt>
                      <c:pt idx="78">
                        <c:v>142.44</c:v>
                      </c:pt>
                      <c:pt idx="79">
                        <c:v>142.44</c:v>
                      </c:pt>
                      <c:pt idx="80">
                        <c:v>142.44</c:v>
                      </c:pt>
                      <c:pt idx="81">
                        <c:v>142.44</c:v>
                      </c:pt>
                      <c:pt idx="82">
                        <c:v>149.304</c:v>
                      </c:pt>
                      <c:pt idx="83">
                        <c:v>149.304</c:v>
                      </c:pt>
                      <c:pt idx="84">
                        <c:v>149.304</c:v>
                      </c:pt>
                      <c:pt idx="85">
                        <c:v>149.304</c:v>
                      </c:pt>
                      <c:pt idx="86">
                        <c:v>149.304</c:v>
                      </c:pt>
                      <c:pt idx="87">
                        <c:v>149.304</c:v>
                      </c:pt>
                      <c:pt idx="88">
                        <c:v>149.304</c:v>
                      </c:pt>
                      <c:pt idx="89">
                        <c:v>149.304</c:v>
                      </c:pt>
                      <c:pt idx="90">
                        <c:v>149.304</c:v>
                      </c:pt>
                      <c:pt idx="91">
                        <c:v>149.304</c:v>
                      </c:pt>
                      <c:pt idx="92">
                        <c:v>149.304</c:v>
                      </c:pt>
                      <c:pt idx="93">
                        <c:v>149.304</c:v>
                      </c:pt>
                      <c:pt idx="94">
                        <c:v>149.304</c:v>
                      </c:pt>
                      <c:pt idx="95">
                        <c:v>149.304</c:v>
                      </c:pt>
                      <c:pt idx="96">
                        <c:v>146.42400000000001</c:v>
                      </c:pt>
                      <c:pt idx="97">
                        <c:v>146.42400000000001</c:v>
                      </c:pt>
                      <c:pt idx="98">
                        <c:v>146.42400000000001</c:v>
                      </c:pt>
                      <c:pt idx="99">
                        <c:v>146.42400000000001</c:v>
                      </c:pt>
                      <c:pt idx="100">
                        <c:v>149.68799999999999</c:v>
                      </c:pt>
                      <c:pt idx="101">
                        <c:v>149.68799999999999</c:v>
                      </c:pt>
                      <c:pt idx="102">
                        <c:v>149.68799999999999</c:v>
                      </c:pt>
                      <c:pt idx="103">
                        <c:v>149.68799999999999</c:v>
                      </c:pt>
                      <c:pt idx="104">
                        <c:v>149.68799999999999</c:v>
                      </c:pt>
                      <c:pt idx="105">
                        <c:v>149.68799999999999</c:v>
                      </c:pt>
                      <c:pt idx="106">
                        <c:v>149.68799999999999</c:v>
                      </c:pt>
                      <c:pt idx="107">
                        <c:v>149.68799999999999</c:v>
                      </c:pt>
                      <c:pt idx="108">
                        <c:v>149.68799999999999</c:v>
                      </c:pt>
                      <c:pt idx="109">
                        <c:v>149.68799999999999</c:v>
                      </c:pt>
                      <c:pt idx="110">
                        <c:v>149.68799999999999</c:v>
                      </c:pt>
                      <c:pt idx="111">
                        <c:v>149.68799999999999</c:v>
                      </c:pt>
                      <c:pt idx="112">
                        <c:v>149.68799999999999</c:v>
                      </c:pt>
                      <c:pt idx="113">
                        <c:v>152.52000000000001</c:v>
                      </c:pt>
                      <c:pt idx="114">
                        <c:v>152.52000000000001</c:v>
                      </c:pt>
                      <c:pt idx="115">
                        <c:v>164.976</c:v>
                      </c:pt>
                      <c:pt idx="116">
                        <c:v>164.976</c:v>
                      </c:pt>
                      <c:pt idx="117">
                        <c:v>164.976</c:v>
                      </c:pt>
                      <c:pt idx="118">
                        <c:v>164.976</c:v>
                      </c:pt>
                      <c:pt idx="119">
                        <c:v>164.976</c:v>
                      </c:pt>
                      <c:pt idx="120">
                        <c:v>164.976</c:v>
                      </c:pt>
                      <c:pt idx="121">
                        <c:v>164.976</c:v>
                      </c:pt>
                      <c:pt idx="122">
                        <c:v>164.976</c:v>
                      </c:pt>
                      <c:pt idx="123">
                        <c:v>164.976</c:v>
                      </c:pt>
                      <c:pt idx="124">
                        <c:v>158.54400000000001</c:v>
                      </c:pt>
                      <c:pt idx="125">
                        <c:v>158.54400000000001</c:v>
                      </c:pt>
                      <c:pt idx="126">
                        <c:v>158.54400000000001</c:v>
                      </c:pt>
                      <c:pt idx="127">
                        <c:v>158.54400000000001</c:v>
                      </c:pt>
                      <c:pt idx="128">
                        <c:v>158.54400000000001</c:v>
                      </c:pt>
                      <c:pt idx="129">
                        <c:v>158.54400000000001</c:v>
                      </c:pt>
                      <c:pt idx="130">
                        <c:v>158.54400000000001</c:v>
                      </c:pt>
                      <c:pt idx="131">
                        <c:v>158.54400000000001</c:v>
                      </c:pt>
                      <c:pt idx="132">
                        <c:v>158.54400000000001</c:v>
                      </c:pt>
                      <c:pt idx="133">
                        <c:v>153.43199999999999</c:v>
                      </c:pt>
                      <c:pt idx="134">
                        <c:v>153.43199999999999</c:v>
                      </c:pt>
                      <c:pt idx="135">
                        <c:v>153.43199999999999</c:v>
                      </c:pt>
                      <c:pt idx="136">
                        <c:v>153.43199999999999</c:v>
                      </c:pt>
                      <c:pt idx="137">
                        <c:v>153.43199999999999</c:v>
                      </c:pt>
                      <c:pt idx="138">
                        <c:v>153.43199999999999</c:v>
                      </c:pt>
                      <c:pt idx="139">
                        <c:v>153.43199999999999</c:v>
                      </c:pt>
                      <c:pt idx="140">
                        <c:v>153.43199999999999</c:v>
                      </c:pt>
                      <c:pt idx="141">
                        <c:v>131.04</c:v>
                      </c:pt>
                      <c:pt idx="142">
                        <c:v>132.072</c:v>
                      </c:pt>
                      <c:pt idx="143">
                        <c:v>132.072</c:v>
                      </c:pt>
                      <c:pt idx="144">
                        <c:v>132.072</c:v>
                      </c:pt>
                      <c:pt idx="145">
                        <c:v>132.072</c:v>
                      </c:pt>
                      <c:pt idx="146">
                        <c:v>132.072</c:v>
                      </c:pt>
                      <c:pt idx="147">
                        <c:v>132.072</c:v>
                      </c:pt>
                      <c:pt idx="148">
                        <c:v>132.072</c:v>
                      </c:pt>
                      <c:pt idx="149">
                        <c:v>132.072</c:v>
                      </c:pt>
                      <c:pt idx="150">
                        <c:v>137.01599999999999</c:v>
                      </c:pt>
                      <c:pt idx="151">
                        <c:v>137.01599999999999</c:v>
                      </c:pt>
                      <c:pt idx="152">
                        <c:v>137.01599999999999</c:v>
                      </c:pt>
                      <c:pt idx="153">
                        <c:v>139.608</c:v>
                      </c:pt>
                      <c:pt idx="154">
                        <c:v>139.608</c:v>
                      </c:pt>
                      <c:pt idx="155">
                        <c:v>139.608</c:v>
                      </c:pt>
                      <c:pt idx="156">
                        <c:v>139.608</c:v>
                      </c:pt>
                      <c:pt idx="157">
                        <c:v>139.608</c:v>
                      </c:pt>
                      <c:pt idx="158">
                        <c:v>139.608</c:v>
                      </c:pt>
                      <c:pt idx="159">
                        <c:v>139.608</c:v>
                      </c:pt>
                      <c:pt idx="160">
                        <c:v>139.608</c:v>
                      </c:pt>
                      <c:pt idx="161">
                        <c:v>119.688</c:v>
                      </c:pt>
                      <c:pt idx="162">
                        <c:v>119.688</c:v>
                      </c:pt>
                      <c:pt idx="163">
                        <c:v>119.688</c:v>
                      </c:pt>
                      <c:pt idx="164">
                        <c:v>119.688</c:v>
                      </c:pt>
                      <c:pt idx="165">
                        <c:v>119.688</c:v>
                      </c:pt>
                      <c:pt idx="166">
                        <c:v>120.864</c:v>
                      </c:pt>
                      <c:pt idx="167">
                        <c:v>120.864</c:v>
                      </c:pt>
                      <c:pt idx="168">
                        <c:v>114.55200000000001</c:v>
                      </c:pt>
                      <c:pt idx="169">
                        <c:v>114.55200000000001</c:v>
                      </c:pt>
                      <c:pt idx="170">
                        <c:v>114.55200000000001</c:v>
                      </c:pt>
                      <c:pt idx="171">
                        <c:v>114.55200000000001</c:v>
                      </c:pt>
                      <c:pt idx="172">
                        <c:v>114.55200000000001</c:v>
                      </c:pt>
                      <c:pt idx="173">
                        <c:v>114.55200000000001</c:v>
                      </c:pt>
                      <c:pt idx="174">
                        <c:v>114.55200000000001</c:v>
                      </c:pt>
                      <c:pt idx="175">
                        <c:v>114.55200000000001</c:v>
                      </c:pt>
                      <c:pt idx="176">
                        <c:v>122.08799999999999</c:v>
                      </c:pt>
                      <c:pt idx="177">
                        <c:v>122.08799999999999</c:v>
                      </c:pt>
                      <c:pt idx="178">
                        <c:v>122.08799999999999</c:v>
                      </c:pt>
                      <c:pt idx="179">
                        <c:v>122.08799999999999</c:v>
                      </c:pt>
                      <c:pt idx="180">
                        <c:v>122.08799999999999</c:v>
                      </c:pt>
                      <c:pt idx="181">
                        <c:v>122.08799999999999</c:v>
                      </c:pt>
                      <c:pt idx="182">
                        <c:v>126</c:v>
                      </c:pt>
                      <c:pt idx="183">
                        <c:v>126</c:v>
                      </c:pt>
                      <c:pt idx="184">
                        <c:v>126</c:v>
                      </c:pt>
                      <c:pt idx="185">
                        <c:v>126</c:v>
                      </c:pt>
                      <c:pt idx="186">
                        <c:v>126</c:v>
                      </c:pt>
                      <c:pt idx="187">
                        <c:v>126</c:v>
                      </c:pt>
                      <c:pt idx="188">
                        <c:v>126</c:v>
                      </c:pt>
                      <c:pt idx="189">
                        <c:v>126</c:v>
                      </c:pt>
                      <c:pt idx="190">
                        <c:v>126</c:v>
                      </c:pt>
                      <c:pt idx="191">
                        <c:v>126</c:v>
                      </c:pt>
                      <c:pt idx="192">
                        <c:v>126</c:v>
                      </c:pt>
                      <c:pt idx="193">
                        <c:v>123.792</c:v>
                      </c:pt>
                      <c:pt idx="194">
                        <c:v>115.512</c:v>
                      </c:pt>
                      <c:pt idx="195">
                        <c:v>115.512</c:v>
                      </c:pt>
                      <c:pt idx="196">
                        <c:v>115.512</c:v>
                      </c:pt>
                      <c:pt idx="197">
                        <c:v>115.512</c:v>
                      </c:pt>
                      <c:pt idx="198">
                        <c:v>115.512</c:v>
                      </c:pt>
                      <c:pt idx="199">
                        <c:v>115.512</c:v>
                      </c:pt>
                      <c:pt idx="200">
                        <c:v>115.512</c:v>
                      </c:pt>
                      <c:pt idx="201">
                        <c:v>115.512</c:v>
                      </c:pt>
                      <c:pt idx="202">
                        <c:v>115.512</c:v>
                      </c:pt>
                      <c:pt idx="203">
                        <c:v>115.512</c:v>
                      </c:pt>
                      <c:pt idx="204">
                        <c:v>115.512</c:v>
                      </c:pt>
                      <c:pt idx="205">
                        <c:v>115.512</c:v>
                      </c:pt>
                      <c:pt idx="206">
                        <c:v>121.34399999999999</c:v>
                      </c:pt>
                      <c:pt idx="207">
                        <c:v>121.34399999999999</c:v>
                      </c:pt>
                      <c:pt idx="208">
                        <c:v>121.34399999999999</c:v>
                      </c:pt>
                      <c:pt idx="209">
                        <c:v>121.34399999999999</c:v>
                      </c:pt>
                      <c:pt idx="210">
                        <c:v>121.34399999999999</c:v>
                      </c:pt>
                      <c:pt idx="211">
                        <c:v>121.34399999999999</c:v>
                      </c:pt>
                      <c:pt idx="212">
                        <c:v>121.3</c:v>
                      </c:pt>
                      <c:pt idx="213">
                        <c:v>136.68</c:v>
                      </c:pt>
                      <c:pt idx="214">
                        <c:v>136.68</c:v>
                      </c:pt>
                      <c:pt idx="215">
                        <c:v>136.68</c:v>
                      </c:pt>
                      <c:pt idx="216">
                        <c:v>136.68</c:v>
                      </c:pt>
                      <c:pt idx="217">
                        <c:v>170.83199999999999</c:v>
                      </c:pt>
                      <c:pt idx="218">
                        <c:v>170.83199999999999</c:v>
                      </c:pt>
                      <c:pt idx="219">
                        <c:v>170.83199999999999</c:v>
                      </c:pt>
                      <c:pt idx="220">
                        <c:v>170.83199999999999</c:v>
                      </c:pt>
                      <c:pt idx="221">
                        <c:v>170.83199999999999</c:v>
                      </c:pt>
                      <c:pt idx="222">
                        <c:v>170.83199999999999</c:v>
                      </c:pt>
                      <c:pt idx="223">
                        <c:v>170.83199999999999</c:v>
                      </c:pt>
                      <c:pt idx="224">
                        <c:v>215.61600000000001</c:v>
                      </c:pt>
                      <c:pt idx="225">
                        <c:v>215.61600000000001</c:v>
                      </c:pt>
                      <c:pt idx="226">
                        <c:v>215.61600000000001</c:v>
                      </c:pt>
                      <c:pt idx="227">
                        <c:v>215.61600000000001</c:v>
                      </c:pt>
                      <c:pt idx="228">
                        <c:v>215.61600000000001</c:v>
                      </c:pt>
                      <c:pt idx="229">
                        <c:v>215.61600000000001</c:v>
                      </c:pt>
                      <c:pt idx="230">
                        <c:v>215.61600000000001</c:v>
                      </c:pt>
                      <c:pt idx="231">
                        <c:v>215.61600000000001</c:v>
                      </c:pt>
                      <c:pt idx="232">
                        <c:v>189.45599999999999</c:v>
                      </c:pt>
                      <c:pt idx="233">
                        <c:v>189.45599999999999</c:v>
                      </c:pt>
                      <c:pt idx="234">
                        <c:v>189.45599999999999</c:v>
                      </c:pt>
                      <c:pt idx="235">
                        <c:v>191.73599999999999</c:v>
                      </c:pt>
                      <c:pt idx="236">
                        <c:v>191.73599999999999</c:v>
                      </c:pt>
                      <c:pt idx="237">
                        <c:v>191.73599999999999</c:v>
                      </c:pt>
                      <c:pt idx="238">
                        <c:v>191.73599999999999</c:v>
                      </c:pt>
                      <c:pt idx="239">
                        <c:v>191.73599999999999</c:v>
                      </c:pt>
                      <c:pt idx="240">
                        <c:v>191.73599999999999</c:v>
                      </c:pt>
                      <c:pt idx="241">
                        <c:v>191.73599999999999</c:v>
                      </c:pt>
                      <c:pt idx="242">
                        <c:v>191.73599999999999</c:v>
                      </c:pt>
                      <c:pt idx="243">
                        <c:v>173.04</c:v>
                      </c:pt>
                      <c:pt idx="244">
                        <c:v>173.04</c:v>
                      </c:pt>
                      <c:pt idx="245">
                        <c:v>173.04</c:v>
                      </c:pt>
                      <c:pt idx="246">
                        <c:v>173.04</c:v>
                      </c:pt>
                      <c:pt idx="247">
                        <c:v>173.04</c:v>
                      </c:pt>
                      <c:pt idx="248">
                        <c:v>173.04</c:v>
                      </c:pt>
                      <c:pt idx="249">
                        <c:v>173.04</c:v>
                      </c:pt>
                      <c:pt idx="250">
                        <c:v>169.72800000000001</c:v>
                      </c:pt>
                      <c:pt idx="251">
                        <c:v>128.44800000000001</c:v>
                      </c:pt>
                      <c:pt idx="252">
                        <c:v>128.44800000000001</c:v>
                      </c:pt>
                    </c:numCache>
                  </c:numRef>
                </c:yVal>
                <c:smooth val="1"/>
                <c:extLst xmlns:c15="http://schemas.microsoft.com/office/drawing/2012/chart">
                  <c:ext xmlns:c16="http://schemas.microsoft.com/office/drawing/2014/chart" uri="{C3380CC4-5D6E-409C-BE32-E72D297353CC}">
                    <c16:uniqueId val="{00000006-B1BA-4027-B324-9E28FECAA0B8}"/>
                  </c:ext>
                </c:extLst>
              </c15:ser>
            </c15:filteredScatterSeries>
            <c15:filteredScatterSeries>
              <c15:ser>
                <c:idx val="5"/>
                <c:order val="5"/>
                <c:tx>
                  <c:strRef>
                    <c:extLst xmlns:c15="http://schemas.microsoft.com/office/drawing/2012/chart">
                      <c:ext xmlns:c15="http://schemas.microsoft.com/office/drawing/2012/chart" uri="{02D57815-91ED-43cb-92C2-25804820EDAC}">
                        <c15:formulaRef>
                          <c15:sqref>'Combined rate'!$C$10</c15:sqref>
                        </c15:formulaRef>
                      </c:ext>
                    </c:extLst>
                    <c:strCache>
                      <c:ptCount val="1"/>
                      <c:pt idx="0">
                        <c:v>HELDERBERG  </c:v>
                      </c:pt>
                    </c:strCache>
                  </c:strRef>
                </c:tx>
                <c:spPr>
                  <a:ln w="19050" cap="rnd">
                    <a:solidFill>
                      <a:schemeClr val="accent6"/>
                    </a:solidFill>
                    <a:round/>
                  </a:ln>
                  <a:effectLst/>
                </c:spPr>
                <c:marker>
                  <c:symbol val="circle"/>
                  <c:size val="5"/>
                  <c:spPr>
                    <a:solidFill>
                      <a:schemeClr val="accent6"/>
                    </a:solidFill>
                    <a:ln w="9525">
                      <a:solidFill>
                        <a:schemeClr val="accent6"/>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10:$IY$10</c15:sqref>
                        </c15:formulaRef>
                      </c:ext>
                    </c:extLst>
                    <c:numCache>
                      <c:formatCode>0</c:formatCode>
                      <c:ptCount val="253"/>
                      <c:pt idx="0">
                        <c:v>326.76</c:v>
                      </c:pt>
                      <c:pt idx="1">
                        <c:v>307.65600000000001</c:v>
                      </c:pt>
                      <c:pt idx="2">
                        <c:v>307.65600000000001</c:v>
                      </c:pt>
                      <c:pt idx="3">
                        <c:v>307.65600000000001</c:v>
                      </c:pt>
                      <c:pt idx="4">
                        <c:v>388.488</c:v>
                      </c:pt>
                      <c:pt idx="5">
                        <c:v>428.904</c:v>
                      </c:pt>
                      <c:pt idx="6">
                        <c:v>449.11199999999997</c:v>
                      </c:pt>
                      <c:pt idx="7">
                        <c:v>469.32</c:v>
                      </c:pt>
                      <c:pt idx="8">
                        <c:v>424.56</c:v>
                      </c:pt>
                      <c:pt idx="9">
                        <c:v>437.928</c:v>
                      </c:pt>
                      <c:pt idx="10">
                        <c:v>437.928</c:v>
                      </c:pt>
                      <c:pt idx="11">
                        <c:v>437.928</c:v>
                      </c:pt>
                      <c:pt idx="12">
                        <c:v>437.928</c:v>
                      </c:pt>
                      <c:pt idx="13">
                        <c:v>429.52800000000002</c:v>
                      </c:pt>
                      <c:pt idx="14">
                        <c:v>421.12799999999999</c:v>
                      </c:pt>
                      <c:pt idx="15">
                        <c:v>421.12799999999999</c:v>
                      </c:pt>
                      <c:pt idx="16">
                        <c:v>409.32</c:v>
                      </c:pt>
                      <c:pt idx="17">
                        <c:v>408.26400000000001</c:v>
                      </c:pt>
                      <c:pt idx="18">
                        <c:v>408.26400000000001</c:v>
                      </c:pt>
                      <c:pt idx="19">
                        <c:v>456.61199999999997</c:v>
                      </c:pt>
                      <c:pt idx="20">
                        <c:v>480.78599999999994</c:v>
                      </c:pt>
                      <c:pt idx="21">
                        <c:v>504.96</c:v>
                      </c:pt>
                      <c:pt idx="22">
                        <c:v>488.94</c:v>
                      </c:pt>
                      <c:pt idx="23">
                        <c:v>472.92</c:v>
                      </c:pt>
                      <c:pt idx="24">
                        <c:v>428.49599999999998</c:v>
                      </c:pt>
                      <c:pt idx="25">
                        <c:v>442.95600000000002</c:v>
                      </c:pt>
                      <c:pt idx="26">
                        <c:v>450.18600000000004</c:v>
                      </c:pt>
                      <c:pt idx="27">
                        <c:v>453.80100000000004</c:v>
                      </c:pt>
                      <c:pt idx="28">
                        <c:v>457.416</c:v>
                      </c:pt>
                      <c:pt idx="29">
                        <c:v>491.49599999999998</c:v>
                      </c:pt>
                      <c:pt idx="30">
                        <c:v>491.49599999999998</c:v>
                      </c:pt>
                      <c:pt idx="31">
                        <c:v>491.59199999999998</c:v>
                      </c:pt>
                      <c:pt idx="32">
                        <c:v>491.59199999999998</c:v>
                      </c:pt>
                      <c:pt idx="33">
                        <c:v>449.65199999999999</c:v>
                      </c:pt>
                      <c:pt idx="34">
                        <c:v>428.68200000000002</c:v>
                      </c:pt>
                      <c:pt idx="35">
                        <c:v>407.71199999999999</c:v>
                      </c:pt>
                      <c:pt idx="36">
                        <c:v>407.83199999999999</c:v>
                      </c:pt>
                      <c:pt idx="37">
                        <c:v>409.12799999999999</c:v>
                      </c:pt>
                      <c:pt idx="38">
                        <c:v>409.12799999999999</c:v>
                      </c:pt>
                      <c:pt idx="39">
                        <c:v>477.64800000000002</c:v>
                      </c:pt>
                      <c:pt idx="40">
                        <c:v>477.64800000000002</c:v>
                      </c:pt>
                      <c:pt idx="41">
                        <c:v>477.72</c:v>
                      </c:pt>
                      <c:pt idx="42">
                        <c:v>477.72</c:v>
                      </c:pt>
                      <c:pt idx="43">
                        <c:v>515.64</c:v>
                      </c:pt>
                      <c:pt idx="44">
                        <c:v>515.64</c:v>
                      </c:pt>
                      <c:pt idx="45">
                        <c:v>515.66399999999999</c:v>
                      </c:pt>
                      <c:pt idx="46">
                        <c:v>530.952</c:v>
                      </c:pt>
                      <c:pt idx="47">
                        <c:v>530.952</c:v>
                      </c:pt>
                      <c:pt idx="48">
                        <c:v>530.952</c:v>
                      </c:pt>
                      <c:pt idx="49">
                        <c:v>530.952</c:v>
                      </c:pt>
                      <c:pt idx="50">
                        <c:v>458.80799999999999</c:v>
                      </c:pt>
                      <c:pt idx="51">
                        <c:v>458.80799999999999</c:v>
                      </c:pt>
                      <c:pt idx="52">
                        <c:v>458.80799999999999</c:v>
                      </c:pt>
                      <c:pt idx="53">
                        <c:v>458.80799999999999</c:v>
                      </c:pt>
                      <c:pt idx="54">
                        <c:v>454.92</c:v>
                      </c:pt>
                      <c:pt idx="55">
                        <c:v>455.08800000000002</c:v>
                      </c:pt>
                      <c:pt idx="56">
                        <c:v>455.08800000000002</c:v>
                      </c:pt>
                      <c:pt idx="57">
                        <c:v>455.08800000000002</c:v>
                      </c:pt>
                      <c:pt idx="58">
                        <c:v>441.6</c:v>
                      </c:pt>
                      <c:pt idx="59">
                        <c:v>441.6</c:v>
                      </c:pt>
                      <c:pt idx="60">
                        <c:v>429.12</c:v>
                      </c:pt>
                      <c:pt idx="61">
                        <c:v>429.24</c:v>
                      </c:pt>
                      <c:pt idx="62">
                        <c:v>429.24</c:v>
                      </c:pt>
                      <c:pt idx="63">
                        <c:v>457.89600000000002</c:v>
                      </c:pt>
                      <c:pt idx="64">
                        <c:v>457.89600000000002</c:v>
                      </c:pt>
                      <c:pt idx="65">
                        <c:v>453.38400000000001</c:v>
                      </c:pt>
                      <c:pt idx="66">
                        <c:v>447.33600000000001</c:v>
                      </c:pt>
                      <c:pt idx="67">
                        <c:v>447.33600000000001</c:v>
                      </c:pt>
                      <c:pt idx="68">
                        <c:v>447.33600000000001</c:v>
                      </c:pt>
                      <c:pt idx="69">
                        <c:v>425.904</c:v>
                      </c:pt>
                      <c:pt idx="70">
                        <c:v>426.6</c:v>
                      </c:pt>
                      <c:pt idx="71">
                        <c:v>426.6</c:v>
                      </c:pt>
                      <c:pt idx="72">
                        <c:v>426.6</c:v>
                      </c:pt>
                      <c:pt idx="73">
                        <c:v>426.6</c:v>
                      </c:pt>
                      <c:pt idx="74">
                        <c:v>427.512</c:v>
                      </c:pt>
                      <c:pt idx="75">
                        <c:v>427.512</c:v>
                      </c:pt>
                      <c:pt idx="76">
                        <c:v>427.512</c:v>
                      </c:pt>
                      <c:pt idx="77">
                        <c:v>427.512</c:v>
                      </c:pt>
                      <c:pt idx="78">
                        <c:v>416.928</c:v>
                      </c:pt>
                      <c:pt idx="79">
                        <c:v>419.13600000000002</c:v>
                      </c:pt>
                      <c:pt idx="80">
                        <c:v>419.13600000000002</c:v>
                      </c:pt>
                      <c:pt idx="81">
                        <c:v>419.13600000000002</c:v>
                      </c:pt>
                      <c:pt idx="82">
                        <c:v>419.13600000000002</c:v>
                      </c:pt>
                      <c:pt idx="83">
                        <c:v>411.88799999999998</c:v>
                      </c:pt>
                      <c:pt idx="84">
                        <c:v>411.88799999999998</c:v>
                      </c:pt>
                      <c:pt idx="85">
                        <c:v>411.88799999999998</c:v>
                      </c:pt>
                      <c:pt idx="86">
                        <c:v>412.392</c:v>
                      </c:pt>
                      <c:pt idx="87">
                        <c:v>411.67200000000003</c:v>
                      </c:pt>
                      <c:pt idx="88">
                        <c:v>411.67200000000003</c:v>
                      </c:pt>
                      <c:pt idx="89">
                        <c:v>408.6</c:v>
                      </c:pt>
                      <c:pt idx="90">
                        <c:v>408.91199999999998</c:v>
                      </c:pt>
                      <c:pt idx="91">
                        <c:v>408.91199999999998</c:v>
                      </c:pt>
                      <c:pt idx="92">
                        <c:v>420.67200000000003</c:v>
                      </c:pt>
                      <c:pt idx="93">
                        <c:v>421.68</c:v>
                      </c:pt>
                      <c:pt idx="94">
                        <c:v>421.68</c:v>
                      </c:pt>
                      <c:pt idx="95">
                        <c:v>434.80799999999999</c:v>
                      </c:pt>
                      <c:pt idx="96">
                        <c:v>434.80799999999999</c:v>
                      </c:pt>
                      <c:pt idx="97">
                        <c:v>435.26400000000001</c:v>
                      </c:pt>
                      <c:pt idx="98">
                        <c:v>435.26400000000001</c:v>
                      </c:pt>
                      <c:pt idx="99">
                        <c:v>412.03199999999998</c:v>
                      </c:pt>
                      <c:pt idx="100">
                        <c:v>412.03199999999998</c:v>
                      </c:pt>
                      <c:pt idx="101">
                        <c:v>416.4</c:v>
                      </c:pt>
                      <c:pt idx="102">
                        <c:v>416.4</c:v>
                      </c:pt>
                      <c:pt idx="103">
                        <c:v>416.64</c:v>
                      </c:pt>
                      <c:pt idx="104">
                        <c:v>400.8</c:v>
                      </c:pt>
                      <c:pt idx="105">
                        <c:v>400.8</c:v>
                      </c:pt>
                      <c:pt idx="106">
                        <c:v>404.78399999999999</c:v>
                      </c:pt>
                      <c:pt idx="107">
                        <c:v>404.78399999999999</c:v>
                      </c:pt>
                      <c:pt idx="108">
                        <c:v>404.78399999999999</c:v>
                      </c:pt>
                      <c:pt idx="109">
                        <c:v>401.37599999999998</c:v>
                      </c:pt>
                      <c:pt idx="110">
                        <c:v>401.73599999999999</c:v>
                      </c:pt>
                      <c:pt idx="111">
                        <c:v>401.73599999999999</c:v>
                      </c:pt>
                      <c:pt idx="112">
                        <c:v>415.87200000000001</c:v>
                      </c:pt>
                      <c:pt idx="113">
                        <c:v>415.87200000000001</c:v>
                      </c:pt>
                      <c:pt idx="114">
                        <c:v>416.16</c:v>
                      </c:pt>
                      <c:pt idx="115">
                        <c:v>416.16</c:v>
                      </c:pt>
                      <c:pt idx="116">
                        <c:v>432.14400000000001</c:v>
                      </c:pt>
                      <c:pt idx="117">
                        <c:v>432.14400000000001</c:v>
                      </c:pt>
                      <c:pt idx="118">
                        <c:v>432.52800000000002</c:v>
                      </c:pt>
                      <c:pt idx="119">
                        <c:v>419.20800000000003</c:v>
                      </c:pt>
                      <c:pt idx="120">
                        <c:v>419.20800000000003</c:v>
                      </c:pt>
                      <c:pt idx="121">
                        <c:v>419.20800000000003</c:v>
                      </c:pt>
                      <c:pt idx="122">
                        <c:v>419.20800000000003</c:v>
                      </c:pt>
                      <c:pt idx="123">
                        <c:v>431.37599999999998</c:v>
                      </c:pt>
                      <c:pt idx="124">
                        <c:v>416.06400000000002</c:v>
                      </c:pt>
                      <c:pt idx="125">
                        <c:v>416.23200000000003</c:v>
                      </c:pt>
                      <c:pt idx="126">
                        <c:v>416.23200000000003</c:v>
                      </c:pt>
                      <c:pt idx="127">
                        <c:v>416.23200000000003</c:v>
                      </c:pt>
                      <c:pt idx="128">
                        <c:v>431.68799999999999</c:v>
                      </c:pt>
                      <c:pt idx="129">
                        <c:v>431.68799999999999</c:v>
                      </c:pt>
                      <c:pt idx="130">
                        <c:v>431.68799999999999</c:v>
                      </c:pt>
                      <c:pt idx="131">
                        <c:v>427.27199999999999</c:v>
                      </c:pt>
                      <c:pt idx="132">
                        <c:v>427.27199999999999</c:v>
                      </c:pt>
                      <c:pt idx="133">
                        <c:v>427.27199999999999</c:v>
                      </c:pt>
                      <c:pt idx="134">
                        <c:v>427.488</c:v>
                      </c:pt>
                      <c:pt idx="135">
                        <c:v>408.67200000000003</c:v>
                      </c:pt>
                      <c:pt idx="136">
                        <c:v>408.33600000000001</c:v>
                      </c:pt>
                      <c:pt idx="137">
                        <c:v>408.33600000000001</c:v>
                      </c:pt>
                      <c:pt idx="138">
                        <c:v>426.81599999999997</c:v>
                      </c:pt>
                      <c:pt idx="139">
                        <c:v>455.78399999999999</c:v>
                      </c:pt>
                      <c:pt idx="140">
                        <c:v>455.928</c:v>
                      </c:pt>
                      <c:pt idx="141">
                        <c:v>455.928</c:v>
                      </c:pt>
                      <c:pt idx="142">
                        <c:v>455.928</c:v>
                      </c:pt>
                      <c:pt idx="143">
                        <c:v>456.21600000000001</c:v>
                      </c:pt>
                      <c:pt idx="144">
                        <c:v>437.83199999999999</c:v>
                      </c:pt>
                      <c:pt idx="145">
                        <c:v>437.78399999999999</c:v>
                      </c:pt>
                      <c:pt idx="146">
                        <c:v>437.78399999999999</c:v>
                      </c:pt>
                      <c:pt idx="147">
                        <c:v>412.29599999999999</c:v>
                      </c:pt>
                      <c:pt idx="148">
                        <c:v>412.29599999999999</c:v>
                      </c:pt>
                      <c:pt idx="149">
                        <c:v>438.096</c:v>
                      </c:pt>
                      <c:pt idx="150">
                        <c:v>438.096</c:v>
                      </c:pt>
                      <c:pt idx="151">
                        <c:v>438.19200000000001</c:v>
                      </c:pt>
                      <c:pt idx="152">
                        <c:v>438.19200000000001</c:v>
                      </c:pt>
                      <c:pt idx="153">
                        <c:v>438.62400000000002</c:v>
                      </c:pt>
                      <c:pt idx="154">
                        <c:v>439.08</c:v>
                      </c:pt>
                      <c:pt idx="155">
                        <c:v>439.08</c:v>
                      </c:pt>
                      <c:pt idx="156">
                        <c:v>452.23200000000003</c:v>
                      </c:pt>
                      <c:pt idx="157">
                        <c:v>452.23200000000003</c:v>
                      </c:pt>
                      <c:pt idx="158">
                        <c:v>452.23200000000003</c:v>
                      </c:pt>
                      <c:pt idx="159">
                        <c:v>459.38400000000001</c:v>
                      </c:pt>
                      <c:pt idx="160">
                        <c:v>459.096</c:v>
                      </c:pt>
                      <c:pt idx="161">
                        <c:v>459.096</c:v>
                      </c:pt>
                      <c:pt idx="162">
                        <c:v>450.19200000000001</c:v>
                      </c:pt>
                      <c:pt idx="163">
                        <c:v>450.19200000000001</c:v>
                      </c:pt>
                      <c:pt idx="164">
                        <c:v>450.19200000000001</c:v>
                      </c:pt>
                      <c:pt idx="165">
                        <c:v>438.024</c:v>
                      </c:pt>
                      <c:pt idx="166">
                        <c:v>438.024</c:v>
                      </c:pt>
                      <c:pt idx="167">
                        <c:v>438.024</c:v>
                      </c:pt>
                      <c:pt idx="168">
                        <c:v>438.50400000000002</c:v>
                      </c:pt>
                      <c:pt idx="169">
                        <c:v>450.048</c:v>
                      </c:pt>
                      <c:pt idx="170">
                        <c:v>450.048</c:v>
                      </c:pt>
                      <c:pt idx="171">
                        <c:v>446.59199999999998</c:v>
                      </c:pt>
                      <c:pt idx="172">
                        <c:v>446.59199999999998</c:v>
                      </c:pt>
                      <c:pt idx="173">
                        <c:v>446.59199999999998</c:v>
                      </c:pt>
                      <c:pt idx="174">
                        <c:v>444.096</c:v>
                      </c:pt>
                      <c:pt idx="175">
                        <c:v>444.28800000000001</c:v>
                      </c:pt>
                      <c:pt idx="176">
                        <c:v>448.2</c:v>
                      </c:pt>
                      <c:pt idx="177">
                        <c:v>448.2</c:v>
                      </c:pt>
                      <c:pt idx="178">
                        <c:v>448.2</c:v>
                      </c:pt>
                      <c:pt idx="179">
                        <c:v>448.2</c:v>
                      </c:pt>
                      <c:pt idx="180">
                        <c:v>448.416</c:v>
                      </c:pt>
                      <c:pt idx="181">
                        <c:v>451.96800000000002</c:v>
                      </c:pt>
                      <c:pt idx="182">
                        <c:v>451.96800000000002</c:v>
                      </c:pt>
                      <c:pt idx="183">
                        <c:v>451.8</c:v>
                      </c:pt>
                      <c:pt idx="184">
                        <c:v>478.10399999999998</c:v>
                      </c:pt>
                      <c:pt idx="185">
                        <c:v>481.72800000000001</c:v>
                      </c:pt>
                      <c:pt idx="186">
                        <c:v>481.87200000000001</c:v>
                      </c:pt>
                      <c:pt idx="187">
                        <c:v>503.76</c:v>
                      </c:pt>
                      <c:pt idx="188">
                        <c:v>503.76</c:v>
                      </c:pt>
                      <c:pt idx="189">
                        <c:v>504.12</c:v>
                      </c:pt>
                      <c:pt idx="190">
                        <c:v>504.12</c:v>
                      </c:pt>
                      <c:pt idx="191">
                        <c:v>509.66399999999999</c:v>
                      </c:pt>
                      <c:pt idx="192">
                        <c:v>509.66399999999999</c:v>
                      </c:pt>
                      <c:pt idx="193">
                        <c:v>517.10400000000004</c:v>
                      </c:pt>
                      <c:pt idx="194">
                        <c:v>517.36800000000005</c:v>
                      </c:pt>
                      <c:pt idx="195">
                        <c:v>527.20799999999997</c:v>
                      </c:pt>
                      <c:pt idx="196">
                        <c:v>527.20799999999997</c:v>
                      </c:pt>
                      <c:pt idx="197">
                        <c:v>595.10400000000004</c:v>
                      </c:pt>
                      <c:pt idx="198">
                        <c:v>595.10400000000004</c:v>
                      </c:pt>
                      <c:pt idx="199">
                        <c:v>595.10400000000004</c:v>
                      </c:pt>
                      <c:pt idx="200">
                        <c:v>627.55200000000002</c:v>
                      </c:pt>
                      <c:pt idx="201">
                        <c:v>667.44</c:v>
                      </c:pt>
                      <c:pt idx="202">
                        <c:v>738.79200000000003</c:v>
                      </c:pt>
                      <c:pt idx="203">
                        <c:v>738.79200000000003</c:v>
                      </c:pt>
                      <c:pt idx="204">
                        <c:v>738.79200000000003</c:v>
                      </c:pt>
                      <c:pt idx="205">
                        <c:v>627.31200000000001</c:v>
                      </c:pt>
                      <c:pt idx="206">
                        <c:v>769.00800000000004</c:v>
                      </c:pt>
                      <c:pt idx="207">
                        <c:v>903.31200000000001</c:v>
                      </c:pt>
                      <c:pt idx="208">
                        <c:v>1012.224</c:v>
                      </c:pt>
                      <c:pt idx="209">
                        <c:v>1014.84</c:v>
                      </c:pt>
                      <c:pt idx="210">
                        <c:v>903.31200000000001</c:v>
                      </c:pt>
                      <c:pt idx="211">
                        <c:v>1029.096</c:v>
                      </c:pt>
                      <c:pt idx="212">
                        <c:v>1102.0999999999999</c:v>
                      </c:pt>
                      <c:pt idx="213">
                        <c:v>1193.6400000000001</c:v>
                      </c:pt>
                      <c:pt idx="214">
                        <c:v>1193.6400000000001</c:v>
                      </c:pt>
                      <c:pt idx="215">
                        <c:v>1174.92</c:v>
                      </c:pt>
                      <c:pt idx="216">
                        <c:v>1201.4639999999999</c:v>
                      </c:pt>
                      <c:pt idx="217">
                        <c:v>1201.4639999999999</c:v>
                      </c:pt>
                      <c:pt idx="218">
                        <c:v>1201.4639999999999</c:v>
                      </c:pt>
                      <c:pt idx="219">
                        <c:v>1236.248</c:v>
                      </c:pt>
                      <c:pt idx="220">
                        <c:v>1288.4880000000001</c:v>
                      </c:pt>
                      <c:pt idx="221">
                        <c:v>1288.4880000000001</c:v>
                      </c:pt>
                      <c:pt idx="222">
                        <c:v>1332.4559999999999</c:v>
                      </c:pt>
                      <c:pt idx="223">
                        <c:v>1332.4559999999999</c:v>
                      </c:pt>
                      <c:pt idx="224">
                        <c:v>1384.5840000000001</c:v>
                      </c:pt>
                      <c:pt idx="225">
                        <c:v>1384.5840000000001</c:v>
                      </c:pt>
                      <c:pt idx="226">
                        <c:v>1384.5840000000001</c:v>
                      </c:pt>
                      <c:pt idx="227">
                        <c:v>979.17600000000004</c:v>
                      </c:pt>
                      <c:pt idx="228">
                        <c:v>927.98400000000004</c:v>
                      </c:pt>
                      <c:pt idx="229">
                        <c:v>1015.872</c:v>
                      </c:pt>
                      <c:pt idx="230">
                        <c:v>965.68799999999999</c:v>
                      </c:pt>
                      <c:pt idx="231">
                        <c:v>849.64800000000002</c:v>
                      </c:pt>
                      <c:pt idx="232">
                        <c:v>1006.776</c:v>
                      </c:pt>
                      <c:pt idx="233">
                        <c:v>1006.776</c:v>
                      </c:pt>
                      <c:pt idx="234">
                        <c:v>1006.776</c:v>
                      </c:pt>
                      <c:pt idx="235">
                        <c:v>930.84</c:v>
                      </c:pt>
                      <c:pt idx="236">
                        <c:v>876.40800000000002</c:v>
                      </c:pt>
                      <c:pt idx="237">
                        <c:v>876.40800000000002</c:v>
                      </c:pt>
                      <c:pt idx="238">
                        <c:v>876.40800000000002</c:v>
                      </c:pt>
                      <c:pt idx="239">
                        <c:v>684.86400000000003</c:v>
                      </c:pt>
                      <c:pt idx="240">
                        <c:v>707.88</c:v>
                      </c:pt>
                      <c:pt idx="241">
                        <c:v>707.88</c:v>
                      </c:pt>
                      <c:pt idx="242">
                        <c:v>707.88</c:v>
                      </c:pt>
                      <c:pt idx="243">
                        <c:v>685.87199999999996</c:v>
                      </c:pt>
                      <c:pt idx="244">
                        <c:v>651.16800000000001</c:v>
                      </c:pt>
                      <c:pt idx="245">
                        <c:v>785.64</c:v>
                      </c:pt>
                      <c:pt idx="246">
                        <c:v>822.26400000000001</c:v>
                      </c:pt>
                      <c:pt idx="247">
                        <c:v>804.76800000000003</c:v>
                      </c:pt>
                      <c:pt idx="248">
                        <c:v>804.76800000000003</c:v>
                      </c:pt>
                      <c:pt idx="249">
                        <c:v>745.00800000000004</c:v>
                      </c:pt>
                      <c:pt idx="250">
                        <c:v>745.00800000000004</c:v>
                      </c:pt>
                      <c:pt idx="251">
                        <c:v>690.12</c:v>
                      </c:pt>
                      <c:pt idx="252">
                        <c:v>695.25599999999997</c:v>
                      </c:pt>
                    </c:numCache>
                  </c:numRef>
                </c:yVal>
                <c:smooth val="1"/>
                <c:extLst xmlns:c15="http://schemas.microsoft.com/office/drawing/2012/chart">
                  <c:ext xmlns:c16="http://schemas.microsoft.com/office/drawing/2014/chart" uri="{C3380CC4-5D6E-409C-BE32-E72D297353CC}">
                    <c16:uniqueId val="{00000007-B1BA-4027-B324-9E28FECAA0B8}"/>
                  </c:ext>
                </c:extLst>
              </c15:ser>
            </c15:filteredScatterSeries>
            <c15:filteredScatterSeries>
              <c15:ser>
                <c:idx val="6"/>
                <c:order val="6"/>
                <c:tx>
                  <c:strRef>
                    <c:extLst xmlns:c15="http://schemas.microsoft.com/office/drawing/2012/chart">
                      <c:ext xmlns:c15="http://schemas.microsoft.com/office/drawing/2012/chart" uri="{02D57815-91ED-43cb-92C2-25804820EDAC}">
                        <c15:formulaRef>
                          <c15:sqref>'Combined rate'!$C$11</c15:sqref>
                        </c15:formulaRef>
                      </c:ext>
                    </c:extLst>
                    <c:strCache>
                      <c:ptCount val="1"/>
                      <c:pt idx="0">
                        <c:v>KARL BREMER  </c:v>
                      </c:pt>
                    </c:strCache>
                  </c:strRef>
                </c:tx>
                <c:spPr>
                  <a:ln w="19050"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11:$IY$11</c15:sqref>
                        </c15:formulaRef>
                      </c:ext>
                    </c:extLst>
                    <c:numCache>
                      <c:formatCode>0</c:formatCode>
                      <c:ptCount val="253"/>
                      <c:pt idx="0">
                        <c:v>515.71199999999999</c:v>
                      </c:pt>
                      <c:pt idx="1">
                        <c:v>602.13599999999997</c:v>
                      </c:pt>
                      <c:pt idx="2">
                        <c:v>602.13599999999997</c:v>
                      </c:pt>
                      <c:pt idx="3">
                        <c:v>602.13599999999997</c:v>
                      </c:pt>
                      <c:pt idx="4">
                        <c:v>602.13599999999997</c:v>
                      </c:pt>
                      <c:pt idx="5">
                        <c:v>602.13599999999997</c:v>
                      </c:pt>
                      <c:pt idx="6">
                        <c:v>602.13599999999997</c:v>
                      </c:pt>
                      <c:pt idx="7">
                        <c:v>602.13599999999997</c:v>
                      </c:pt>
                      <c:pt idx="8">
                        <c:v>738.19200000000001</c:v>
                      </c:pt>
                      <c:pt idx="9">
                        <c:v>738.19200000000001</c:v>
                      </c:pt>
                      <c:pt idx="10">
                        <c:v>738.19200000000001</c:v>
                      </c:pt>
                      <c:pt idx="11">
                        <c:v>951.64800000000002</c:v>
                      </c:pt>
                      <c:pt idx="12">
                        <c:v>951.64800000000002</c:v>
                      </c:pt>
                      <c:pt idx="13">
                        <c:v>983.37599999999998</c:v>
                      </c:pt>
                      <c:pt idx="14">
                        <c:v>1015.104</c:v>
                      </c:pt>
                      <c:pt idx="15">
                        <c:v>1015.104</c:v>
                      </c:pt>
                      <c:pt idx="16">
                        <c:v>1015.104</c:v>
                      </c:pt>
                      <c:pt idx="17">
                        <c:v>922.51199999999994</c:v>
                      </c:pt>
                      <c:pt idx="18">
                        <c:v>922.51199999999994</c:v>
                      </c:pt>
                      <c:pt idx="19">
                        <c:v>916.52399999999989</c:v>
                      </c:pt>
                      <c:pt idx="20">
                        <c:v>913.53</c:v>
                      </c:pt>
                      <c:pt idx="21">
                        <c:v>910.53599999999994</c:v>
                      </c:pt>
                      <c:pt idx="22">
                        <c:v>858.98399999999992</c:v>
                      </c:pt>
                      <c:pt idx="23">
                        <c:v>807.43200000000002</c:v>
                      </c:pt>
                      <c:pt idx="24">
                        <c:v>807.43200000000002</c:v>
                      </c:pt>
                      <c:pt idx="25">
                        <c:v>811.66800000000001</c:v>
                      </c:pt>
                      <c:pt idx="26">
                        <c:v>813.78600000000006</c:v>
                      </c:pt>
                      <c:pt idx="27">
                        <c:v>814.84500000000003</c:v>
                      </c:pt>
                      <c:pt idx="28">
                        <c:v>815.904</c:v>
                      </c:pt>
                      <c:pt idx="29">
                        <c:v>815.904</c:v>
                      </c:pt>
                      <c:pt idx="30">
                        <c:v>815.904</c:v>
                      </c:pt>
                      <c:pt idx="31">
                        <c:v>815.904</c:v>
                      </c:pt>
                      <c:pt idx="32">
                        <c:v>815.904</c:v>
                      </c:pt>
                      <c:pt idx="33">
                        <c:v>773.77199999999993</c:v>
                      </c:pt>
                      <c:pt idx="34">
                        <c:v>752.7059999999999</c:v>
                      </c:pt>
                      <c:pt idx="35">
                        <c:v>731.64</c:v>
                      </c:pt>
                      <c:pt idx="36">
                        <c:v>731.64</c:v>
                      </c:pt>
                      <c:pt idx="37">
                        <c:v>704.04</c:v>
                      </c:pt>
                      <c:pt idx="38">
                        <c:v>704.04</c:v>
                      </c:pt>
                      <c:pt idx="39">
                        <c:v>704.04</c:v>
                      </c:pt>
                      <c:pt idx="40">
                        <c:v>809.83199999999999</c:v>
                      </c:pt>
                      <c:pt idx="41">
                        <c:v>809.83199999999999</c:v>
                      </c:pt>
                      <c:pt idx="42">
                        <c:v>809.83199999999999</c:v>
                      </c:pt>
                      <c:pt idx="43">
                        <c:v>809.83199999999999</c:v>
                      </c:pt>
                      <c:pt idx="44">
                        <c:v>809.83199999999999</c:v>
                      </c:pt>
                      <c:pt idx="45">
                        <c:v>809.83199999999999</c:v>
                      </c:pt>
                      <c:pt idx="46">
                        <c:v>851.04</c:v>
                      </c:pt>
                      <c:pt idx="47">
                        <c:v>851.04</c:v>
                      </c:pt>
                      <c:pt idx="48">
                        <c:v>851.04</c:v>
                      </c:pt>
                      <c:pt idx="49">
                        <c:v>851.04</c:v>
                      </c:pt>
                      <c:pt idx="50">
                        <c:v>756.6</c:v>
                      </c:pt>
                      <c:pt idx="51">
                        <c:v>756.6</c:v>
                      </c:pt>
                      <c:pt idx="52">
                        <c:v>756.6</c:v>
                      </c:pt>
                      <c:pt idx="53">
                        <c:v>756.6</c:v>
                      </c:pt>
                      <c:pt idx="54">
                        <c:v>519.88800000000003</c:v>
                      </c:pt>
                      <c:pt idx="55">
                        <c:v>519.88800000000003</c:v>
                      </c:pt>
                      <c:pt idx="56">
                        <c:v>519.88800000000003</c:v>
                      </c:pt>
                      <c:pt idx="57">
                        <c:v>519.88800000000003</c:v>
                      </c:pt>
                      <c:pt idx="58">
                        <c:v>519.88800000000003</c:v>
                      </c:pt>
                      <c:pt idx="59">
                        <c:v>522.28800000000001</c:v>
                      </c:pt>
                      <c:pt idx="60">
                        <c:v>522.28800000000001</c:v>
                      </c:pt>
                      <c:pt idx="61">
                        <c:v>522.28800000000001</c:v>
                      </c:pt>
                      <c:pt idx="62">
                        <c:v>520.99199999999996</c:v>
                      </c:pt>
                      <c:pt idx="63">
                        <c:v>520.99199999999996</c:v>
                      </c:pt>
                      <c:pt idx="64">
                        <c:v>520.99199999999996</c:v>
                      </c:pt>
                      <c:pt idx="65">
                        <c:v>661.32</c:v>
                      </c:pt>
                      <c:pt idx="66">
                        <c:v>661.32</c:v>
                      </c:pt>
                      <c:pt idx="67">
                        <c:v>661.32</c:v>
                      </c:pt>
                      <c:pt idx="68">
                        <c:v>661.32</c:v>
                      </c:pt>
                      <c:pt idx="69">
                        <c:v>740.04</c:v>
                      </c:pt>
                      <c:pt idx="70">
                        <c:v>705.33600000000001</c:v>
                      </c:pt>
                      <c:pt idx="71">
                        <c:v>705.33600000000001</c:v>
                      </c:pt>
                      <c:pt idx="72">
                        <c:v>705.33600000000001</c:v>
                      </c:pt>
                      <c:pt idx="73">
                        <c:v>705.33600000000001</c:v>
                      </c:pt>
                      <c:pt idx="74">
                        <c:v>728.18399999999997</c:v>
                      </c:pt>
                      <c:pt idx="75">
                        <c:v>542.78399999999999</c:v>
                      </c:pt>
                      <c:pt idx="76">
                        <c:v>542.78399999999999</c:v>
                      </c:pt>
                      <c:pt idx="77">
                        <c:v>542.78399999999999</c:v>
                      </c:pt>
                      <c:pt idx="78">
                        <c:v>460.488</c:v>
                      </c:pt>
                      <c:pt idx="79">
                        <c:v>564.6</c:v>
                      </c:pt>
                      <c:pt idx="80">
                        <c:v>564.6</c:v>
                      </c:pt>
                      <c:pt idx="81">
                        <c:v>564.6</c:v>
                      </c:pt>
                      <c:pt idx="82">
                        <c:v>564.6</c:v>
                      </c:pt>
                      <c:pt idx="83">
                        <c:v>768.50400000000002</c:v>
                      </c:pt>
                      <c:pt idx="84">
                        <c:v>768.50400000000002</c:v>
                      </c:pt>
                      <c:pt idx="85">
                        <c:v>768.50400000000002</c:v>
                      </c:pt>
                      <c:pt idx="86">
                        <c:v>768.50400000000002</c:v>
                      </c:pt>
                      <c:pt idx="87">
                        <c:v>664.84799999999996</c:v>
                      </c:pt>
                      <c:pt idx="88">
                        <c:v>664.84799999999996</c:v>
                      </c:pt>
                      <c:pt idx="89">
                        <c:v>492.91199999999998</c:v>
                      </c:pt>
                      <c:pt idx="90">
                        <c:v>492.91199999999998</c:v>
                      </c:pt>
                      <c:pt idx="91">
                        <c:v>492.91199999999998</c:v>
                      </c:pt>
                      <c:pt idx="92">
                        <c:v>497.42399999999998</c:v>
                      </c:pt>
                      <c:pt idx="93">
                        <c:v>497.42399999999998</c:v>
                      </c:pt>
                      <c:pt idx="94">
                        <c:v>497.42399999999998</c:v>
                      </c:pt>
                      <c:pt idx="95">
                        <c:v>510.21600000000001</c:v>
                      </c:pt>
                      <c:pt idx="96">
                        <c:v>510.21600000000001</c:v>
                      </c:pt>
                      <c:pt idx="97">
                        <c:v>510.21600000000001</c:v>
                      </c:pt>
                      <c:pt idx="98">
                        <c:v>510.21600000000001</c:v>
                      </c:pt>
                      <c:pt idx="99">
                        <c:v>566.16</c:v>
                      </c:pt>
                      <c:pt idx="100">
                        <c:v>566.16</c:v>
                      </c:pt>
                      <c:pt idx="101">
                        <c:v>566.16</c:v>
                      </c:pt>
                      <c:pt idx="102">
                        <c:v>566.16</c:v>
                      </c:pt>
                      <c:pt idx="103">
                        <c:v>566.16</c:v>
                      </c:pt>
                      <c:pt idx="104">
                        <c:v>440.80799999999999</c:v>
                      </c:pt>
                      <c:pt idx="105">
                        <c:v>440.80799999999999</c:v>
                      </c:pt>
                      <c:pt idx="106">
                        <c:v>368.59199999999998</c:v>
                      </c:pt>
                      <c:pt idx="107">
                        <c:v>368.59199999999998</c:v>
                      </c:pt>
                      <c:pt idx="108">
                        <c:v>368.59199999999998</c:v>
                      </c:pt>
                      <c:pt idx="109">
                        <c:v>368.59199999999998</c:v>
                      </c:pt>
                      <c:pt idx="110">
                        <c:v>368.59199999999998</c:v>
                      </c:pt>
                      <c:pt idx="111">
                        <c:v>546.24</c:v>
                      </c:pt>
                      <c:pt idx="112">
                        <c:v>546.24</c:v>
                      </c:pt>
                      <c:pt idx="113">
                        <c:v>546.24</c:v>
                      </c:pt>
                      <c:pt idx="114">
                        <c:v>546.24</c:v>
                      </c:pt>
                      <c:pt idx="115">
                        <c:v>452.44799999999998</c:v>
                      </c:pt>
                      <c:pt idx="116">
                        <c:v>452.44799999999998</c:v>
                      </c:pt>
                      <c:pt idx="117">
                        <c:v>452.44799999999998</c:v>
                      </c:pt>
                      <c:pt idx="118">
                        <c:v>452.44799999999998</c:v>
                      </c:pt>
                      <c:pt idx="119">
                        <c:v>404.11200000000002</c:v>
                      </c:pt>
                      <c:pt idx="120">
                        <c:v>404.11200000000002</c:v>
                      </c:pt>
                      <c:pt idx="121">
                        <c:v>404.11200000000002</c:v>
                      </c:pt>
                      <c:pt idx="122">
                        <c:v>404.11200000000002</c:v>
                      </c:pt>
                      <c:pt idx="123">
                        <c:v>428.37599999999998</c:v>
                      </c:pt>
                      <c:pt idx="124">
                        <c:v>428.37599999999998</c:v>
                      </c:pt>
                      <c:pt idx="125">
                        <c:v>428.37599999999998</c:v>
                      </c:pt>
                      <c:pt idx="126">
                        <c:v>428.37599999999998</c:v>
                      </c:pt>
                      <c:pt idx="127">
                        <c:v>428.37599999999998</c:v>
                      </c:pt>
                      <c:pt idx="128">
                        <c:v>406.96800000000002</c:v>
                      </c:pt>
                      <c:pt idx="129">
                        <c:v>406.96800000000002</c:v>
                      </c:pt>
                      <c:pt idx="130">
                        <c:v>406.96800000000002</c:v>
                      </c:pt>
                      <c:pt idx="131">
                        <c:v>456.96</c:v>
                      </c:pt>
                      <c:pt idx="132">
                        <c:v>456.96</c:v>
                      </c:pt>
                      <c:pt idx="133">
                        <c:v>456.96</c:v>
                      </c:pt>
                      <c:pt idx="134">
                        <c:v>456.96</c:v>
                      </c:pt>
                      <c:pt idx="135">
                        <c:v>456.96</c:v>
                      </c:pt>
                      <c:pt idx="136">
                        <c:v>456.96</c:v>
                      </c:pt>
                      <c:pt idx="137">
                        <c:v>427.99200000000002</c:v>
                      </c:pt>
                      <c:pt idx="138">
                        <c:v>427.99200000000002</c:v>
                      </c:pt>
                      <c:pt idx="139">
                        <c:v>477.57600000000002</c:v>
                      </c:pt>
                      <c:pt idx="140">
                        <c:v>477.57600000000002</c:v>
                      </c:pt>
                      <c:pt idx="141">
                        <c:v>477.57600000000002</c:v>
                      </c:pt>
                      <c:pt idx="142">
                        <c:v>477.57600000000002</c:v>
                      </c:pt>
                      <c:pt idx="143">
                        <c:v>477.57600000000002</c:v>
                      </c:pt>
                      <c:pt idx="144">
                        <c:v>444.28800000000001</c:v>
                      </c:pt>
                      <c:pt idx="145">
                        <c:v>444.28800000000001</c:v>
                      </c:pt>
                      <c:pt idx="146">
                        <c:v>444.28800000000001</c:v>
                      </c:pt>
                      <c:pt idx="147">
                        <c:v>380.73599999999999</c:v>
                      </c:pt>
                      <c:pt idx="148">
                        <c:v>369.36</c:v>
                      </c:pt>
                      <c:pt idx="149">
                        <c:v>369.36</c:v>
                      </c:pt>
                      <c:pt idx="150">
                        <c:v>471.12</c:v>
                      </c:pt>
                      <c:pt idx="151">
                        <c:v>471.12</c:v>
                      </c:pt>
                      <c:pt idx="152">
                        <c:v>471.12</c:v>
                      </c:pt>
                      <c:pt idx="153">
                        <c:v>471.12</c:v>
                      </c:pt>
                      <c:pt idx="154">
                        <c:v>471.12</c:v>
                      </c:pt>
                      <c:pt idx="155">
                        <c:v>471.12</c:v>
                      </c:pt>
                      <c:pt idx="156">
                        <c:v>432.50400000000002</c:v>
                      </c:pt>
                      <c:pt idx="157">
                        <c:v>432.50400000000002</c:v>
                      </c:pt>
                      <c:pt idx="158">
                        <c:v>432.50400000000002</c:v>
                      </c:pt>
                      <c:pt idx="159">
                        <c:v>458.35199999999998</c:v>
                      </c:pt>
                      <c:pt idx="160">
                        <c:v>458.35199999999998</c:v>
                      </c:pt>
                      <c:pt idx="161">
                        <c:v>458.35199999999998</c:v>
                      </c:pt>
                      <c:pt idx="162">
                        <c:v>458.35199999999998</c:v>
                      </c:pt>
                      <c:pt idx="163">
                        <c:v>455.28</c:v>
                      </c:pt>
                      <c:pt idx="164">
                        <c:v>439.63200000000001</c:v>
                      </c:pt>
                      <c:pt idx="165">
                        <c:v>439.63200000000001</c:v>
                      </c:pt>
                      <c:pt idx="166">
                        <c:v>388.27199999999999</c:v>
                      </c:pt>
                      <c:pt idx="167">
                        <c:v>388.27199999999999</c:v>
                      </c:pt>
                      <c:pt idx="168">
                        <c:v>388.27199999999999</c:v>
                      </c:pt>
                      <c:pt idx="169">
                        <c:v>388.27199999999999</c:v>
                      </c:pt>
                      <c:pt idx="170">
                        <c:v>450.40800000000002</c:v>
                      </c:pt>
                      <c:pt idx="171">
                        <c:v>460.27199999999999</c:v>
                      </c:pt>
                      <c:pt idx="172">
                        <c:v>460.27199999999999</c:v>
                      </c:pt>
                      <c:pt idx="173">
                        <c:v>486.81599999999997</c:v>
                      </c:pt>
                      <c:pt idx="174">
                        <c:v>486.81599999999997</c:v>
                      </c:pt>
                      <c:pt idx="175">
                        <c:v>486.81599999999997</c:v>
                      </c:pt>
                      <c:pt idx="176">
                        <c:v>486.81599999999997</c:v>
                      </c:pt>
                      <c:pt idx="177">
                        <c:v>458.42399999999998</c:v>
                      </c:pt>
                      <c:pt idx="178">
                        <c:v>458.42399999999998</c:v>
                      </c:pt>
                      <c:pt idx="179">
                        <c:v>458.42399999999998</c:v>
                      </c:pt>
                      <c:pt idx="180">
                        <c:v>393.36</c:v>
                      </c:pt>
                      <c:pt idx="181">
                        <c:v>393.36</c:v>
                      </c:pt>
                      <c:pt idx="182">
                        <c:v>393.36</c:v>
                      </c:pt>
                      <c:pt idx="183">
                        <c:v>393.36</c:v>
                      </c:pt>
                      <c:pt idx="184">
                        <c:v>455.952</c:v>
                      </c:pt>
                      <c:pt idx="185">
                        <c:v>455.952</c:v>
                      </c:pt>
                      <c:pt idx="186">
                        <c:v>455.952</c:v>
                      </c:pt>
                      <c:pt idx="187">
                        <c:v>455.952</c:v>
                      </c:pt>
                      <c:pt idx="188">
                        <c:v>505.08</c:v>
                      </c:pt>
                      <c:pt idx="189">
                        <c:v>505.08</c:v>
                      </c:pt>
                      <c:pt idx="190">
                        <c:v>505.08</c:v>
                      </c:pt>
                      <c:pt idx="191">
                        <c:v>483.64800000000002</c:v>
                      </c:pt>
                      <c:pt idx="192">
                        <c:v>486.21600000000001</c:v>
                      </c:pt>
                      <c:pt idx="193">
                        <c:v>485.42399999999998</c:v>
                      </c:pt>
                      <c:pt idx="194">
                        <c:v>485.42399999999998</c:v>
                      </c:pt>
                      <c:pt idx="195">
                        <c:v>482.42399999999998</c:v>
                      </c:pt>
                      <c:pt idx="196">
                        <c:v>483.31200000000001</c:v>
                      </c:pt>
                      <c:pt idx="197">
                        <c:v>563.16</c:v>
                      </c:pt>
                      <c:pt idx="198">
                        <c:v>546.62400000000002</c:v>
                      </c:pt>
                      <c:pt idx="199">
                        <c:v>546.62400000000002</c:v>
                      </c:pt>
                      <c:pt idx="200">
                        <c:v>641.54399999999998</c:v>
                      </c:pt>
                      <c:pt idx="201">
                        <c:v>641.54399999999998</c:v>
                      </c:pt>
                      <c:pt idx="202">
                        <c:v>641.54399999999998</c:v>
                      </c:pt>
                      <c:pt idx="203">
                        <c:v>641.54399999999998</c:v>
                      </c:pt>
                      <c:pt idx="204">
                        <c:v>669.096</c:v>
                      </c:pt>
                      <c:pt idx="205">
                        <c:v>563.47199999999998</c:v>
                      </c:pt>
                      <c:pt idx="206">
                        <c:v>910.77599999999995</c:v>
                      </c:pt>
                      <c:pt idx="207">
                        <c:v>1132.5360000000001</c:v>
                      </c:pt>
                      <c:pt idx="208">
                        <c:v>1132.5360000000001</c:v>
                      </c:pt>
                      <c:pt idx="209">
                        <c:v>1252.6320000000001</c:v>
                      </c:pt>
                      <c:pt idx="210">
                        <c:v>1332.5360000000001</c:v>
                      </c:pt>
                      <c:pt idx="211">
                        <c:v>1404.2639999999999</c:v>
                      </c:pt>
                      <c:pt idx="212">
                        <c:v>1422.3</c:v>
                      </c:pt>
                      <c:pt idx="213">
                        <c:v>1592.232</c:v>
                      </c:pt>
                      <c:pt idx="214">
                        <c:v>1592.232</c:v>
                      </c:pt>
                      <c:pt idx="215">
                        <c:v>1415.4480000000001</c:v>
                      </c:pt>
                      <c:pt idx="216">
                        <c:v>1472.8320000000001</c:v>
                      </c:pt>
                      <c:pt idx="217">
                        <c:v>1472.8320000000001</c:v>
                      </c:pt>
                      <c:pt idx="218">
                        <c:v>1472.8320000000001</c:v>
                      </c:pt>
                      <c:pt idx="219">
                        <c:v>1472.8320000000001</c:v>
                      </c:pt>
                      <c:pt idx="220">
                        <c:v>1880.856</c:v>
                      </c:pt>
                      <c:pt idx="221">
                        <c:v>1880.856</c:v>
                      </c:pt>
                      <c:pt idx="222">
                        <c:v>2099.7359999999999</c:v>
                      </c:pt>
                      <c:pt idx="223">
                        <c:v>2099.7359999999999</c:v>
                      </c:pt>
                      <c:pt idx="224">
                        <c:v>1551.2639999999999</c:v>
                      </c:pt>
                      <c:pt idx="225">
                        <c:v>1551.2639999999999</c:v>
                      </c:pt>
                      <c:pt idx="226">
                        <c:v>1551.2639999999999</c:v>
                      </c:pt>
                      <c:pt idx="227">
                        <c:v>2411.1840000000002</c:v>
                      </c:pt>
                      <c:pt idx="228">
                        <c:v>2082.4079999999999</c:v>
                      </c:pt>
                      <c:pt idx="229">
                        <c:v>2084.0880000000002</c:v>
                      </c:pt>
                      <c:pt idx="230">
                        <c:v>1993.5360000000001</c:v>
                      </c:pt>
                      <c:pt idx="231">
                        <c:v>1847.1120000000001</c:v>
                      </c:pt>
                      <c:pt idx="232">
                        <c:v>1801.3440000000001</c:v>
                      </c:pt>
                      <c:pt idx="233">
                        <c:v>1801.3440000000001</c:v>
                      </c:pt>
                      <c:pt idx="234">
                        <c:v>1685.472</c:v>
                      </c:pt>
                      <c:pt idx="235">
                        <c:v>1685.472</c:v>
                      </c:pt>
                      <c:pt idx="236">
                        <c:v>1685.4960000000001</c:v>
                      </c:pt>
                      <c:pt idx="237">
                        <c:v>1448.7840000000001</c:v>
                      </c:pt>
                      <c:pt idx="238">
                        <c:v>1448.7840000000001</c:v>
                      </c:pt>
                      <c:pt idx="239">
                        <c:v>1582.704</c:v>
                      </c:pt>
                      <c:pt idx="240">
                        <c:v>1438.1759999999999</c:v>
                      </c:pt>
                      <c:pt idx="241">
                        <c:v>1438.1759999999999</c:v>
                      </c:pt>
                      <c:pt idx="242">
                        <c:v>1438.1759999999999</c:v>
                      </c:pt>
                      <c:pt idx="243">
                        <c:v>1383.624</c:v>
                      </c:pt>
                      <c:pt idx="244">
                        <c:v>1327.5360000000001</c:v>
                      </c:pt>
                      <c:pt idx="245">
                        <c:v>1395.0239999999999</c:v>
                      </c:pt>
                      <c:pt idx="246">
                        <c:v>1054.6559999999999</c:v>
                      </c:pt>
                      <c:pt idx="247">
                        <c:v>923.952</c:v>
                      </c:pt>
                      <c:pt idx="248">
                        <c:v>923.952</c:v>
                      </c:pt>
                      <c:pt idx="249">
                        <c:v>923.952</c:v>
                      </c:pt>
                      <c:pt idx="250">
                        <c:v>1348.3679999999999</c:v>
                      </c:pt>
                      <c:pt idx="251">
                        <c:v>1280.712</c:v>
                      </c:pt>
                      <c:pt idx="252">
                        <c:v>1288.296</c:v>
                      </c:pt>
                    </c:numCache>
                  </c:numRef>
                </c:yVal>
                <c:smooth val="1"/>
                <c:extLst xmlns:c15="http://schemas.microsoft.com/office/drawing/2012/chart">
                  <c:ext xmlns:c16="http://schemas.microsoft.com/office/drawing/2014/chart" uri="{C3380CC4-5D6E-409C-BE32-E72D297353CC}">
                    <c16:uniqueId val="{00000008-B1BA-4027-B324-9E28FECAA0B8}"/>
                  </c:ext>
                </c:extLst>
              </c15:ser>
            </c15:filteredScatterSeries>
            <c15:filteredScatterSeries>
              <c15:ser>
                <c:idx val="7"/>
                <c:order val="7"/>
                <c:tx>
                  <c:strRef>
                    <c:extLst xmlns:c15="http://schemas.microsoft.com/office/drawing/2012/chart">
                      <c:ext xmlns:c15="http://schemas.microsoft.com/office/drawing/2012/chart" uri="{02D57815-91ED-43cb-92C2-25804820EDAC}">
                        <c15:formulaRef>
                          <c15:sqref>'Combined rate'!$C$12</c15:sqref>
                        </c15:formulaRef>
                      </c:ext>
                    </c:extLst>
                    <c:strCache>
                      <c:ptCount val="1"/>
                      <c:pt idx="0">
                        <c:v>KHAYELITSHA   </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chemeClr val="accent2">
                          <a:lumMod val="60000"/>
                        </a:schemeClr>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12:$IY$12</c15:sqref>
                        </c15:formulaRef>
                      </c:ext>
                    </c:extLst>
                    <c:numCache>
                      <c:formatCode>0</c:formatCode>
                      <c:ptCount val="253"/>
                      <c:pt idx="0">
                        <c:v>570.43200000000002</c:v>
                      </c:pt>
                      <c:pt idx="1">
                        <c:v>732.072</c:v>
                      </c:pt>
                      <c:pt idx="2">
                        <c:v>732.072</c:v>
                      </c:pt>
                      <c:pt idx="3">
                        <c:v>621.024</c:v>
                      </c:pt>
                      <c:pt idx="4">
                        <c:v>746.73599999999999</c:v>
                      </c:pt>
                      <c:pt idx="5">
                        <c:v>809.59199999999998</c:v>
                      </c:pt>
                      <c:pt idx="6">
                        <c:v>841.02</c:v>
                      </c:pt>
                      <c:pt idx="7">
                        <c:v>872.44799999999998</c:v>
                      </c:pt>
                      <c:pt idx="8">
                        <c:v>892.36800000000005</c:v>
                      </c:pt>
                      <c:pt idx="9">
                        <c:v>1077.672</c:v>
                      </c:pt>
                      <c:pt idx="10">
                        <c:v>1108.896</c:v>
                      </c:pt>
                      <c:pt idx="11">
                        <c:v>1108.896</c:v>
                      </c:pt>
                      <c:pt idx="12">
                        <c:v>1108.896</c:v>
                      </c:pt>
                      <c:pt idx="13">
                        <c:v>1104.5160000000001</c:v>
                      </c:pt>
                      <c:pt idx="14">
                        <c:v>1100.136</c:v>
                      </c:pt>
                      <c:pt idx="15">
                        <c:v>1100.136</c:v>
                      </c:pt>
                      <c:pt idx="16">
                        <c:v>1100.136</c:v>
                      </c:pt>
                      <c:pt idx="17">
                        <c:v>1131.096</c:v>
                      </c:pt>
                      <c:pt idx="18">
                        <c:v>1221.768</c:v>
                      </c:pt>
                      <c:pt idx="19">
                        <c:v>1221.768</c:v>
                      </c:pt>
                      <c:pt idx="20">
                        <c:v>1221.768</c:v>
                      </c:pt>
                      <c:pt idx="21">
                        <c:v>1221.768</c:v>
                      </c:pt>
                      <c:pt idx="22">
                        <c:v>1200.348</c:v>
                      </c:pt>
                      <c:pt idx="23">
                        <c:v>1178.9280000000001</c:v>
                      </c:pt>
                      <c:pt idx="24">
                        <c:v>1178.9280000000001</c:v>
                      </c:pt>
                      <c:pt idx="25">
                        <c:v>1179.24</c:v>
                      </c:pt>
                      <c:pt idx="26">
                        <c:v>1179.396</c:v>
                      </c:pt>
                      <c:pt idx="27">
                        <c:v>1179.4739999999999</c:v>
                      </c:pt>
                      <c:pt idx="28">
                        <c:v>1179.5519999999999</c:v>
                      </c:pt>
                      <c:pt idx="29">
                        <c:v>1262.9280000000001</c:v>
                      </c:pt>
                      <c:pt idx="30">
                        <c:v>1262.9280000000001</c:v>
                      </c:pt>
                      <c:pt idx="31">
                        <c:v>1203.288</c:v>
                      </c:pt>
                      <c:pt idx="32">
                        <c:v>1203.288</c:v>
                      </c:pt>
                      <c:pt idx="33">
                        <c:v>1158.5520000000001</c:v>
                      </c:pt>
                      <c:pt idx="34">
                        <c:v>1136.1840000000002</c:v>
                      </c:pt>
                      <c:pt idx="35">
                        <c:v>1113.816</c:v>
                      </c:pt>
                      <c:pt idx="36">
                        <c:v>1172.8320000000001</c:v>
                      </c:pt>
                      <c:pt idx="37">
                        <c:v>1172.8320000000001</c:v>
                      </c:pt>
                      <c:pt idx="38">
                        <c:v>1108.7280000000001</c:v>
                      </c:pt>
                      <c:pt idx="39">
                        <c:v>1112.904</c:v>
                      </c:pt>
                      <c:pt idx="40">
                        <c:v>1112.904</c:v>
                      </c:pt>
                      <c:pt idx="41">
                        <c:v>1058.52</c:v>
                      </c:pt>
                      <c:pt idx="42">
                        <c:v>1058.52</c:v>
                      </c:pt>
                      <c:pt idx="43">
                        <c:v>1058.52</c:v>
                      </c:pt>
                      <c:pt idx="44">
                        <c:v>1058.52</c:v>
                      </c:pt>
                      <c:pt idx="45">
                        <c:v>1058.52</c:v>
                      </c:pt>
                      <c:pt idx="46">
                        <c:v>1071.624</c:v>
                      </c:pt>
                      <c:pt idx="47">
                        <c:v>1008.552</c:v>
                      </c:pt>
                      <c:pt idx="48">
                        <c:v>1029.768</c:v>
                      </c:pt>
                      <c:pt idx="49">
                        <c:v>1029.768</c:v>
                      </c:pt>
                      <c:pt idx="50">
                        <c:v>963.79200000000003</c:v>
                      </c:pt>
                      <c:pt idx="51">
                        <c:v>963.79200000000003</c:v>
                      </c:pt>
                      <c:pt idx="52">
                        <c:v>917.928</c:v>
                      </c:pt>
                      <c:pt idx="53">
                        <c:v>916.41600000000005</c:v>
                      </c:pt>
                      <c:pt idx="54">
                        <c:v>916.41600000000005</c:v>
                      </c:pt>
                      <c:pt idx="55">
                        <c:v>852</c:v>
                      </c:pt>
                      <c:pt idx="56">
                        <c:v>852</c:v>
                      </c:pt>
                      <c:pt idx="57">
                        <c:v>852</c:v>
                      </c:pt>
                      <c:pt idx="58">
                        <c:v>852</c:v>
                      </c:pt>
                      <c:pt idx="59">
                        <c:v>654.72</c:v>
                      </c:pt>
                      <c:pt idx="60">
                        <c:v>654.72</c:v>
                      </c:pt>
                      <c:pt idx="61">
                        <c:v>645.86400000000003</c:v>
                      </c:pt>
                      <c:pt idx="62">
                        <c:v>645.86400000000003</c:v>
                      </c:pt>
                      <c:pt idx="63">
                        <c:v>559.08000000000004</c:v>
                      </c:pt>
                      <c:pt idx="64">
                        <c:v>559.08000000000004</c:v>
                      </c:pt>
                      <c:pt idx="65">
                        <c:v>680.04</c:v>
                      </c:pt>
                      <c:pt idx="66">
                        <c:v>680.04</c:v>
                      </c:pt>
                      <c:pt idx="67">
                        <c:v>680.04</c:v>
                      </c:pt>
                      <c:pt idx="68">
                        <c:v>680.04</c:v>
                      </c:pt>
                      <c:pt idx="69">
                        <c:v>745.32</c:v>
                      </c:pt>
                      <c:pt idx="70">
                        <c:v>745.32</c:v>
                      </c:pt>
                      <c:pt idx="71">
                        <c:v>745.32</c:v>
                      </c:pt>
                      <c:pt idx="72">
                        <c:v>745.32</c:v>
                      </c:pt>
                      <c:pt idx="73">
                        <c:v>745.32</c:v>
                      </c:pt>
                      <c:pt idx="74">
                        <c:v>759.43200000000002</c:v>
                      </c:pt>
                      <c:pt idx="75">
                        <c:v>688.08</c:v>
                      </c:pt>
                      <c:pt idx="76">
                        <c:v>688.08</c:v>
                      </c:pt>
                      <c:pt idx="77">
                        <c:v>688.08</c:v>
                      </c:pt>
                      <c:pt idx="78">
                        <c:v>743.16</c:v>
                      </c:pt>
                      <c:pt idx="79">
                        <c:v>743.16</c:v>
                      </c:pt>
                      <c:pt idx="80">
                        <c:v>743.16</c:v>
                      </c:pt>
                      <c:pt idx="81">
                        <c:v>743.16</c:v>
                      </c:pt>
                      <c:pt idx="82">
                        <c:v>743.16</c:v>
                      </c:pt>
                      <c:pt idx="83">
                        <c:v>813.93600000000004</c:v>
                      </c:pt>
                      <c:pt idx="84">
                        <c:v>749.88</c:v>
                      </c:pt>
                      <c:pt idx="85">
                        <c:v>749.88</c:v>
                      </c:pt>
                      <c:pt idx="86">
                        <c:v>749.88</c:v>
                      </c:pt>
                      <c:pt idx="87">
                        <c:v>749.88</c:v>
                      </c:pt>
                      <c:pt idx="88">
                        <c:v>796.82399999999996</c:v>
                      </c:pt>
                      <c:pt idx="89">
                        <c:v>796.82399999999996</c:v>
                      </c:pt>
                      <c:pt idx="90">
                        <c:v>668.952</c:v>
                      </c:pt>
                      <c:pt idx="91">
                        <c:v>668.952</c:v>
                      </c:pt>
                      <c:pt idx="92">
                        <c:v>668.952</c:v>
                      </c:pt>
                      <c:pt idx="93">
                        <c:v>668.952</c:v>
                      </c:pt>
                      <c:pt idx="94">
                        <c:v>668.952</c:v>
                      </c:pt>
                      <c:pt idx="95">
                        <c:v>628.60799999999995</c:v>
                      </c:pt>
                      <c:pt idx="96">
                        <c:v>628.60799999999995</c:v>
                      </c:pt>
                      <c:pt idx="97">
                        <c:v>644.06399999999996</c:v>
                      </c:pt>
                      <c:pt idx="98">
                        <c:v>652.36800000000005</c:v>
                      </c:pt>
                      <c:pt idx="99">
                        <c:v>713.44799999999998</c:v>
                      </c:pt>
                      <c:pt idx="100">
                        <c:v>713.44799999999998</c:v>
                      </c:pt>
                      <c:pt idx="101">
                        <c:v>713.44799999999998</c:v>
                      </c:pt>
                      <c:pt idx="102">
                        <c:v>715.53599999999994</c:v>
                      </c:pt>
                      <c:pt idx="103">
                        <c:v>715.53599999999994</c:v>
                      </c:pt>
                      <c:pt idx="104">
                        <c:v>730.17600000000004</c:v>
                      </c:pt>
                      <c:pt idx="105">
                        <c:v>730.17600000000004</c:v>
                      </c:pt>
                      <c:pt idx="106">
                        <c:v>730.17600000000004</c:v>
                      </c:pt>
                      <c:pt idx="107">
                        <c:v>730.17600000000004</c:v>
                      </c:pt>
                      <c:pt idx="108">
                        <c:v>650.928</c:v>
                      </c:pt>
                      <c:pt idx="109">
                        <c:v>650.928</c:v>
                      </c:pt>
                      <c:pt idx="110">
                        <c:v>650.928</c:v>
                      </c:pt>
                      <c:pt idx="111">
                        <c:v>617.71199999999999</c:v>
                      </c:pt>
                      <c:pt idx="112">
                        <c:v>617.71199999999999</c:v>
                      </c:pt>
                      <c:pt idx="113">
                        <c:v>617.71199999999999</c:v>
                      </c:pt>
                      <c:pt idx="114">
                        <c:v>621.57600000000002</c:v>
                      </c:pt>
                      <c:pt idx="115">
                        <c:v>629.28</c:v>
                      </c:pt>
                      <c:pt idx="116">
                        <c:v>629.28</c:v>
                      </c:pt>
                      <c:pt idx="117">
                        <c:v>629.28</c:v>
                      </c:pt>
                      <c:pt idx="118">
                        <c:v>629.28</c:v>
                      </c:pt>
                      <c:pt idx="119">
                        <c:v>642.072</c:v>
                      </c:pt>
                      <c:pt idx="120">
                        <c:v>642.072</c:v>
                      </c:pt>
                      <c:pt idx="121">
                        <c:v>681.33600000000001</c:v>
                      </c:pt>
                      <c:pt idx="122">
                        <c:v>681.33600000000001</c:v>
                      </c:pt>
                      <c:pt idx="123">
                        <c:v>678.67200000000003</c:v>
                      </c:pt>
                      <c:pt idx="124">
                        <c:v>678.67200000000003</c:v>
                      </c:pt>
                      <c:pt idx="125">
                        <c:v>678.67200000000003</c:v>
                      </c:pt>
                      <c:pt idx="126">
                        <c:v>678.67200000000003</c:v>
                      </c:pt>
                      <c:pt idx="127">
                        <c:v>678.67200000000003</c:v>
                      </c:pt>
                      <c:pt idx="128">
                        <c:v>653.71199999999999</c:v>
                      </c:pt>
                      <c:pt idx="129">
                        <c:v>653.71199999999999</c:v>
                      </c:pt>
                      <c:pt idx="130">
                        <c:v>653.71199999999999</c:v>
                      </c:pt>
                      <c:pt idx="131">
                        <c:v>635.88</c:v>
                      </c:pt>
                      <c:pt idx="132">
                        <c:v>635.88</c:v>
                      </c:pt>
                      <c:pt idx="133">
                        <c:v>635.88</c:v>
                      </c:pt>
                      <c:pt idx="134">
                        <c:v>635.88</c:v>
                      </c:pt>
                      <c:pt idx="135">
                        <c:v>625.58399999999995</c:v>
                      </c:pt>
                      <c:pt idx="136">
                        <c:v>625.58399999999995</c:v>
                      </c:pt>
                      <c:pt idx="137">
                        <c:v>625.58399999999995</c:v>
                      </c:pt>
                      <c:pt idx="138">
                        <c:v>601.51199999999994</c:v>
                      </c:pt>
                      <c:pt idx="139">
                        <c:v>601.51199999999994</c:v>
                      </c:pt>
                      <c:pt idx="140">
                        <c:v>540.57600000000002</c:v>
                      </c:pt>
                      <c:pt idx="141">
                        <c:v>540.57600000000002</c:v>
                      </c:pt>
                      <c:pt idx="142">
                        <c:v>540.57600000000002</c:v>
                      </c:pt>
                      <c:pt idx="143">
                        <c:v>540.57600000000002</c:v>
                      </c:pt>
                      <c:pt idx="144">
                        <c:v>540.57600000000002</c:v>
                      </c:pt>
                      <c:pt idx="145">
                        <c:v>501.91199999999998</c:v>
                      </c:pt>
                      <c:pt idx="146">
                        <c:v>501.91199999999998</c:v>
                      </c:pt>
                      <c:pt idx="147">
                        <c:v>467.54399999999998</c:v>
                      </c:pt>
                      <c:pt idx="148">
                        <c:v>467.54399999999998</c:v>
                      </c:pt>
                      <c:pt idx="149">
                        <c:v>467.54399999999998</c:v>
                      </c:pt>
                      <c:pt idx="150">
                        <c:v>556.58399999999995</c:v>
                      </c:pt>
                      <c:pt idx="151">
                        <c:v>556.58399999999995</c:v>
                      </c:pt>
                      <c:pt idx="152">
                        <c:v>556.58399999999995</c:v>
                      </c:pt>
                      <c:pt idx="153">
                        <c:v>556.58399999999995</c:v>
                      </c:pt>
                      <c:pt idx="154">
                        <c:v>607.15200000000004</c:v>
                      </c:pt>
                      <c:pt idx="155">
                        <c:v>607.15200000000004</c:v>
                      </c:pt>
                      <c:pt idx="156">
                        <c:v>651.57600000000002</c:v>
                      </c:pt>
                      <c:pt idx="157">
                        <c:v>651.57600000000002</c:v>
                      </c:pt>
                      <c:pt idx="158">
                        <c:v>651.57600000000002</c:v>
                      </c:pt>
                      <c:pt idx="159">
                        <c:v>820.27200000000005</c:v>
                      </c:pt>
                      <c:pt idx="160">
                        <c:v>820.27200000000005</c:v>
                      </c:pt>
                      <c:pt idx="161">
                        <c:v>820.27200000000005</c:v>
                      </c:pt>
                      <c:pt idx="162">
                        <c:v>662.37599999999998</c:v>
                      </c:pt>
                      <c:pt idx="163">
                        <c:v>662.37599999999998</c:v>
                      </c:pt>
                      <c:pt idx="164">
                        <c:v>662.37599999999998</c:v>
                      </c:pt>
                      <c:pt idx="165">
                        <c:v>711.21600000000001</c:v>
                      </c:pt>
                      <c:pt idx="166">
                        <c:v>711.21600000000001</c:v>
                      </c:pt>
                      <c:pt idx="167">
                        <c:v>714.048</c:v>
                      </c:pt>
                      <c:pt idx="168">
                        <c:v>714</c:v>
                      </c:pt>
                      <c:pt idx="169">
                        <c:v>659.78399999999999</c:v>
                      </c:pt>
                      <c:pt idx="170">
                        <c:v>657.19200000000001</c:v>
                      </c:pt>
                      <c:pt idx="171">
                        <c:v>656.78399999999999</c:v>
                      </c:pt>
                      <c:pt idx="172">
                        <c:v>656.78399999999999</c:v>
                      </c:pt>
                      <c:pt idx="173">
                        <c:v>643.05600000000004</c:v>
                      </c:pt>
                      <c:pt idx="174">
                        <c:v>643.05600000000004</c:v>
                      </c:pt>
                      <c:pt idx="175">
                        <c:v>613.77599999999995</c:v>
                      </c:pt>
                      <c:pt idx="176">
                        <c:v>613.77599999999995</c:v>
                      </c:pt>
                      <c:pt idx="177">
                        <c:v>614.30399999999997</c:v>
                      </c:pt>
                      <c:pt idx="178">
                        <c:v>614.30399999999997</c:v>
                      </c:pt>
                      <c:pt idx="179">
                        <c:v>610.41600000000005</c:v>
                      </c:pt>
                      <c:pt idx="180">
                        <c:v>610.41600000000005</c:v>
                      </c:pt>
                      <c:pt idx="181">
                        <c:v>613.44000000000005</c:v>
                      </c:pt>
                      <c:pt idx="182">
                        <c:v>613.44000000000005</c:v>
                      </c:pt>
                      <c:pt idx="183">
                        <c:v>599.928</c:v>
                      </c:pt>
                      <c:pt idx="184">
                        <c:v>599.928</c:v>
                      </c:pt>
                      <c:pt idx="185">
                        <c:v>593.68799999999999</c:v>
                      </c:pt>
                      <c:pt idx="186">
                        <c:v>591.36</c:v>
                      </c:pt>
                      <c:pt idx="187">
                        <c:v>591.36</c:v>
                      </c:pt>
                      <c:pt idx="188">
                        <c:v>591.33600000000001</c:v>
                      </c:pt>
                      <c:pt idx="189">
                        <c:v>591.33600000000001</c:v>
                      </c:pt>
                      <c:pt idx="190">
                        <c:v>591.31200000000001</c:v>
                      </c:pt>
                      <c:pt idx="191">
                        <c:v>575.976</c:v>
                      </c:pt>
                      <c:pt idx="192">
                        <c:v>562.00800000000004</c:v>
                      </c:pt>
                      <c:pt idx="193">
                        <c:v>616.77599999999995</c:v>
                      </c:pt>
                      <c:pt idx="194">
                        <c:v>614.66399999999999</c:v>
                      </c:pt>
                      <c:pt idx="195">
                        <c:v>604.65599999999995</c:v>
                      </c:pt>
                      <c:pt idx="196">
                        <c:v>604.63199999999995</c:v>
                      </c:pt>
                      <c:pt idx="197">
                        <c:v>604.63199999999995</c:v>
                      </c:pt>
                      <c:pt idx="198">
                        <c:v>604.67999999999995</c:v>
                      </c:pt>
                      <c:pt idx="199">
                        <c:v>633.98400000000004</c:v>
                      </c:pt>
                      <c:pt idx="200">
                        <c:v>627.50400000000002</c:v>
                      </c:pt>
                      <c:pt idx="201">
                        <c:v>762.072</c:v>
                      </c:pt>
                      <c:pt idx="202">
                        <c:v>762.072</c:v>
                      </c:pt>
                      <c:pt idx="203">
                        <c:v>894.55200000000002</c:v>
                      </c:pt>
                      <c:pt idx="204">
                        <c:v>894.55200000000002</c:v>
                      </c:pt>
                      <c:pt idx="205">
                        <c:v>969.84</c:v>
                      </c:pt>
                      <c:pt idx="206">
                        <c:v>968.4</c:v>
                      </c:pt>
                      <c:pt idx="207">
                        <c:v>856.46400000000006</c:v>
                      </c:pt>
                      <c:pt idx="208">
                        <c:v>856.46400000000006</c:v>
                      </c:pt>
                      <c:pt idx="209">
                        <c:v>1163.232</c:v>
                      </c:pt>
                      <c:pt idx="210">
                        <c:v>1186.4639999999999</c:v>
                      </c:pt>
                      <c:pt idx="211">
                        <c:v>1249.848</c:v>
                      </c:pt>
                      <c:pt idx="212">
                        <c:v>1408.6</c:v>
                      </c:pt>
                      <c:pt idx="213">
                        <c:v>1526.856</c:v>
                      </c:pt>
                      <c:pt idx="214">
                        <c:v>1526.856</c:v>
                      </c:pt>
                      <c:pt idx="215">
                        <c:v>1324.152</c:v>
                      </c:pt>
                      <c:pt idx="216">
                        <c:v>1412.2560000000001</c:v>
                      </c:pt>
                      <c:pt idx="217">
                        <c:v>1412.2560000000001</c:v>
                      </c:pt>
                      <c:pt idx="218">
                        <c:v>1412.2560000000001</c:v>
                      </c:pt>
                      <c:pt idx="219">
                        <c:v>1204.92</c:v>
                      </c:pt>
                      <c:pt idx="220">
                        <c:v>1409.1120000000001</c:v>
                      </c:pt>
                      <c:pt idx="221">
                        <c:v>1409.1120000000001</c:v>
                      </c:pt>
                      <c:pt idx="222">
                        <c:v>1613.856</c:v>
                      </c:pt>
                      <c:pt idx="223">
                        <c:v>1613.856</c:v>
                      </c:pt>
                      <c:pt idx="224">
                        <c:v>1613.856</c:v>
                      </c:pt>
                      <c:pt idx="225">
                        <c:v>1613.856</c:v>
                      </c:pt>
                      <c:pt idx="226">
                        <c:v>1613.856</c:v>
                      </c:pt>
                      <c:pt idx="227">
                        <c:v>1077.816</c:v>
                      </c:pt>
                      <c:pt idx="228">
                        <c:v>1077.816</c:v>
                      </c:pt>
                      <c:pt idx="229">
                        <c:v>1224.72</c:v>
                      </c:pt>
                      <c:pt idx="230">
                        <c:v>1201.5360000000001</c:v>
                      </c:pt>
                      <c:pt idx="231">
                        <c:v>1201.5360000000001</c:v>
                      </c:pt>
                      <c:pt idx="232">
                        <c:v>874.27200000000005</c:v>
                      </c:pt>
                      <c:pt idx="233">
                        <c:v>874.27200000000005</c:v>
                      </c:pt>
                      <c:pt idx="234">
                        <c:v>870.16800000000001</c:v>
                      </c:pt>
                      <c:pt idx="235">
                        <c:v>870.16800000000001</c:v>
                      </c:pt>
                      <c:pt idx="236">
                        <c:v>870.16800000000001</c:v>
                      </c:pt>
                      <c:pt idx="237">
                        <c:v>870.16800000000001</c:v>
                      </c:pt>
                      <c:pt idx="238">
                        <c:v>870.16800000000001</c:v>
                      </c:pt>
                      <c:pt idx="239">
                        <c:v>683.68799999999999</c:v>
                      </c:pt>
                      <c:pt idx="240">
                        <c:v>683.68799999999999</c:v>
                      </c:pt>
                      <c:pt idx="241">
                        <c:v>683.68799999999999</c:v>
                      </c:pt>
                      <c:pt idx="242">
                        <c:v>683.68799999999999</c:v>
                      </c:pt>
                      <c:pt idx="243">
                        <c:v>661.8</c:v>
                      </c:pt>
                      <c:pt idx="244">
                        <c:v>661.8</c:v>
                      </c:pt>
                      <c:pt idx="245">
                        <c:v>710.80799999999999</c:v>
                      </c:pt>
                      <c:pt idx="246">
                        <c:v>595.10400000000004</c:v>
                      </c:pt>
                      <c:pt idx="247">
                        <c:v>722.4</c:v>
                      </c:pt>
                      <c:pt idx="248">
                        <c:v>722.4</c:v>
                      </c:pt>
                      <c:pt idx="249">
                        <c:v>722.4</c:v>
                      </c:pt>
                      <c:pt idx="250">
                        <c:v>706.77599999999995</c:v>
                      </c:pt>
                      <c:pt idx="251">
                        <c:v>706.77599999999995</c:v>
                      </c:pt>
                      <c:pt idx="252">
                        <c:v>633.62400000000002</c:v>
                      </c:pt>
                    </c:numCache>
                  </c:numRef>
                </c:yVal>
                <c:smooth val="1"/>
                <c:extLst xmlns:c15="http://schemas.microsoft.com/office/drawing/2012/chart">
                  <c:ext xmlns:c16="http://schemas.microsoft.com/office/drawing/2014/chart" uri="{C3380CC4-5D6E-409C-BE32-E72D297353CC}">
                    <c16:uniqueId val="{00000009-B1BA-4027-B324-9E28FECAA0B8}"/>
                  </c:ext>
                </c:extLst>
              </c15:ser>
            </c15:filteredScatterSeries>
            <c15:filteredScatterSeries>
              <c15:ser>
                <c:idx val="8"/>
                <c:order val="8"/>
                <c:tx>
                  <c:strRef>
                    <c:extLst xmlns:c15="http://schemas.microsoft.com/office/drawing/2012/chart">
                      <c:ext xmlns:c15="http://schemas.microsoft.com/office/drawing/2012/chart" uri="{02D57815-91ED-43cb-92C2-25804820EDAC}">
                        <c15:formulaRef>
                          <c15:sqref>'Combined rate'!$C$13</c15:sqref>
                        </c15:formulaRef>
                      </c:ext>
                    </c:extLst>
                    <c:strCache>
                      <c:ptCount val="1"/>
                      <c:pt idx="0">
                        <c:v>KNYSNA </c:v>
                      </c:pt>
                    </c:strCache>
                  </c:strRef>
                </c:tx>
                <c:spPr>
                  <a:ln w="19050" cap="rnd">
                    <a:solidFill>
                      <a:schemeClr val="accent3">
                        <a:lumMod val="60000"/>
                      </a:schemeClr>
                    </a:solidFill>
                    <a:round/>
                  </a:ln>
                  <a:effectLst/>
                </c:spPr>
                <c:marker>
                  <c:symbol val="circle"/>
                  <c:size val="5"/>
                  <c:spPr>
                    <a:solidFill>
                      <a:schemeClr val="accent3">
                        <a:lumMod val="60000"/>
                      </a:schemeClr>
                    </a:solidFill>
                    <a:ln w="9525">
                      <a:solidFill>
                        <a:schemeClr val="accent3">
                          <a:lumMod val="60000"/>
                        </a:schemeClr>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13:$IY$13</c15:sqref>
                        </c15:formulaRef>
                      </c:ext>
                    </c:extLst>
                    <c:numCache>
                      <c:formatCode>0</c:formatCode>
                      <c:ptCount val="253"/>
                      <c:pt idx="0">
                        <c:v>123.024</c:v>
                      </c:pt>
                      <c:pt idx="1">
                        <c:v>123.048</c:v>
                      </c:pt>
                      <c:pt idx="2">
                        <c:v>123.048</c:v>
                      </c:pt>
                      <c:pt idx="3">
                        <c:v>104.28</c:v>
                      </c:pt>
                      <c:pt idx="4">
                        <c:v>104.28</c:v>
                      </c:pt>
                      <c:pt idx="5">
                        <c:v>104.28</c:v>
                      </c:pt>
                      <c:pt idx="6">
                        <c:v>104.28</c:v>
                      </c:pt>
                      <c:pt idx="7">
                        <c:v>104.28</c:v>
                      </c:pt>
                      <c:pt idx="8">
                        <c:v>104.352</c:v>
                      </c:pt>
                      <c:pt idx="9">
                        <c:v>111.864</c:v>
                      </c:pt>
                      <c:pt idx="10">
                        <c:v>111.864</c:v>
                      </c:pt>
                      <c:pt idx="11">
                        <c:v>111.864</c:v>
                      </c:pt>
                      <c:pt idx="12">
                        <c:v>111.864</c:v>
                      </c:pt>
                      <c:pt idx="13">
                        <c:v>111.864</c:v>
                      </c:pt>
                      <c:pt idx="14">
                        <c:v>111.864</c:v>
                      </c:pt>
                      <c:pt idx="15">
                        <c:v>111.864</c:v>
                      </c:pt>
                      <c:pt idx="16">
                        <c:v>108.264</c:v>
                      </c:pt>
                      <c:pt idx="17">
                        <c:v>108.264</c:v>
                      </c:pt>
                      <c:pt idx="18">
                        <c:v>108.264</c:v>
                      </c:pt>
                      <c:pt idx="19">
                        <c:v>108.264</c:v>
                      </c:pt>
                      <c:pt idx="20">
                        <c:v>108.264</c:v>
                      </c:pt>
                      <c:pt idx="21">
                        <c:v>108.264</c:v>
                      </c:pt>
                      <c:pt idx="22">
                        <c:v>103.584</c:v>
                      </c:pt>
                      <c:pt idx="23">
                        <c:v>98.903999999999996</c:v>
                      </c:pt>
                      <c:pt idx="24">
                        <c:v>98.903999999999996</c:v>
                      </c:pt>
                      <c:pt idx="25">
                        <c:v>98.903999999999996</c:v>
                      </c:pt>
                      <c:pt idx="26">
                        <c:v>98.903999999999996</c:v>
                      </c:pt>
                      <c:pt idx="27">
                        <c:v>98.903999999999996</c:v>
                      </c:pt>
                      <c:pt idx="28">
                        <c:v>98.903999999999996</c:v>
                      </c:pt>
                      <c:pt idx="29">
                        <c:v>98.903999999999996</c:v>
                      </c:pt>
                      <c:pt idx="30">
                        <c:v>100.8</c:v>
                      </c:pt>
                      <c:pt idx="31">
                        <c:v>100.8</c:v>
                      </c:pt>
                      <c:pt idx="32">
                        <c:v>100.8</c:v>
                      </c:pt>
                      <c:pt idx="33">
                        <c:v>100.8</c:v>
                      </c:pt>
                      <c:pt idx="34">
                        <c:v>100.8</c:v>
                      </c:pt>
                      <c:pt idx="35">
                        <c:v>100.8</c:v>
                      </c:pt>
                      <c:pt idx="36">
                        <c:v>112.56</c:v>
                      </c:pt>
                      <c:pt idx="37">
                        <c:v>112.56</c:v>
                      </c:pt>
                      <c:pt idx="38">
                        <c:v>112.56</c:v>
                      </c:pt>
                      <c:pt idx="39">
                        <c:v>112.56</c:v>
                      </c:pt>
                      <c:pt idx="40">
                        <c:v>112.56</c:v>
                      </c:pt>
                      <c:pt idx="41">
                        <c:v>112.56</c:v>
                      </c:pt>
                      <c:pt idx="42">
                        <c:v>114.98399999999999</c:v>
                      </c:pt>
                      <c:pt idx="43">
                        <c:v>114.98399999999999</c:v>
                      </c:pt>
                      <c:pt idx="44">
                        <c:v>122.76</c:v>
                      </c:pt>
                      <c:pt idx="45">
                        <c:v>122.76</c:v>
                      </c:pt>
                      <c:pt idx="46">
                        <c:v>122.76</c:v>
                      </c:pt>
                      <c:pt idx="47">
                        <c:v>122.76</c:v>
                      </c:pt>
                      <c:pt idx="48">
                        <c:v>122.76</c:v>
                      </c:pt>
                      <c:pt idx="49">
                        <c:v>122.76</c:v>
                      </c:pt>
                      <c:pt idx="50">
                        <c:v>130.22399999999999</c:v>
                      </c:pt>
                      <c:pt idx="51">
                        <c:v>130.22399999999999</c:v>
                      </c:pt>
                      <c:pt idx="52">
                        <c:v>130.22399999999999</c:v>
                      </c:pt>
                      <c:pt idx="53">
                        <c:v>130.22399999999999</c:v>
                      </c:pt>
                      <c:pt idx="54">
                        <c:v>130.22399999999999</c:v>
                      </c:pt>
                      <c:pt idx="55">
                        <c:v>130.22399999999999</c:v>
                      </c:pt>
                      <c:pt idx="56">
                        <c:v>187.512</c:v>
                      </c:pt>
                      <c:pt idx="57">
                        <c:v>224.88</c:v>
                      </c:pt>
                      <c:pt idx="58">
                        <c:v>224.88</c:v>
                      </c:pt>
                      <c:pt idx="59">
                        <c:v>224.88</c:v>
                      </c:pt>
                      <c:pt idx="60">
                        <c:v>224.88</c:v>
                      </c:pt>
                      <c:pt idx="61">
                        <c:v>224.88</c:v>
                      </c:pt>
                      <c:pt idx="62">
                        <c:v>399.91199999999998</c:v>
                      </c:pt>
                      <c:pt idx="63">
                        <c:v>399.91199999999998</c:v>
                      </c:pt>
                      <c:pt idx="64">
                        <c:v>399.91199999999998</c:v>
                      </c:pt>
                      <c:pt idx="65">
                        <c:v>352.00799999999998</c:v>
                      </c:pt>
                      <c:pt idx="66">
                        <c:v>352.00799999999998</c:v>
                      </c:pt>
                      <c:pt idx="67">
                        <c:v>352.00799999999998</c:v>
                      </c:pt>
                      <c:pt idx="68">
                        <c:v>352.00799999999998</c:v>
                      </c:pt>
                      <c:pt idx="69">
                        <c:v>352.00799999999998</c:v>
                      </c:pt>
                      <c:pt idx="70">
                        <c:v>306.24</c:v>
                      </c:pt>
                      <c:pt idx="71">
                        <c:v>306.24</c:v>
                      </c:pt>
                      <c:pt idx="72">
                        <c:v>307.05599999999998</c:v>
                      </c:pt>
                      <c:pt idx="73">
                        <c:v>332.80799999999999</c:v>
                      </c:pt>
                      <c:pt idx="74">
                        <c:v>332.80799999999999</c:v>
                      </c:pt>
                      <c:pt idx="75">
                        <c:v>332.80799999999999</c:v>
                      </c:pt>
                      <c:pt idx="76">
                        <c:v>332.80799999999999</c:v>
                      </c:pt>
                      <c:pt idx="77">
                        <c:v>451.72800000000001</c:v>
                      </c:pt>
                      <c:pt idx="78">
                        <c:v>451.72800000000001</c:v>
                      </c:pt>
                      <c:pt idx="79">
                        <c:v>603.50400000000002</c:v>
                      </c:pt>
                      <c:pt idx="80">
                        <c:v>603.50400000000002</c:v>
                      </c:pt>
                      <c:pt idx="81">
                        <c:v>603.50400000000002</c:v>
                      </c:pt>
                      <c:pt idx="82">
                        <c:v>603.50400000000002</c:v>
                      </c:pt>
                      <c:pt idx="83">
                        <c:v>506.928</c:v>
                      </c:pt>
                      <c:pt idx="84">
                        <c:v>506.928</c:v>
                      </c:pt>
                      <c:pt idx="85">
                        <c:v>506.928</c:v>
                      </c:pt>
                      <c:pt idx="86">
                        <c:v>549.16800000000001</c:v>
                      </c:pt>
                      <c:pt idx="87">
                        <c:v>549.16800000000001</c:v>
                      </c:pt>
                      <c:pt idx="88">
                        <c:v>549.16800000000001</c:v>
                      </c:pt>
                      <c:pt idx="89">
                        <c:v>549.16800000000001</c:v>
                      </c:pt>
                      <c:pt idx="90">
                        <c:v>549.16800000000001</c:v>
                      </c:pt>
                      <c:pt idx="91">
                        <c:v>450.91199999999998</c:v>
                      </c:pt>
                      <c:pt idx="92">
                        <c:v>393.40800000000002</c:v>
                      </c:pt>
                      <c:pt idx="93">
                        <c:v>393.40800000000002</c:v>
                      </c:pt>
                      <c:pt idx="94">
                        <c:v>393.40800000000002</c:v>
                      </c:pt>
                      <c:pt idx="95">
                        <c:v>393.40800000000002</c:v>
                      </c:pt>
                      <c:pt idx="96">
                        <c:v>393.40800000000002</c:v>
                      </c:pt>
                      <c:pt idx="97">
                        <c:v>393.40800000000002</c:v>
                      </c:pt>
                      <c:pt idx="98">
                        <c:v>356.928</c:v>
                      </c:pt>
                      <c:pt idx="99">
                        <c:v>356.928</c:v>
                      </c:pt>
                      <c:pt idx="100">
                        <c:v>356.928</c:v>
                      </c:pt>
                      <c:pt idx="101">
                        <c:v>351.93599999999998</c:v>
                      </c:pt>
                      <c:pt idx="102">
                        <c:v>351.93599999999998</c:v>
                      </c:pt>
                      <c:pt idx="103">
                        <c:v>351.93599999999998</c:v>
                      </c:pt>
                      <c:pt idx="104">
                        <c:v>310.392</c:v>
                      </c:pt>
                      <c:pt idx="105">
                        <c:v>310.392</c:v>
                      </c:pt>
                      <c:pt idx="106">
                        <c:v>310.392</c:v>
                      </c:pt>
                      <c:pt idx="107">
                        <c:v>310.392</c:v>
                      </c:pt>
                      <c:pt idx="108">
                        <c:v>225.84</c:v>
                      </c:pt>
                      <c:pt idx="109">
                        <c:v>225.84</c:v>
                      </c:pt>
                      <c:pt idx="110">
                        <c:v>225.84</c:v>
                      </c:pt>
                      <c:pt idx="111">
                        <c:v>225.84</c:v>
                      </c:pt>
                      <c:pt idx="112">
                        <c:v>184.512</c:v>
                      </c:pt>
                      <c:pt idx="113">
                        <c:v>184.512</c:v>
                      </c:pt>
                      <c:pt idx="114">
                        <c:v>184.512</c:v>
                      </c:pt>
                      <c:pt idx="115">
                        <c:v>184.512</c:v>
                      </c:pt>
                      <c:pt idx="116">
                        <c:v>161.256</c:v>
                      </c:pt>
                      <c:pt idx="117">
                        <c:v>161.256</c:v>
                      </c:pt>
                      <c:pt idx="118">
                        <c:v>161.256</c:v>
                      </c:pt>
                      <c:pt idx="119">
                        <c:v>198.48</c:v>
                      </c:pt>
                      <c:pt idx="120">
                        <c:v>198.48</c:v>
                      </c:pt>
                      <c:pt idx="121">
                        <c:v>198.48</c:v>
                      </c:pt>
                      <c:pt idx="122">
                        <c:v>198.48</c:v>
                      </c:pt>
                      <c:pt idx="123">
                        <c:v>198.48</c:v>
                      </c:pt>
                      <c:pt idx="124">
                        <c:v>198.48</c:v>
                      </c:pt>
                      <c:pt idx="125">
                        <c:v>198.48</c:v>
                      </c:pt>
                      <c:pt idx="126">
                        <c:v>198.48</c:v>
                      </c:pt>
                      <c:pt idx="127">
                        <c:v>182.66399999999999</c:v>
                      </c:pt>
                      <c:pt idx="128">
                        <c:v>182.66399999999999</c:v>
                      </c:pt>
                      <c:pt idx="129">
                        <c:v>182.66399999999999</c:v>
                      </c:pt>
                      <c:pt idx="130">
                        <c:v>202.22399999999999</c:v>
                      </c:pt>
                      <c:pt idx="131">
                        <c:v>202.22399999999999</c:v>
                      </c:pt>
                      <c:pt idx="132">
                        <c:v>202.22399999999999</c:v>
                      </c:pt>
                      <c:pt idx="133">
                        <c:v>202.22399999999999</c:v>
                      </c:pt>
                      <c:pt idx="134">
                        <c:v>202.22399999999999</c:v>
                      </c:pt>
                      <c:pt idx="135">
                        <c:v>202.22399999999999</c:v>
                      </c:pt>
                      <c:pt idx="136">
                        <c:v>182.952</c:v>
                      </c:pt>
                      <c:pt idx="137">
                        <c:v>182.952</c:v>
                      </c:pt>
                      <c:pt idx="138">
                        <c:v>182.952</c:v>
                      </c:pt>
                      <c:pt idx="139">
                        <c:v>182.952</c:v>
                      </c:pt>
                      <c:pt idx="140">
                        <c:v>254.208</c:v>
                      </c:pt>
                      <c:pt idx="141">
                        <c:v>254.208</c:v>
                      </c:pt>
                      <c:pt idx="142">
                        <c:v>201.21600000000001</c:v>
                      </c:pt>
                      <c:pt idx="143">
                        <c:v>201.21600000000001</c:v>
                      </c:pt>
                      <c:pt idx="144">
                        <c:v>201.21600000000001</c:v>
                      </c:pt>
                      <c:pt idx="145">
                        <c:v>201.21600000000001</c:v>
                      </c:pt>
                      <c:pt idx="146">
                        <c:v>201.21600000000001</c:v>
                      </c:pt>
                      <c:pt idx="147">
                        <c:v>183.52799999999999</c:v>
                      </c:pt>
                      <c:pt idx="148">
                        <c:v>183.52799999999999</c:v>
                      </c:pt>
                      <c:pt idx="149">
                        <c:v>183.52799999999999</c:v>
                      </c:pt>
                      <c:pt idx="150">
                        <c:v>183.52799999999999</c:v>
                      </c:pt>
                      <c:pt idx="151">
                        <c:v>183.52799999999999</c:v>
                      </c:pt>
                      <c:pt idx="152">
                        <c:v>194.61600000000001</c:v>
                      </c:pt>
                      <c:pt idx="153">
                        <c:v>194.61600000000001</c:v>
                      </c:pt>
                      <c:pt idx="154">
                        <c:v>194.61600000000001</c:v>
                      </c:pt>
                      <c:pt idx="155">
                        <c:v>194.61600000000001</c:v>
                      </c:pt>
                      <c:pt idx="156">
                        <c:v>175.488</c:v>
                      </c:pt>
                      <c:pt idx="157">
                        <c:v>175.488</c:v>
                      </c:pt>
                      <c:pt idx="158">
                        <c:v>175.488</c:v>
                      </c:pt>
                      <c:pt idx="159">
                        <c:v>175.488</c:v>
                      </c:pt>
                      <c:pt idx="160">
                        <c:v>175.488</c:v>
                      </c:pt>
                      <c:pt idx="161">
                        <c:v>208.392</c:v>
                      </c:pt>
                      <c:pt idx="162">
                        <c:v>208.392</c:v>
                      </c:pt>
                      <c:pt idx="163">
                        <c:v>208.392</c:v>
                      </c:pt>
                      <c:pt idx="164">
                        <c:v>208.392</c:v>
                      </c:pt>
                      <c:pt idx="165">
                        <c:v>208.392</c:v>
                      </c:pt>
                      <c:pt idx="166">
                        <c:v>208.392</c:v>
                      </c:pt>
                      <c:pt idx="167">
                        <c:v>245.83199999999999</c:v>
                      </c:pt>
                      <c:pt idx="168">
                        <c:v>246</c:v>
                      </c:pt>
                      <c:pt idx="169">
                        <c:v>226.17599999999999</c:v>
                      </c:pt>
                      <c:pt idx="170">
                        <c:v>264.60000000000002</c:v>
                      </c:pt>
                      <c:pt idx="171">
                        <c:v>264.60000000000002</c:v>
                      </c:pt>
                      <c:pt idx="172">
                        <c:v>264.60000000000002</c:v>
                      </c:pt>
                      <c:pt idx="173">
                        <c:v>264.60000000000002</c:v>
                      </c:pt>
                      <c:pt idx="174">
                        <c:v>264.60000000000002</c:v>
                      </c:pt>
                      <c:pt idx="175">
                        <c:v>267.55200000000002</c:v>
                      </c:pt>
                      <c:pt idx="176">
                        <c:v>267.55200000000002</c:v>
                      </c:pt>
                      <c:pt idx="177">
                        <c:v>267.55200000000002</c:v>
                      </c:pt>
                      <c:pt idx="178">
                        <c:v>294.24</c:v>
                      </c:pt>
                      <c:pt idx="179">
                        <c:v>294.24</c:v>
                      </c:pt>
                      <c:pt idx="180">
                        <c:v>294.24</c:v>
                      </c:pt>
                      <c:pt idx="181">
                        <c:v>375.31200000000001</c:v>
                      </c:pt>
                      <c:pt idx="182">
                        <c:v>375.31200000000001</c:v>
                      </c:pt>
                      <c:pt idx="183">
                        <c:v>375.31200000000001</c:v>
                      </c:pt>
                      <c:pt idx="184">
                        <c:v>375.31200000000001</c:v>
                      </c:pt>
                      <c:pt idx="185">
                        <c:v>449.54399999999998</c:v>
                      </c:pt>
                      <c:pt idx="186">
                        <c:v>655.94399999999996</c:v>
                      </c:pt>
                      <c:pt idx="187">
                        <c:v>864</c:v>
                      </c:pt>
                      <c:pt idx="188">
                        <c:v>859</c:v>
                      </c:pt>
                      <c:pt idx="189">
                        <c:v>1157</c:v>
                      </c:pt>
                      <c:pt idx="190">
                        <c:v>744.26400000000001</c:v>
                      </c:pt>
                      <c:pt idx="191">
                        <c:v>870.12</c:v>
                      </c:pt>
                      <c:pt idx="192">
                        <c:v>870.12</c:v>
                      </c:pt>
                      <c:pt idx="193">
                        <c:v>870.12</c:v>
                      </c:pt>
                      <c:pt idx="194">
                        <c:v>870.12</c:v>
                      </c:pt>
                      <c:pt idx="195">
                        <c:v>870.12</c:v>
                      </c:pt>
                      <c:pt idx="196">
                        <c:v>1058.5440000000001</c:v>
                      </c:pt>
                      <c:pt idx="197">
                        <c:v>654.048</c:v>
                      </c:pt>
                      <c:pt idx="198">
                        <c:v>654.048</c:v>
                      </c:pt>
                      <c:pt idx="199">
                        <c:v>654.048</c:v>
                      </c:pt>
                      <c:pt idx="200">
                        <c:v>654.048</c:v>
                      </c:pt>
                      <c:pt idx="201">
                        <c:v>516.24</c:v>
                      </c:pt>
                      <c:pt idx="202">
                        <c:v>516.24</c:v>
                      </c:pt>
                      <c:pt idx="203">
                        <c:v>516.24</c:v>
                      </c:pt>
                      <c:pt idx="204">
                        <c:v>516.24</c:v>
                      </c:pt>
                      <c:pt idx="205">
                        <c:v>929.66399999999999</c:v>
                      </c:pt>
                      <c:pt idx="206">
                        <c:v>929.66399999999999</c:v>
                      </c:pt>
                      <c:pt idx="207">
                        <c:v>929.66399999999999</c:v>
                      </c:pt>
                      <c:pt idx="208">
                        <c:v>929.66399999999999</c:v>
                      </c:pt>
                      <c:pt idx="209">
                        <c:v>867.51199999999994</c:v>
                      </c:pt>
                      <c:pt idx="210">
                        <c:v>929.66399999999999</c:v>
                      </c:pt>
                      <c:pt idx="211">
                        <c:v>878.08799999999997</c:v>
                      </c:pt>
                      <c:pt idx="212">
                        <c:v>934.1</c:v>
                      </c:pt>
                      <c:pt idx="213">
                        <c:v>811.12800000000004</c:v>
                      </c:pt>
                      <c:pt idx="214">
                        <c:v>811.12800000000004</c:v>
                      </c:pt>
                      <c:pt idx="215">
                        <c:v>811.12800000000004</c:v>
                      </c:pt>
                      <c:pt idx="216">
                        <c:v>811.12800000000004</c:v>
                      </c:pt>
                      <c:pt idx="217">
                        <c:v>811.17600000000004</c:v>
                      </c:pt>
                      <c:pt idx="218">
                        <c:v>759</c:v>
                      </c:pt>
                      <c:pt idx="219">
                        <c:v>698</c:v>
                      </c:pt>
                      <c:pt idx="220">
                        <c:v>710</c:v>
                      </c:pt>
                      <c:pt idx="221">
                        <c:v>489.93599999999998</c:v>
                      </c:pt>
                      <c:pt idx="222">
                        <c:v>489.93599999999998</c:v>
                      </c:pt>
                      <c:pt idx="223">
                        <c:v>489.93599999999998</c:v>
                      </c:pt>
                      <c:pt idx="224">
                        <c:v>624.12</c:v>
                      </c:pt>
                      <c:pt idx="225">
                        <c:v>624.12</c:v>
                      </c:pt>
                      <c:pt idx="226">
                        <c:v>625.75199999999995</c:v>
                      </c:pt>
                      <c:pt idx="227">
                        <c:v>625.75199999999995</c:v>
                      </c:pt>
                      <c:pt idx="228">
                        <c:v>625.75199999999995</c:v>
                      </c:pt>
                      <c:pt idx="229">
                        <c:v>625.75199999999995</c:v>
                      </c:pt>
                      <c:pt idx="230">
                        <c:v>625.75199999999995</c:v>
                      </c:pt>
                      <c:pt idx="231">
                        <c:v>643.94399999999996</c:v>
                      </c:pt>
                      <c:pt idx="232">
                        <c:v>644.42399999999998</c:v>
                      </c:pt>
                      <c:pt idx="233">
                        <c:v>644.42399999999998</c:v>
                      </c:pt>
                      <c:pt idx="234">
                        <c:v>570.19200000000001</c:v>
                      </c:pt>
                      <c:pt idx="235">
                        <c:v>570.19200000000001</c:v>
                      </c:pt>
                      <c:pt idx="236">
                        <c:v>570.19200000000001</c:v>
                      </c:pt>
                      <c:pt idx="237">
                        <c:v>570.19200000000001</c:v>
                      </c:pt>
                      <c:pt idx="238">
                        <c:v>534.19200000000001</c:v>
                      </c:pt>
                      <c:pt idx="239">
                        <c:v>534.19200000000001</c:v>
                      </c:pt>
                      <c:pt idx="240">
                        <c:v>577.39200000000005</c:v>
                      </c:pt>
                      <c:pt idx="241">
                        <c:v>577.39200000000005</c:v>
                      </c:pt>
                      <c:pt idx="242">
                        <c:v>536</c:v>
                      </c:pt>
                      <c:pt idx="243">
                        <c:v>536</c:v>
                      </c:pt>
                      <c:pt idx="244">
                        <c:v>536</c:v>
                      </c:pt>
                      <c:pt idx="245">
                        <c:v>536</c:v>
                      </c:pt>
                      <c:pt idx="246">
                        <c:v>536</c:v>
                      </c:pt>
                      <c:pt idx="247">
                        <c:v>482</c:v>
                      </c:pt>
                      <c:pt idx="248">
                        <c:v>482</c:v>
                      </c:pt>
                      <c:pt idx="249">
                        <c:v>482</c:v>
                      </c:pt>
                      <c:pt idx="250">
                        <c:v>482</c:v>
                      </c:pt>
                      <c:pt idx="251">
                        <c:v>482</c:v>
                      </c:pt>
                      <c:pt idx="252">
                        <c:v>482</c:v>
                      </c:pt>
                    </c:numCache>
                  </c:numRef>
                </c:yVal>
                <c:smooth val="1"/>
                <c:extLst xmlns:c15="http://schemas.microsoft.com/office/drawing/2012/chart">
                  <c:ext xmlns:c16="http://schemas.microsoft.com/office/drawing/2014/chart" uri="{C3380CC4-5D6E-409C-BE32-E72D297353CC}">
                    <c16:uniqueId val="{0000000A-B1BA-4027-B324-9E28FECAA0B8}"/>
                  </c:ext>
                </c:extLst>
              </c15:ser>
            </c15:filteredScatterSeries>
            <c15:filteredScatterSeries>
              <c15:ser>
                <c:idx val="9"/>
                <c:order val="9"/>
                <c:tx>
                  <c:strRef>
                    <c:extLst xmlns:c15="http://schemas.microsoft.com/office/drawing/2012/chart">
                      <c:ext xmlns:c15="http://schemas.microsoft.com/office/drawing/2012/chart" uri="{02D57815-91ED-43cb-92C2-25804820EDAC}">
                        <c15:formulaRef>
                          <c15:sqref>'Combined rate'!$C$14</c15:sqref>
                        </c15:formulaRef>
                      </c:ext>
                    </c:extLst>
                    <c:strCache>
                      <c:ptCount val="1"/>
                      <c:pt idx="0">
                        <c:v>MITCHELLS PLAIN </c:v>
                      </c:pt>
                    </c:strCache>
                  </c:strRef>
                </c:tx>
                <c:spPr>
                  <a:ln w="19050" cap="rnd">
                    <a:solidFill>
                      <a:schemeClr val="accent4">
                        <a:lumMod val="60000"/>
                      </a:schemeClr>
                    </a:solidFill>
                    <a:round/>
                  </a:ln>
                  <a:effectLst/>
                </c:spPr>
                <c:marker>
                  <c:symbol val="circle"/>
                  <c:size val="5"/>
                  <c:spPr>
                    <a:solidFill>
                      <a:schemeClr val="accent4">
                        <a:lumMod val="60000"/>
                      </a:schemeClr>
                    </a:solidFill>
                    <a:ln w="9525">
                      <a:solidFill>
                        <a:schemeClr val="accent4">
                          <a:lumMod val="60000"/>
                        </a:schemeClr>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14:$IY$14</c15:sqref>
                        </c15:formulaRef>
                      </c:ext>
                    </c:extLst>
                    <c:numCache>
                      <c:formatCode>0</c:formatCode>
                      <c:ptCount val="253"/>
                      <c:pt idx="0">
                        <c:v>1199.52</c:v>
                      </c:pt>
                      <c:pt idx="1">
                        <c:v>1250.7840000000001</c:v>
                      </c:pt>
                      <c:pt idx="2">
                        <c:v>1250.7840000000001</c:v>
                      </c:pt>
                      <c:pt idx="3">
                        <c:v>1249.5360000000001</c:v>
                      </c:pt>
                      <c:pt idx="4">
                        <c:v>1293.7440000000001</c:v>
                      </c:pt>
                      <c:pt idx="5">
                        <c:v>1315.848</c:v>
                      </c:pt>
                      <c:pt idx="6">
                        <c:v>1326.9</c:v>
                      </c:pt>
                      <c:pt idx="7">
                        <c:v>1337.952</c:v>
                      </c:pt>
                      <c:pt idx="8">
                        <c:v>1445.3040000000001</c:v>
                      </c:pt>
                      <c:pt idx="9">
                        <c:v>1547.616</c:v>
                      </c:pt>
                      <c:pt idx="10">
                        <c:v>1625.232</c:v>
                      </c:pt>
                      <c:pt idx="11">
                        <c:v>1625.232</c:v>
                      </c:pt>
                      <c:pt idx="12">
                        <c:v>1625.232</c:v>
                      </c:pt>
                      <c:pt idx="13">
                        <c:v>1650.3119999999999</c:v>
                      </c:pt>
                      <c:pt idx="14">
                        <c:v>1675.3920000000001</c:v>
                      </c:pt>
                      <c:pt idx="15">
                        <c:v>1675.3920000000001</c:v>
                      </c:pt>
                      <c:pt idx="16">
                        <c:v>1675.3920000000001</c:v>
                      </c:pt>
                      <c:pt idx="17">
                        <c:v>1692.12</c:v>
                      </c:pt>
                      <c:pt idx="18">
                        <c:v>1496.9280000000001</c:v>
                      </c:pt>
                      <c:pt idx="19">
                        <c:v>1496.9280000000001</c:v>
                      </c:pt>
                      <c:pt idx="20">
                        <c:v>1496.9280000000001</c:v>
                      </c:pt>
                      <c:pt idx="21">
                        <c:v>1496.9280000000001</c:v>
                      </c:pt>
                      <c:pt idx="22">
                        <c:v>1564.56</c:v>
                      </c:pt>
                      <c:pt idx="23">
                        <c:v>1632.192</c:v>
                      </c:pt>
                      <c:pt idx="24">
                        <c:v>1632.192</c:v>
                      </c:pt>
                      <c:pt idx="25">
                        <c:v>1687.884</c:v>
                      </c:pt>
                      <c:pt idx="26">
                        <c:v>1715.73</c:v>
                      </c:pt>
                      <c:pt idx="27">
                        <c:v>1729.653</c:v>
                      </c:pt>
                      <c:pt idx="28">
                        <c:v>1743.576</c:v>
                      </c:pt>
                      <c:pt idx="29">
                        <c:v>1991.28</c:v>
                      </c:pt>
                      <c:pt idx="30">
                        <c:v>1991.28</c:v>
                      </c:pt>
                      <c:pt idx="31">
                        <c:v>1943.7360000000001</c:v>
                      </c:pt>
                      <c:pt idx="32">
                        <c:v>1943.7360000000001</c:v>
                      </c:pt>
                      <c:pt idx="33">
                        <c:v>1848.9</c:v>
                      </c:pt>
                      <c:pt idx="34">
                        <c:v>1801.482</c:v>
                      </c:pt>
                      <c:pt idx="35">
                        <c:v>1754.0640000000001</c:v>
                      </c:pt>
                      <c:pt idx="36">
                        <c:v>1754.0640000000001</c:v>
                      </c:pt>
                      <c:pt idx="37">
                        <c:v>1754.0640000000001</c:v>
                      </c:pt>
                      <c:pt idx="38">
                        <c:v>1596.6479999999999</c:v>
                      </c:pt>
                      <c:pt idx="39">
                        <c:v>1650.9839999999999</c:v>
                      </c:pt>
                      <c:pt idx="40">
                        <c:v>1507.104</c:v>
                      </c:pt>
                      <c:pt idx="41">
                        <c:v>1435.6079999999999</c:v>
                      </c:pt>
                      <c:pt idx="42">
                        <c:v>1520.2560000000001</c:v>
                      </c:pt>
                      <c:pt idx="43">
                        <c:v>1520.2560000000001</c:v>
                      </c:pt>
                      <c:pt idx="44">
                        <c:v>1520.2560000000001</c:v>
                      </c:pt>
                      <c:pt idx="45">
                        <c:v>1520.2560000000001</c:v>
                      </c:pt>
                      <c:pt idx="46">
                        <c:v>1538.184</c:v>
                      </c:pt>
                      <c:pt idx="47">
                        <c:v>1745.1120000000001</c:v>
                      </c:pt>
                      <c:pt idx="48">
                        <c:v>1745.1120000000001</c:v>
                      </c:pt>
                      <c:pt idx="49">
                        <c:v>1745.1120000000001</c:v>
                      </c:pt>
                      <c:pt idx="50">
                        <c:v>1647.5519999999999</c:v>
                      </c:pt>
                      <c:pt idx="51">
                        <c:v>1647.5519999999999</c:v>
                      </c:pt>
                      <c:pt idx="52">
                        <c:v>1647.5519999999999</c:v>
                      </c:pt>
                      <c:pt idx="53">
                        <c:v>1293.096</c:v>
                      </c:pt>
                      <c:pt idx="54">
                        <c:v>1293.096</c:v>
                      </c:pt>
                      <c:pt idx="55">
                        <c:v>1789.4639999999999</c:v>
                      </c:pt>
                      <c:pt idx="56">
                        <c:v>1789.4639999999999</c:v>
                      </c:pt>
                      <c:pt idx="57">
                        <c:v>1789.4639999999999</c:v>
                      </c:pt>
                      <c:pt idx="58">
                        <c:v>1480.248</c:v>
                      </c:pt>
                      <c:pt idx="59">
                        <c:v>1398.0239999999999</c:v>
                      </c:pt>
                      <c:pt idx="60">
                        <c:v>1398.0239999999999</c:v>
                      </c:pt>
                      <c:pt idx="61">
                        <c:v>1331.76</c:v>
                      </c:pt>
                      <c:pt idx="62">
                        <c:v>1331.76</c:v>
                      </c:pt>
                      <c:pt idx="63">
                        <c:v>1362.432</c:v>
                      </c:pt>
                      <c:pt idx="64">
                        <c:v>1362.432</c:v>
                      </c:pt>
                      <c:pt idx="65">
                        <c:v>1319.28</c:v>
                      </c:pt>
                      <c:pt idx="66">
                        <c:v>1284.6959999999999</c:v>
                      </c:pt>
                      <c:pt idx="67">
                        <c:v>1284.6959999999999</c:v>
                      </c:pt>
                      <c:pt idx="68">
                        <c:v>1284.6959999999999</c:v>
                      </c:pt>
                      <c:pt idx="69">
                        <c:v>1201.896</c:v>
                      </c:pt>
                      <c:pt idx="70">
                        <c:v>1201.896</c:v>
                      </c:pt>
                      <c:pt idx="71">
                        <c:v>1201.896</c:v>
                      </c:pt>
                      <c:pt idx="72">
                        <c:v>1201.896</c:v>
                      </c:pt>
                      <c:pt idx="73">
                        <c:v>1201.896</c:v>
                      </c:pt>
                      <c:pt idx="74">
                        <c:v>1257.5999999999999</c:v>
                      </c:pt>
                      <c:pt idx="75">
                        <c:v>1215.336</c:v>
                      </c:pt>
                      <c:pt idx="76">
                        <c:v>1215.336</c:v>
                      </c:pt>
                      <c:pt idx="77">
                        <c:v>1215.336</c:v>
                      </c:pt>
                      <c:pt idx="78">
                        <c:v>1172.8320000000001</c:v>
                      </c:pt>
                      <c:pt idx="79">
                        <c:v>1172.8320000000001</c:v>
                      </c:pt>
                      <c:pt idx="80">
                        <c:v>1172.8320000000001</c:v>
                      </c:pt>
                      <c:pt idx="81">
                        <c:v>1172.8320000000001</c:v>
                      </c:pt>
                      <c:pt idx="82">
                        <c:v>1172.8320000000001</c:v>
                      </c:pt>
                      <c:pt idx="83">
                        <c:v>960.86400000000003</c:v>
                      </c:pt>
                      <c:pt idx="84">
                        <c:v>981.12</c:v>
                      </c:pt>
                      <c:pt idx="85">
                        <c:v>981.12</c:v>
                      </c:pt>
                      <c:pt idx="86">
                        <c:v>981.12</c:v>
                      </c:pt>
                      <c:pt idx="87">
                        <c:v>981.12</c:v>
                      </c:pt>
                      <c:pt idx="88">
                        <c:v>914.83199999999999</c:v>
                      </c:pt>
                      <c:pt idx="89">
                        <c:v>637.36800000000005</c:v>
                      </c:pt>
                      <c:pt idx="90">
                        <c:v>637.36800000000005</c:v>
                      </c:pt>
                      <c:pt idx="91">
                        <c:v>890.64</c:v>
                      </c:pt>
                      <c:pt idx="92">
                        <c:v>890.64</c:v>
                      </c:pt>
                      <c:pt idx="93">
                        <c:v>890.64</c:v>
                      </c:pt>
                      <c:pt idx="94">
                        <c:v>890.64</c:v>
                      </c:pt>
                      <c:pt idx="95">
                        <c:v>808.65599999999995</c:v>
                      </c:pt>
                      <c:pt idx="96">
                        <c:v>808.65599999999995</c:v>
                      </c:pt>
                      <c:pt idx="97">
                        <c:v>808.65599999999995</c:v>
                      </c:pt>
                      <c:pt idx="98">
                        <c:v>807.91200000000003</c:v>
                      </c:pt>
                      <c:pt idx="99">
                        <c:v>797.18399999999997</c:v>
                      </c:pt>
                      <c:pt idx="100">
                        <c:v>797.18399999999997</c:v>
                      </c:pt>
                      <c:pt idx="101">
                        <c:v>797.18399999999997</c:v>
                      </c:pt>
                      <c:pt idx="102">
                        <c:v>753.43200000000002</c:v>
                      </c:pt>
                      <c:pt idx="103">
                        <c:v>753.43200000000002</c:v>
                      </c:pt>
                      <c:pt idx="104">
                        <c:v>709.56</c:v>
                      </c:pt>
                      <c:pt idx="105">
                        <c:v>709.56</c:v>
                      </c:pt>
                      <c:pt idx="106">
                        <c:v>709.56</c:v>
                      </c:pt>
                      <c:pt idx="107">
                        <c:v>709.56</c:v>
                      </c:pt>
                      <c:pt idx="108">
                        <c:v>731.23199999999997</c:v>
                      </c:pt>
                      <c:pt idx="109">
                        <c:v>731.23199999999997</c:v>
                      </c:pt>
                      <c:pt idx="110">
                        <c:v>773.37599999999998</c:v>
                      </c:pt>
                      <c:pt idx="111">
                        <c:v>662.16</c:v>
                      </c:pt>
                      <c:pt idx="112">
                        <c:v>701.71199999999999</c:v>
                      </c:pt>
                      <c:pt idx="113">
                        <c:v>701.71199999999999</c:v>
                      </c:pt>
                      <c:pt idx="114">
                        <c:v>795.048</c:v>
                      </c:pt>
                      <c:pt idx="115">
                        <c:v>795.048</c:v>
                      </c:pt>
                      <c:pt idx="116">
                        <c:v>753.86400000000003</c:v>
                      </c:pt>
                      <c:pt idx="117">
                        <c:v>753.86400000000003</c:v>
                      </c:pt>
                      <c:pt idx="118">
                        <c:v>753.86400000000003</c:v>
                      </c:pt>
                      <c:pt idx="119">
                        <c:v>781.70399999999995</c:v>
                      </c:pt>
                      <c:pt idx="120">
                        <c:v>781.70399999999995</c:v>
                      </c:pt>
                      <c:pt idx="121">
                        <c:v>760.24800000000005</c:v>
                      </c:pt>
                      <c:pt idx="122">
                        <c:v>761.37599999999998</c:v>
                      </c:pt>
                      <c:pt idx="123">
                        <c:v>815.59199999999998</c:v>
                      </c:pt>
                      <c:pt idx="124">
                        <c:v>815.59199999999998</c:v>
                      </c:pt>
                      <c:pt idx="125">
                        <c:v>815.59199999999998</c:v>
                      </c:pt>
                      <c:pt idx="126">
                        <c:v>815.59199999999998</c:v>
                      </c:pt>
                      <c:pt idx="127">
                        <c:v>833.78399999999999</c:v>
                      </c:pt>
                      <c:pt idx="128">
                        <c:v>909.57600000000002</c:v>
                      </c:pt>
                      <c:pt idx="129">
                        <c:v>909.57600000000002</c:v>
                      </c:pt>
                      <c:pt idx="130">
                        <c:v>909.57600000000002</c:v>
                      </c:pt>
                      <c:pt idx="131">
                        <c:v>874.27200000000005</c:v>
                      </c:pt>
                      <c:pt idx="132">
                        <c:v>874.27200000000005</c:v>
                      </c:pt>
                      <c:pt idx="133">
                        <c:v>874.27200000000005</c:v>
                      </c:pt>
                      <c:pt idx="134">
                        <c:v>874.27200000000005</c:v>
                      </c:pt>
                      <c:pt idx="135">
                        <c:v>820.03200000000004</c:v>
                      </c:pt>
                      <c:pt idx="136">
                        <c:v>785.52</c:v>
                      </c:pt>
                      <c:pt idx="137">
                        <c:v>785.52</c:v>
                      </c:pt>
                      <c:pt idx="138">
                        <c:v>784.58399999999995</c:v>
                      </c:pt>
                      <c:pt idx="139">
                        <c:v>784.58399999999995</c:v>
                      </c:pt>
                      <c:pt idx="140">
                        <c:v>745.99199999999996</c:v>
                      </c:pt>
                      <c:pt idx="141">
                        <c:v>745.99199999999996</c:v>
                      </c:pt>
                      <c:pt idx="142">
                        <c:v>717.48</c:v>
                      </c:pt>
                      <c:pt idx="143">
                        <c:v>717.48</c:v>
                      </c:pt>
                      <c:pt idx="144">
                        <c:v>717.48</c:v>
                      </c:pt>
                      <c:pt idx="145">
                        <c:v>636.50400000000002</c:v>
                      </c:pt>
                      <c:pt idx="146">
                        <c:v>636.50400000000002</c:v>
                      </c:pt>
                      <c:pt idx="147">
                        <c:v>647.73599999999999</c:v>
                      </c:pt>
                      <c:pt idx="148">
                        <c:v>647.73599999999999</c:v>
                      </c:pt>
                      <c:pt idx="149">
                        <c:v>647.73599999999999</c:v>
                      </c:pt>
                      <c:pt idx="150">
                        <c:v>653.4</c:v>
                      </c:pt>
                      <c:pt idx="151">
                        <c:v>653.4</c:v>
                      </c:pt>
                      <c:pt idx="152">
                        <c:v>653.4</c:v>
                      </c:pt>
                      <c:pt idx="153">
                        <c:v>653.4</c:v>
                      </c:pt>
                      <c:pt idx="154">
                        <c:v>682.65599999999995</c:v>
                      </c:pt>
                      <c:pt idx="155">
                        <c:v>682.65599999999995</c:v>
                      </c:pt>
                      <c:pt idx="156">
                        <c:v>881.32799999999997</c:v>
                      </c:pt>
                      <c:pt idx="157">
                        <c:v>881.32799999999997</c:v>
                      </c:pt>
                      <c:pt idx="158">
                        <c:v>881.32799999999997</c:v>
                      </c:pt>
                      <c:pt idx="159">
                        <c:v>881.32799999999997</c:v>
                      </c:pt>
                      <c:pt idx="160">
                        <c:v>881.32799999999997</c:v>
                      </c:pt>
                      <c:pt idx="161">
                        <c:v>881.32799999999997</c:v>
                      </c:pt>
                      <c:pt idx="162">
                        <c:v>706.56</c:v>
                      </c:pt>
                      <c:pt idx="163">
                        <c:v>706.56</c:v>
                      </c:pt>
                      <c:pt idx="164">
                        <c:v>706.56</c:v>
                      </c:pt>
                      <c:pt idx="165">
                        <c:v>756.55200000000002</c:v>
                      </c:pt>
                      <c:pt idx="166">
                        <c:v>756.55200000000002</c:v>
                      </c:pt>
                      <c:pt idx="167">
                        <c:v>766.77599999999995</c:v>
                      </c:pt>
                      <c:pt idx="168">
                        <c:v>766.77599999999995</c:v>
                      </c:pt>
                      <c:pt idx="169">
                        <c:v>766.77599999999995</c:v>
                      </c:pt>
                      <c:pt idx="170">
                        <c:v>781.53599999999994</c:v>
                      </c:pt>
                      <c:pt idx="171">
                        <c:v>781.53599999999994</c:v>
                      </c:pt>
                      <c:pt idx="172">
                        <c:v>781.53599999999994</c:v>
                      </c:pt>
                      <c:pt idx="173">
                        <c:v>769.46400000000006</c:v>
                      </c:pt>
                      <c:pt idx="174">
                        <c:v>769.46400000000006</c:v>
                      </c:pt>
                      <c:pt idx="175">
                        <c:v>769.53599999999994</c:v>
                      </c:pt>
                      <c:pt idx="176">
                        <c:v>769.53599999999994</c:v>
                      </c:pt>
                      <c:pt idx="177">
                        <c:v>769.53599999999994</c:v>
                      </c:pt>
                      <c:pt idx="178">
                        <c:v>769.53599999999994</c:v>
                      </c:pt>
                      <c:pt idx="179">
                        <c:v>784.72799999999995</c:v>
                      </c:pt>
                      <c:pt idx="180">
                        <c:v>784.72799999999995</c:v>
                      </c:pt>
                      <c:pt idx="181">
                        <c:v>799.17600000000004</c:v>
                      </c:pt>
                      <c:pt idx="182">
                        <c:v>799.17600000000004</c:v>
                      </c:pt>
                      <c:pt idx="183">
                        <c:v>799.17600000000004</c:v>
                      </c:pt>
                      <c:pt idx="184">
                        <c:v>799.17600000000004</c:v>
                      </c:pt>
                      <c:pt idx="185">
                        <c:v>819.024</c:v>
                      </c:pt>
                      <c:pt idx="186">
                        <c:v>863.88</c:v>
                      </c:pt>
                      <c:pt idx="187">
                        <c:v>863.88</c:v>
                      </c:pt>
                      <c:pt idx="188">
                        <c:v>863.88</c:v>
                      </c:pt>
                      <c:pt idx="189">
                        <c:v>859.27200000000005</c:v>
                      </c:pt>
                      <c:pt idx="190">
                        <c:v>844.65599999999995</c:v>
                      </c:pt>
                      <c:pt idx="191">
                        <c:v>829.41600000000005</c:v>
                      </c:pt>
                      <c:pt idx="192">
                        <c:v>805.58399999999995</c:v>
                      </c:pt>
                      <c:pt idx="193">
                        <c:v>837.69600000000003</c:v>
                      </c:pt>
                      <c:pt idx="194">
                        <c:v>837.24</c:v>
                      </c:pt>
                      <c:pt idx="195">
                        <c:v>865.05600000000004</c:v>
                      </c:pt>
                      <c:pt idx="196">
                        <c:v>864.55200000000002</c:v>
                      </c:pt>
                      <c:pt idx="197">
                        <c:v>957.76800000000003</c:v>
                      </c:pt>
                      <c:pt idx="198">
                        <c:v>957.74400000000003</c:v>
                      </c:pt>
                      <c:pt idx="199">
                        <c:v>1042.704</c:v>
                      </c:pt>
                      <c:pt idx="200">
                        <c:v>1121.1600000000001</c:v>
                      </c:pt>
                      <c:pt idx="201">
                        <c:v>1195.296</c:v>
                      </c:pt>
                      <c:pt idx="202">
                        <c:v>1412.5920000000001</c:v>
                      </c:pt>
                      <c:pt idx="203">
                        <c:v>1502.184</c:v>
                      </c:pt>
                      <c:pt idx="204">
                        <c:v>1503.384</c:v>
                      </c:pt>
                      <c:pt idx="205">
                        <c:v>1960.8240000000001</c:v>
                      </c:pt>
                      <c:pt idx="206">
                        <c:v>2285.4</c:v>
                      </c:pt>
                      <c:pt idx="207">
                        <c:v>2559</c:v>
                      </c:pt>
                      <c:pt idx="208">
                        <c:v>3217.056</c:v>
                      </c:pt>
                      <c:pt idx="209">
                        <c:v>3357.3359999999998</c:v>
                      </c:pt>
                      <c:pt idx="210">
                        <c:v>3251</c:v>
                      </c:pt>
                      <c:pt idx="211">
                        <c:v>3260.328</c:v>
                      </c:pt>
                      <c:pt idx="212">
                        <c:v>3831.6</c:v>
                      </c:pt>
                      <c:pt idx="213">
                        <c:v>3770.4720000000002</c:v>
                      </c:pt>
                      <c:pt idx="214">
                        <c:v>3770.4720000000002</c:v>
                      </c:pt>
                      <c:pt idx="215">
                        <c:v>3227.2559999999999</c:v>
                      </c:pt>
                      <c:pt idx="216">
                        <c:v>3458.1120000000001</c:v>
                      </c:pt>
                      <c:pt idx="217">
                        <c:v>3458.1120000000001</c:v>
                      </c:pt>
                      <c:pt idx="218">
                        <c:v>3458.1120000000001</c:v>
                      </c:pt>
                      <c:pt idx="219">
                        <c:v>3458.1120000000001</c:v>
                      </c:pt>
                      <c:pt idx="220">
                        <c:v>3715.7759999999998</c:v>
                      </c:pt>
                      <c:pt idx="221">
                        <c:v>3715.7759999999998</c:v>
                      </c:pt>
                      <c:pt idx="222">
                        <c:v>4573.9679999999998</c:v>
                      </c:pt>
                      <c:pt idx="223">
                        <c:v>4573.9679999999998</c:v>
                      </c:pt>
                      <c:pt idx="224">
                        <c:v>4573.9679999999998</c:v>
                      </c:pt>
                      <c:pt idx="225">
                        <c:v>4209.84</c:v>
                      </c:pt>
                      <c:pt idx="226">
                        <c:v>4214.6639999999998</c:v>
                      </c:pt>
                      <c:pt idx="227">
                        <c:v>3783.5039999999999</c:v>
                      </c:pt>
                      <c:pt idx="228">
                        <c:v>3172.1280000000002</c:v>
                      </c:pt>
                      <c:pt idx="229">
                        <c:v>3586.6320000000001</c:v>
                      </c:pt>
                      <c:pt idx="230">
                        <c:v>3735.0479999999998</c:v>
                      </c:pt>
                      <c:pt idx="231">
                        <c:v>3735.0479999999998</c:v>
                      </c:pt>
                      <c:pt idx="232">
                        <c:v>3389.1840000000002</c:v>
                      </c:pt>
                      <c:pt idx="233">
                        <c:v>3389.1840000000002</c:v>
                      </c:pt>
                      <c:pt idx="234">
                        <c:v>2743.8719999999998</c:v>
                      </c:pt>
                      <c:pt idx="235">
                        <c:v>2743.8719999999998</c:v>
                      </c:pt>
                      <c:pt idx="236">
                        <c:v>3258.096</c:v>
                      </c:pt>
                      <c:pt idx="237">
                        <c:v>3258.096</c:v>
                      </c:pt>
                      <c:pt idx="238">
                        <c:v>3258.096</c:v>
                      </c:pt>
                      <c:pt idx="239">
                        <c:v>2754.0239999999999</c:v>
                      </c:pt>
                      <c:pt idx="240">
                        <c:v>2527.3919999999998</c:v>
                      </c:pt>
                      <c:pt idx="241">
                        <c:v>2527.3919999999998</c:v>
                      </c:pt>
                      <c:pt idx="242">
                        <c:v>2527.3919999999998</c:v>
                      </c:pt>
                      <c:pt idx="243">
                        <c:v>1892.616</c:v>
                      </c:pt>
                      <c:pt idx="244">
                        <c:v>1749.0719999999999</c:v>
                      </c:pt>
                      <c:pt idx="245">
                        <c:v>1671.48</c:v>
                      </c:pt>
                      <c:pt idx="246">
                        <c:v>1573.56</c:v>
                      </c:pt>
                      <c:pt idx="247">
                        <c:v>1393.1279999999999</c:v>
                      </c:pt>
                      <c:pt idx="248">
                        <c:v>1269.6479999999999</c:v>
                      </c:pt>
                      <c:pt idx="249">
                        <c:v>1269.6479999999999</c:v>
                      </c:pt>
                      <c:pt idx="250">
                        <c:v>1336.896</c:v>
                      </c:pt>
                      <c:pt idx="251">
                        <c:v>1234.4159999999999</c:v>
                      </c:pt>
                      <c:pt idx="252">
                        <c:v>1365.096</c:v>
                      </c:pt>
                    </c:numCache>
                  </c:numRef>
                </c:yVal>
                <c:smooth val="1"/>
                <c:extLst xmlns:c15="http://schemas.microsoft.com/office/drawing/2012/chart">
                  <c:ext xmlns:c16="http://schemas.microsoft.com/office/drawing/2014/chart" uri="{C3380CC4-5D6E-409C-BE32-E72D297353CC}">
                    <c16:uniqueId val="{0000000B-B1BA-4027-B324-9E28FECAA0B8}"/>
                  </c:ext>
                </c:extLst>
              </c15:ser>
            </c15:filteredScatterSeries>
            <c15:filteredScatterSeries>
              <c15:ser>
                <c:idx val="10"/>
                <c:order val="10"/>
                <c:tx>
                  <c:strRef>
                    <c:extLst xmlns:c15="http://schemas.microsoft.com/office/drawing/2012/chart">
                      <c:ext xmlns:c15="http://schemas.microsoft.com/office/drawing/2012/chart" uri="{02D57815-91ED-43cb-92C2-25804820EDAC}">
                        <c15:formulaRef>
                          <c15:sqref>'Combined rate'!$C$15</c15:sqref>
                        </c15:formulaRef>
                      </c:ext>
                    </c:extLst>
                    <c:strCache>
                      <c:ptCount val="1"/>
                      <c:pt idx="0">
                        <c:v>MOWBRAY MATERNITY  </c:v>
                      </c:pt>
                    </c:strCache>
                  </c:strRef>
                </c:tx>
                <c:spPr>
                  <a:ln w="19050" cap="rnd">
                    <a:solidFill>
                      <a:schemeClr val="accent5">
                        <a:lumMod val="60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15:$IY$15</c15:sqref>
                        </c15:formulaRef>
                      </c:ext>
                    </c:extLst>
                    <c:numCache>
                      <c:formatCode>0</c:formatCode>
                      <c:ptCount val="253"/>
                      <c:pt idx="0">
                        <c:v>309.74400000000003</c:v>
                      </c:pt>
                      <c:pt idx="1">
                        <c:v>309.74400000000003</c:v>
                      </c:pt>
                      <c:pt idx="2">
                        <c:v>309.74400000000003</c:v>
                      </c:pt>
                      <c:pt idx="3">
                        <c:v>288.31200000000001</c:v>
                      </c:pt>
                      <c:pt idx="4">
                        <c:v>288.31200000000001</c:v>
                      </c:pt>
                      <c:pt idx="5">
                        <c:v>288.31200000000001</c:v>
                      </c:pt>
                      <c:pt idx="6">
                        <c:v>288.31200000000001</c:v>
                      </c:pt>
                      <c:pt idx="7">
                        <c:v>288.31200000000001</c:v>
                      </c:pt>
                      <c:pt idx="8">
                        <c:v>285.21600000000001</c:v>
                      </c:pt>
                      <c:pt idx="9">
                        <c:v>281.04000000000002</c:v>
                      </c:pt>
                      <c:pt idx="10">
                        <c:v>281.04000000000002</c:v>
                      </c:pt>
                      <c:pt idx="11">
                        <c:v>281.04000000000002</c:v>
                      </c:pt>
                      <c:pt idx="12">
                        <c:v>281.04000000000002</c:v>
                      </c:pt>
                      <c:pt idx="13">
                        <c:v>279.40800000000002</c:v>
                      </c:pt>
                      <c:pt idx="14">
                        <c:v>277.77600000000001</c:v>
                      </c:pt>
                      <c:pt idx="15">
                        <c:v>277.77600000000001</c:v>
                      </c:pt>
                      <c:pt idx="16">
                        <c:v>277.77600000000001</c:v>
                      </c:pt>
                      <c:pt idx="17">
                        <c:v>284.64</c:v>
                      </c:pt>
                      <c:pt idx="18">
                        <c:v>284.64</c:v>
                      </c:pt>
                      <c:pt idx="19">
                        <c:v>284.64</c:v>
                      </c:pt>
                      <c:pt idx="20">
                        <c:v>284.64</c:v>
                      </c:pt>
                      <c:pt idx="21">
                        <c:v>284.64</c:v>
                      </c:pt>
                      <c:pt idx="22">
                        <c:v>270.22800000000001</c:v>
                      </c:pt>
                      <c:pt idx="23">
                        <c:v>255.816</c:v>
                      </c:pt>
                      <c:pt idx="24">
                        <c:v>312.024</c:v>
                      </c:pt>
                      <c:pt idx="25">
                        <c:v>336.53999999999996</c:v>
                      </c:pt>
                      <c:pt idx="26">
                        <c:v>348.798</c:v>
                      </c:pt>
                      <c:pt idx="27">
                        <c:v>354.92700000000002</c:v>
                      </c:pt>
                      <c:pt idx="28">
                        <c:v>361.05599999999998</c:v>
                      </c:pt>
                      <c:pt idx="29">
                        <c:v>276.83999999999997</c:v>
                      </c:pt>
                      <c:pt idx="30">
                        <c:v>276.83999999999997</c:v>
                      </c:pt>
                      <c:pt idx="31">
                        <c:v>276.83999999999997</c:v>
                      </c:pt>
                      <c:pt idx="32">
                        <c:v>276.83999999999997</c:v>
                      </c:pt>
                      <c:pt idx="33">
                        <c:v>271.55999999999995</c:v>
                      </c:pt>
                      <c:pt idx="34">
                        <c:v>268.91999999999996</c:v>
                      </c:pt>
                      <c:pt idx="35">
                        <c:v>266.27999999999997</c:v>
                      </c:pt>
                      <c:pt idx="36">
                        <c:v>266.27999999999997</c:v>
                      </c:pt>
                      <c:pt idx="37">
                        <c:v>266.27999999999997</c:v>
                      </c:pt>
                      <c:pt idx="38">
                        <c:v>298.392</c:v>
                      </c:pt>
                      <c:pt idx="39">
                        <c:v>298.392</c:v>
                      </c:pt>
                      <c:pt idx="40">
                        <c:v>292.96800000000002</c:v>
                      </c:pt>
                      <c:pt idx="41">
                        <c:v>292.96800000000002</c:v>
                      </c:pt>
                      <c:pt idx="42">
                        <c:v>292.96800000000002</c:v>
                      </c:pt>
                      <c:pt idx="43">
                        <c:v>292.96800000000002</c:v>
                      </c:pt>
                      <c:pt idx="44">
                        <c:v>292.96800000000002</c:v>
                      </c:pt>
                      <c:pt idx="45">
                        <c:v>292.96800000000002</c:v>
                      </c:pt>
                      <c:pt idx="46">
                        <c:v>238.536</c:v>
                      </c:pt>
                      <c:pt idx="47">
                        <c:v>238.536</c:v>
                      </c:pt>
                      <c:pt idx="48">
                        <c:v>238.536</c:v>
                      </c:pt>
                      <c:pt idx="49">
                        <c:v>238.536</c:v>
                      </c:pt>
                      <c:pt idx="50">
                        <c:v>258.31200000000001</c:v>
                      </c:pt>
                      <c:pt idx="51">
                        <c:v>258.31200000000001</c:v>
                      </c:pt>
                      <c:pt idx="52">
                        <c:v>258.31200000000001</c:v>
                      </c:pt>
                      <c:pt idx="53">
                        <c:v>212.01599999999999</c:v>
                      </c:pt>
                      <c:pt idx="54">
                        <c:v>217.15199999999999</c:v>
                      </c:pt>
                      <c:pt idx="55">
                        <c:v>217.15199999999999</c:v>
                      </c:pt>
                      <c:pt idx="56">
                        <c:v>217.15199999999999</c:v>
                      </c:pt>
                      <c:pt idx="57">
                        <c:v>217.15199999999999</c:v>
                      </c:pt>
                      <c:pt idx="58">
                        <c:v>217.15199999999999</c:v>
                      </c:pt>
                      <c:pt idx="59">
                        <c:v>194.78399999999999</c:v>
                      </c:pt>
                      <c:pt idx="60">
                        <c:v>194.78399999999999</c:v>
                      </c:pt>
                      <c:pt idx="61">
                        <c:v>194.78399999999999</c:v>
                      </c:pt>
                      <c:pt idx="62">
                        <c:v>194.78399999999999</c:v>
                      </c:pt>
                      <c:pt idx="63">
                        <c:v>194.78399999999999</c:v>
                      </c:pt>
                      <c:pt idx="64">
                        <c:v>250.464</c:v>
                      </c:pt>
                      <c:pt idx="65">
                        <c:v>250.464</c:v>
                      </c:pt>
                      <c:pt idx="66">
                        <c:v>250.464</c:v>
                      </c:pt>
                      <c:pt idx="67">
                        <c:v>250.464</c:v>
                      </c:pt>
                      <c:pt idx="68">
                        <c:v>244.10400000000001</c:v>
                      </c:pt>
                      <c:pt idx="69">
                        <c:v>250.94399999999999</c:v>
                      </c:pt>
                      <c:pt idx="70">
                        <c:v>228.21600000000001</c:v>
                      </c:pt>
                      <c:pt idx="71">
                        <c:v>228.21600000000001</c:v>
                      </c:pt>
                      <c:pt idx="72">
                        <c:v>228.21600000000001</c:v>
                      </c:pt>
                      <c:pt idx="73">
                        <c:v>228.21600000000001</c:v>
                      </c:pt>
                      <c:pt idx="74">
                        <c:v>228.21600000000001</c:v>
                      </c:pt>
                      <c:pt idx="75">
                        <c:v>219.31200000000001</c:v>
                      </c:pt>
                      <c:pt idx="76">
                        <c:v>219.31200000000001</c:v>
                      </c:pt>
                      <c:pt idx="77">
                        <c:v>219.31200000000001</c:v>
                      </c:pt>
                      <c:pt idx="78">
                        <c:v>258.52800000000002</c:v>
                      </c:pt>
                      <c:pt idx="79">
                        <c:v>258.52800000000002</c:v>
                      </c:pt>
                      <c:pt idx="80">
                        <c:v>258.52800000000002</c:v>
                      </c:pt>
                      <c:pt idx="81">
                        <c:v>258.52800000000002</c:v>
                      </c:pt>
                      <c:pt idx="82">
                        <c:v>264.024</c:v>
                      </c:pt>
                      <c:pt idx="83">
                        <c:v>261.64800000000002</c:v>
                      </c:pt>
                      <c:pt idx="84">
                        <c:v>261.64800000000002</c:v>
                      </c:pt>
                      <c:pt idx="85">
                        <c:v>261.64800000000002</c:v>
                      </c:pt>
                      <c:pt idx="86">
                        <c:v>259.8</c:v>
                      </c:pt>
                      <c:pt idx="87">
                        <c:v>259.8</c:v>
                      </c:pt>
                      <c:pt idx="88">
                        <c:v>255.72</c:v>
                      </c:pt>
                      <c:pt idx="89">
                        <c:v>255.72</c:v>
                      </c:pt>
                      <c:pt idx="90">
                        <c:v>255.57599999999999</c:v>
                      </c:pt>
                      <c:pt idx="91">
                        <c:v>255.57599999999999</c:v>
                      </c:pt>
                      <c:pt idx="92">
                        <c:v>293.49599999999998</c:v>
                      </c:pt>
                      <c:pt idx="93">
                        <c:v>225.84</c:v>
                      </c:pt>
                      <c:pt idx="94">
                        <c:v>225.84</c:v>
                      </c:pt>
                      <c:pt idx="95">
                        <c:v>225.84</c:v>
                      </c:pt>
                      <c:pt idx="96">
                        <c:v>225.84</c:v>
                      </c:pt>
                      <c:pt idx="97">
                        <c:v>225.84</c:v>
                      </c:pt>
                      <c:pt idx="98">
                        <c:v>225.84</c:v>
                      </c:pt>
                      <c:pt idx="99">
                        <c:v>163.87200000000001</c:v>
                      </c:pt>
                      <c:pt idx="100">
                        <c:v>163.87200000000001</c:v>
                      </c:pt>
                      <c:pt idx="101">
                        <c:v>163.87200000000001</c:v>
                      </c:pt>
                      <c:pt idx="102">
                        <c:v>163.87200000000001</c:v>
                      </c:pt>
                      <c:pt idx="103">
                        <c:v>163.87200000000001</c:v>
                      </c:pt>
                      <c:pt idx="104">
                        <c:v>211.8</c:v>
                      </c:pt>
                      <c:pt idx="105">
                        <c:v>211.8</c:v>
                      </c:pt>
                      <c:pt idx="106">
                        <c:v>211.8</c:v>
                      </c:pt>
                      <c:pt idx="107">
                        <c:v>211.8</c:v>
                      </c:pt>
                      <c:pt idx="108">
                        <c:v>211.8</c:v>
                      </c:pt>
                      <c:pt idx="109">
                        <c:v>232.00800000000001</c:v>
                      </c:pt>
                      <c:pt idx="110">
                        <c:v>232.00800000000001</c:v>
                      </c:pt>
                      <c:pt idx="111">
                        <c:v>232.00800000000001</c:v>
                      </c:pt>
                      <c:pt idx="112">
                        <c:v>266.83199999999999</c:v>
                      </c:pt>
                      <c:pt idx="113">
                        <c:v>266.83199999999999</c:v>
                      </c:pt>
                      <c:pt idx="114">
                        <c:v>266.83199999999999</c:v>
                      </c:pt>
                      <c:pt idx="115">
                        <c:v>266.83199999999999</c:v>
                      </c:pt>
                      <c:pt idx="116">
                        <c:v>228.816</c:v>
                      </c:pt>
                      <c:pt idx="117">
                        <c:v>228.816</c:v>
                      </c:pt>
                      <c:pt idx="118">
                        <c:v>224.76</c:v>
                      </c:pt>
                      <c:pt idx="119">
                        <c:v>224.76</c:v>
                      </c:pt>
                      <c:pt idx="120">
                        <c:v>224.76</c:v>
                      </c:pt>
                      <c:pt idx="121">
                        <c:v>224.76</c:v>
                      </c:pt>
                      <c:pt idx="122">
                        <c:v>224.76</c:v>
                      </c:pt>
                      <c:pt idx="123">
                        <c:v>172.63200000000001</c:v>
                      </c:pt>
                      <c:pt idx="124">
                        <c:v>172.63200000000001</c:v>
                      </c:pt>
                      <c:pt idx="125">
                        <c:v>172.63200000000001</c:v>
                      </c:pt>
                      <c:pt idx="126">
                        <c:v>172.63200000000001</c:v>
                      </c:pt>
                      <c:pt idx="127">
                        <c:v>172.63200000000001</c:v>
                      </c:pt>
                      <c:pt idx="128">
                        <c:v>198.648</c:v>
                      </c:pt>
                      <c:pt idx="129">
                        <c:v>198.648</c:v>
                      </c:pt>
                      <c:pt idx="130">
                        <c:v>198.648</c:v>
                      </c:pt>
                      <c:pt idx="131">
                        <c:v>198.648</c:v>
                      </c:pt>
                      <c:pt idx="132">
                        <c:v>198.648</c:v>
                      </c:pt>
                      <c:pt idx="133">
                        <c:v>198.648</c:v>
                      </c:pt>
                      <c:pt idx="134">
                        <c:v>198.648</c:v>
                      </c:pt>
                      <c:pt idx="135">
                        <c:v>182.11199999999999</c:v>
                      </c:pt>
                      <c:pt idx="136">
                        <c:v>182.11199999999999</c:v>
                      </c:pt>
                      <c:pt idx="137">
                        <c:v>182.11199999999999</c:v>
                      </c:pt>
                      <c:pt idx="138">
                        <c:v>182.11199999999999</c:v>
                      </c:pt>
                      <c:pt idx="139">
                        <c:v>187.08</c:v>
                      </c:pt>
                      <c:pt idx="140">
                        <c:v>187.08</c:v>
                      </c:pt>
                      <c:pt idx="141">
                        <c:v>187.29599999999999</c:v>
                      </c:pt>
                      <c:pt idx="142">
                        <c:v>187.29599999999999</c:v>
                      </c:pt>
                      <c:pt idx="143">
                        <c:v>187.29599999999999</c:v>
                      </c:pt>
                      <c:pt idx="144">
                        <c:v>296.59199999999998</c:v>
                      </c:pt>
                      <c:pt idx="145">
                        <c:v>334.75200000000001</c:v>
                      </c:pt>
                      <c:pt idx="146">
                        <c:v>334.75200000000001</c:v>
                      </c:pt>
                      <c:pt idx="147">
                        <c:v>334.75200000000001</c:v>
                      </c:pt>
                      <c:pt idx="148">
                        <c:v>334.75200000000001</c:v>
                      </c:pt>
                      <c:pt idx="149">
                        <c:v>255.048</c:v>
                      </c:pt>
                      <c:pt idx="150">
                        <c:v>255.048</c:v>
                      </c:pt>
                      <c:pt idx="151">
                        <c:v>255.048</c:v>
                      </c:pt>
                      <c:pt idx="152">
                        <c:v>262.36799999999999</c:v>
                      </c:pt>
                      <c:pt idx="153">
                        <c:v>262.36799999999999</c:v>
                      </c:pt>
                      <c:pt idx="154">
                        <c:v>220.392</c:v>
                      </c:pt>
                      <c:pt idx="155">
                        <c:v>220.392</c:v>
                      </c:pt>
                      <c:pt idx="156">
                        <c:v>220.392</c:v>
                      </c:pt>
                      <c:pt idx="157">
                        <c:v>220.392</c:v>
                      </c:pt>
                      <c:pt idx="158">
                        <c:v>233.85599999999999</c:v>
                      </c:pt>
                      <c:pt idx="159">
                        <c:v>233.85599999999999</c:v>
                      </c:pt>
                      <c:pt idx="160">
                        <c:v>233.85599999999999</c:v>
                      </c:pt>
                      <c:pt idx="161">
                        <c:v>233.328</c:v>
                      </c:pt>
                      <c:pt idx="162">
                        <c:v>242.56800000000001</c:v>
                      </c:pt>
                      <c:pt idx="163">
                        <c:v>241.464</c:v>
                      </c:pt>
                      <c:pt idx="164">
                        <c:v>241.464</c:v>
                      </c:pt>
                      <c:pt idx="165">
                        <c:v>241.464</c:v>
                      </c:pt>
                      <c:pt idx="166">
                        <c:v>224.04</c:v>
                      </c:pt>
                      <c:pt idx="167">
                        <c:v>224.04</c:v>
                      </c:pt>
                      <c:pt idx="168">
                        <c:v>221.47200000000001</c:v>
                      </c:pt>
                      <c:pt idx="169">
                        <c:v>221.47200000000001</c:v>
                      </c:pt>
                      <c:pt idx="170">
                        <c:v>209.232</c:v>
                      </c:pt>
                      <c:pt idx="171">
                        <c:v>209.232</c:v>
                      </c:pt>
                      <c:pt idx="172">
                        <c:v>209.232</c:v>
                      </c:pt>
                      <c:pt idx="173">
                        <c:v>218.83199999999999</c:v>
                      </c:pt>
                      <c:pt idx="174">
                        <c:v>218.83199999999999</c:v>
                      </c:pt>
                      <c:pt idx="175">
                        <c:v>218.83199999999999</c:v>
                      </c:pt>
                      <c:pt idx="176">
                        <c:v>218.83199999999999</c:v>
                      </c:pt>
                      <c:pt idx="177">
                        <c:v>218.16</c:v>
                      </c:pt>
                      <c:pt idx="178">
                        <c:v>218.16</c:v>
                      </c:pt>
                      <c:pt idx="179">
                        <c:v>218.16</c:v>
                      </c:pt>
                      <c:pt idx="180">
                        <c:v>218.16</c:v>
                      </c:pt>
                      <c:pt idx="181">
                        <c:v>218.16</c:v>
                      </c:pt>
                      <c:pt idx="182">
                        <c:v>218.16</c:v>
                      </c:pt>
                      <c:pt idx="183">
                        <c:v>191.06399999999999</c:v>
                      </c:pt>
                      <c:pt idx="184">
                        <c:v>191.06399999999999</c:v>
                      </c:pt>
                      <c:pt idx="185">
                        <c:v>191.06399999999999</c:v>
                      </c:pt>
                      <c:pt idx="186">
                        <c:v>191.06399999999999</c:v>
                      </c:pt>
                      <c:pt idx="187">
                        <c:v>191.06399999999999</c:v>
                      </c:pt>
                      <c:pt idx="188">
                        <c:v>191.06399999999999</c:v>
                      </c:pt>
                      <c:pt idx="189">
                        <c:v>134.52000000000001</c:v>
                      </c:pt>
                      <c:pt idx="190">
                        <c:v>134.52000000000001</c:v>
                      </c:pt>
                      <c:pt idx="191">
                        <c:v>134.52000000000001</c:v>
                      </c:pt>
                      <c:pt idx="192">
                        <c:v>134.52000000000001</c:v>
                      </c:pt>
                      <c:pt idx="193">
                        <c:v>134.52000000000001</c:v>
                      </c:pt>
                      <c:pt idx="194">
                        <c:v>186.96</c:v>
                      </c:pt>
                      <c:pt idx="195">
                        <c:v>186.96</c:v>
                      </c:pt>
                      <c:pt idx="196">
                        <c:v>186.96</c:v>
                      </c:pt>
                      <c:pt idx="197">
                        <c:v>186.96</c:v>
                      </c:pt>
                      <c:pt idx="198">
                        <c:v>179.73599999999999</c:v>
                      </c:pt>
                      <c:pt idx="199">
                        <c:v>179.73599999999999</c:v>
                      </c:pt>
                      <c:pt idx="200">
                        <c:v>179.73599999999999</c:v>
                      </c:pt>
                      <c:pt idx="201">
                        <c:v>179.73599999999999</c:v>
                      </c:pt>
                      <c:pt idx="202">
                        <c:v>179.73599999999999</c:v>
                      </c:pt>
                      <c:pt idx="203">
                        <c:v>179.73599999999999</c:v>
                      </c:pt>
                      <c:pt idx="204">
                        <c:v>179.328</c:v>
                      </c:pt>
                      <c:pt idx="205">
                        <c:v>179.328</c:v>
                      </c:pt>
                      <c:pt idx="206">
                        <c:v>186.28800000000001</c:v>
                      </c:pt>
                      <c:pt idx="207">
                        <c:v>186.28800000000001</c:v>
                      </c:pt>
                      <c:pt idx="208">
                        <c:v>166.536</c:v>
                      </c:pt>
                      <c:pt idx="209">
                        <c:v>166.536</c:v>
                      </c:pt>
                      <c:pt idx="210">
                        <c:v>186.28800000000001</c:v>
                      </c:pt>
                      <c:pt idx="211">
                        <c:v>166.536</c:v>
                      </c:pt>
                      <c:pt idx="212">
                        <c:v>166.5</c:v>
                      </c:pt>
                      <c:pt idx="213">
                        <c:v>166.536</c:v>
                      </c:pt>
                      <c:pt idx="214">
                        <c:v>166.536</c:v>
                      </c:pt>
                      <c:pt idx="215">
                        <c:v>138.52799999999999</c:v>
                      </c:pt>
                      <c:pt idx="216">
                        <c:v>138.52799999999999</c:v>
                      </c:pt>
                      <c:pt idx="217">
                        <c:v>138.52799999999999</c:v>
                      </c:pt>
                      <c:pt idx="218">
                        <c:v>138.52799999999999</c:v>
                      </c:pt>
                      <c:pt idx="219">
                        <c:v>138.52799999999999</c:v>
                      </c:pt>
                      <c:pt idx="220">
                        <c:v>146.376</c:v>
                      </c:pt>
                      <c:pt idx="221">
                        <c:v>146.376</c:v>
                      </c:pt>
                      <c:pt idx="222">
                        <c:v>146.376</c:v>
                      </c:pt>
                      <c:pt idx="223">
                        <c:v>146.376</c:v>
                      </c:pt>
                      <c:pt idx="224">
                        <c:v>146.376</c:v>
                      </c:pt>
                      <c:pt idx="225">
                        <c:v>147.26400000000001</c:v>
                      </c:pt>
                      <c:pt idx="226">
                        <c:v>147.26400000000001</c:v>
                      </c:pt>
                      <c:pt idx="227">
                        <c:v>183.21600000000001</c:v>
                      </c:pt>
                      <c:pt idx="228">
                        <c:v>183.21600000000001</c:v>
                      </c:pt>
                      <c:pt idx="229">
                        <c:v>224.61600000000001</c:v>
                      </c:pt>
                      <c:pt idx="230">
                        <c:v>232.536</c:v>
                      </c:pt>
                      <c:pt idx="231">
                        <c:v>232.536</c:v>
                      </c:pt>
                      <c:pt idx="232">
                        <c:v>232.536</c:v>
                      </c:pt>
                      <c:pt idx="233">
                        <c:v>232.536</c:v>
                      </c:pt>
                      <c:pt idx="234">
                        <c:v>216.72</c:v>
                      </c:pt>
                      <c:pt idx="235">
                        <c:v>216.72</c:v>
                      </c:pt>
                      <c:pt idx="236">
                        <c:v>216.72</c:v>
                      </c:pt>
                      <c:pt idx="237">
                        <c:v>216.72</c:v>
                      </c:pt>
                      <c:pt idx="238">
                        <c:v>216.72</c:v>
                      </c:pt>
                      <c:pt idx="239">
                        <c:v>216.72</c:v>
                      </c:pt>
                      <c:pt idx="240">
                        <c:v>157.22399999999999</c:v>
                      </c:pt>
                      <c:pt idx="241">
                        <c:v>157.22399999999999</c:v>
                      </c:pt>
                      <c:pt idx="242">
                        <c:v>157.22399999999999</c:v>
                      </c:pt>
                      <c:pt idx="243">
                        <c:v>269.52</c:v>
                      </c:pt>
                      <c:pt idx="244">
                        <c:v>269.52</c:v>
                      </c:pt>
                      <c:pt idx="245">
                        <c:v>269.52</c:v>
                      </c:pt>
                      <c:pt idx="246">
                        <c:v>228.12</c:v>
                      </c:pt>
                      <c:pt idx="247">
                        <c:v>228.12</c:v>
                      </c:pt>
                      <c:pt idx="248">
                        <c:v>228.12</c:v>
                      </c:pt>
                      <c:pt idx="249">
                        <c:v>228.12</c:v>
                      </c:pt>
                      <c:pt idx="250">
                        <c:v>228.12</c:v>
                      </c:pt>
                      <c:pt idx="251">
                        <c:v>188.85599999999999</c:v>
                      </c:pt>
                      <c:pt idx="252">
                        <c:v>188.85599999999999</c:v>
                      </c:pt>
                    </c:numCache>
                  </c:numRef>
                </c:yVal>
                <c:smooth val="1"/>
                <c:extLst xmlns:c15="http://schemas.microsoft.com/office/drawing/2012/chart">
                  <c:ext xmlns:c16="http://schemas.microsoft.com/office/drawing/2014/chart" uri="{C3380CC4-5D6E-409C-BE32-E72D297353CC}">
                    <c16:uniqueId val="{0000000C-B1BA-4027-B324-9E28FECAA0B8}"/>
                  </c:ext>
                </c:extLst>
              </c15:ser>
            </c15:filteredScatterSeries>
            <c15:filteredScatterSeries>
              <c15:ser>
                <c:idx val="11"/>
                <c:order val="11"/>
                <c:tx>
                  <c:strRef>
                    <c:extLst xmlns:c15="http://schemas.microsoft.com/office/drawing/2012/chart">
                      <c:ext xmlns:c15="http://schemas.microsoft.com/office/drawing/2012/chart" uri="{02D57815-91ED-43cb-92C2-25804820EDAC}">
                        <c15:formulaRef>
                          <c15:sqref>'Combined rate'!$C$16</c15:sqref>
                        </c15:formulaRef>
                      </c:ext>
                    </c:extLst>
                    <c:strCache>
                      <c:ptCount val="1"/>
                      <c:pt idx="0">
                        <c:v>OUDTSHOORN  </c:v>
                      </c:pt>
                    </c:strCache>
                  </c:strRef>
                </c:tx>
                <c:spPr>
                  <a:ln w="19050" cap="rnd">
                    <a:solidFill>
                      <a:schemeClr val="accent6">
                        <a:lumMod val="60000"/>
                      </a:schemeClr>
                    </a:solidFill>
                    <a:round/>
                  </a:ln>
                  <a:effectLst/>
                </c:spPr>
                <c:marker>
                  <c:symbol val="circle"/>
                  <c:size val="5"/>
                  <c:spPr>
                    <a:solidFill>
                      <a:schemeClr val="accent6">
                        <a:lumMod val="60000"/>
                      </a:schemeClr>
                    </a:solidFill>
                    <a:ln w="9525">
                      <a:solidFill>
                        <a:schemeClr val="accent6">
                          <a:lumMod val="60000"/>
                        </a:schemeClr>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16:$IY$16</c15:sqref>
                        </c15:formulaRef>
                      </c:ext>
                    </c:extLst>
                    <c:numCache>
                      <c:formatCode>0</c:formatCode>
                      <c:ptCount val="253"/>
                      <c:pt idx="0">
                        <c:v>96.96</c:v>
                      </c:pt>
                      <c:pt idx="1">
                        <c:v>99.048000000000002</c:v>
                      </c:pt>
                      <c:pt idx="2">
                        <c:v>99.048000000000002</c:v>
                      </c:pt>
                      <c:pt idx="3">
                        <c:v>100.416</c:v>
                      </c:pt>
                      <c:pt idx="4">
                        <c:v>100.416</c:v>
                      </c:pt>
                      <c:pt idx="5">
                        <c:v>100.416</c:v>
                      </c:pt>
                      <c:pt idx="6">
                        <c:v>100.416</c:v>
                      </c:pt>
                      <c:pt idx="7">
                        <c:v>100.416</c:v>
                      </c:pt>
                      <c:pt idx="8">
                        <c:v>102.55200000000001</c:v>
                      </c:pt>
                      <c:pt idx="9">
                        <c:v>102.12</c:v>
                      </c:pt>
                      <c:pt idx="10">
                        <c:v>102.12</c:v>
                      </c:pt>
                      <c:pt idx="11">
                        <c:v>102.12</c:v>
                      </c:pt>
                      <c:pt idx="12">
                        <c:v>102.12</c:v>
                      </c:pt>
                      <c:pt idx="13">
                        <c:v>102.12</c:v>
                      </c:pt>
                      <c:pt idx="14">
                        <c:v>102.12</c:v>
                      </c:pt>
                      <c:pt idx="15">
                        <c:v>102.12</c:v>
                      </c:pt>
                      <c:pt idx="16">
                        <c:v>109.944</c:v>
                      </c:pt>
                      <c:pt idx="17">
                        <c:v>109.944</c:v>
                      </c:pt>
                      <c:pt idx="18">
                        <c:v>109.944</c:v>
                      </c:pt>
                      <c:pt idx="19">
                        <c:v>109.944</c:v>
                      </c:pt>
                      <c:pt idx="20">
                        <c:v>109.944</c:v>
                      </c:pt>
                      <c:pt idx="21">
                        <c:v>109.944</c:v>
                      </c:pt>
                      <c:pt idx="22">
                        <c:v>109.896</c:v>
                      </c:pt>
                      <c:pt idx="23">
                        <c:v>109.848</c:v>
                      </c:pt>
                      <c:pt idx="24">
                        <c:v>109.848</c:v>
                      </c:pt>
                      <c:pt idx="25">
                        <c:v>109.848</c:v>
                      </c:pt>
                      <c:pt idx="26">
                        <c:v>109.848</c:v>
                      </c:pt>
                      <c:pt idx="27">
                        <c:v>109.848</c:v>
                      </c:pt>
                      <c:pt idx="28">
                        <c:v>109.848</c:v>
                      </c:pt>
                      <c:pt idx="29">
                        <c:v>109.848</c:v>
                      </c:pt>
                      <c:pt idx="30">
                        <c:v>115.584</c:v>
                      </c:pt>
                      <c:pt idx="31">
                        <c:v>115.584</c:v>
                      </c:pt>
                      <c:pt idx="32">
                        <c:v>115.584</c:v>
                      </c:pt>
                      <c:pt idx="33">
                        <c:v>115.584</c:v>
                      </c:pt>
                      <c:pt idx="34">
                        <c:v>115.584</c:v>
                      </c:pt>
                      <c:pt idx="35">
                        <c:v>115.584</c:v>
                      </c:pt>
                      <c:pt idx="36">
                        <c:v>112.968</c:v>
                      </c:pt>
                      <c:pt idx="37">
                        <c:v>112.968</c:v>
                      </c:pt>
                      <c:pt idx="38">
                        <c:v>112.968</c:v>
                      </c:pt>
                      <c:pt idx="39">
                        <c:v>112.968</c:v>
                      </c:pt>
                      <c:pt idx="40">
                        <c:v>112.968</c:v>
                      </c:pt>
                      <c:pt idx="41">
                        <c:v>112.968</c:v>
                      </c:pt>
                      <c:pt idx="42">
                        <c:v>113.42400000000001</c:v>
                      </c:pt>
                      <c:pt idx="43">
                        <c:v>113.42400000000001</c:v>
                      </c:pt>
                      <c:pt idx="44">
                        <c:v>129.43199999999999</c:v>
                      </c:pt>
                      <c:pt idx="45">
                        <c:v>129.43199999999999</c:v>
                      </c:pt>
                      <c:pt idx="46">
                        <c:v>129.43199999999999</c:v>
                      </c:pt>
                      <c:pt idx="47">
                        <c:v>129.43199999999999</c:v>
                      </c:pt>
                      <c:pt idx="48">
                        <c:v>129.43199999999999</c:v>
                      </c:pt>
                      <c:pt idx="49">
                        <c:v>129.43199999999999</c:v>
                      </c:pt>
                      <c:pt idx="50">
                        <c:v>186.21600000000001</c:v>
                      </c:pt>
                      <c:pt idx="51">
                        <c:v>186.21600000000001</c:v>
                      </c:pt>
                      <c:pt idx="52">
                        <c:v>186.21600000000001</c:v>
                      </c:pt>
                      <c:pt idx="53">
                        <c:v>186.21600000000001</c:v>
                      </c:pt>
                      <c:pt idx="54">
                        <c:v>186.21600000000001</c:v>
                      </c:pt>
                      <c:pt idx="55">
                        <c:v>186.21600000000001</c:v>
                      </c:pt>
                      <c:pt idx="56">
                        <c:v>186.21600000000001</c:v>
                      </c:pt>
                      <c:pt idx="57">
                        <c:v>224.328</c:v>
                      </c:pt>
                      <c:pt idx="58">
                        <c:v>224.328</c:v>
                      </c:pt>
                      <c:pt idx="59">
                        <c:v>224.328</c:v>
                      </c:pt>
                      <c:pt idx="60">
                        <c:v>224.328</c:v>
                      </c:pt>
                      <c:pt idx="61">
                        <c:v>224.328</c:v>
                      </c:pt>
                      <c:pt idx="62">
                        <c:v>203.28</c:v>
                      </c:pt>
                      <c:pt idx="63">
                        <c:v>203.28</c:v>
                      </c:pt>
                      <c:pt idx="64">
                        <c:v>203.28</c:v>
                      </c:pt>
                      <c:pt idx="65">
                        <c:v>253.00800000000001</c:v>
                      </c:pt>
                      <c:pt idx="66">
                        <c:v>253.00800000000001</c:v>
                      </c:pt>
                      <c:pt idx="67">
                        <c:v>253.00800000000001</c:v>
                      </c:pt>
                      <c:pt idx="68">
                        <c:v>253.00800000000001</c:v>
                      </c:pt>
                      <c:pt idx="69">
                        <c:v>253.00800000000001</c:v>
                      </c:pt>
                      <c:pt idx="70">
                        <c:v>344.01600000000002</c:v>
                      </c:pt>
                      <c:pt idx="71">
                        <c:v>347.16</c:v>
                      </c:pt>
                      <c:pt idx="72">
                        <c:v>347.16</c:v>
                      </c:pt>
                      <c:pt idx="73">
                        <c:v>442.65600000000001</c:v>
                      </c:pt>
                      <c:pt idx="74">
                        <c:v>442.65600000000001</c:v>
                      </c:pt>
                      <c:pt idx="75">
                        <c:v>442.65600000000001</c:v>
                      </c:pt>
                      <c:pt idx="76">
                        <c:v>442.65600000000001</c:v>
                      </c:pt>
                      <c:pt idx="77">
                        <c:v>457.44</c:v>
                      </c:pt>
                      <c:pt idx="78">
                        <c:v>457.44</c:v>
                      </c:pt>
                      <c:pt idx="79">
                        <c:v>523.82399999999996</c:v>
                      </c:pt>
                      <c:pt idx="80">
                        <c:v>523.82399999999996</c:v>
                      </c:pt>
                      <c:pt idx="81">
                        <c:v>523.82399999999996</c:v>
                      </c:pt>
                      <c:pt idx="82">
                        <c:v>523.82399999999996</c:v>
                      </c:pt>
                      <c:pt idx="83">
                        <c:v>415.65600000000001</c:v>
                      </c:pt>
                      <c:pt idx="84">
                        <c:v>415.65600000000001</c:v>
                      </c:pt>
                      <c:pt idx="85">
                        <c:v>415.65600000000001</c:v>
                      </c:pt>
                      <c:pt idx="86">
                        <c:v>358.36799999999999</c:v>
                      </c:pt>
                      <c:pt idx="87">
                        <c:v>358.36799999999999</c:v>
                      </c:pt>
                      <c:pt idx="88">
                        <c:v>358.36799999999999</c:v>
                      </c:pt>
                      <c:pt idx="89">
                        <c:v>358.36799999999999</c:v>
                      </c:pt>
                      <c:pt idx="90">
                        <c:v>358.36799999999999</c:v>
                      </c:pt>
                      <c:pt idx="91">
                        <c:v>378.57600000000002</c:v>
                      </c:pt>
                      <c:pt idx="92">
                        <c:v>416.976</c:v>
                      </c:pt>
                      <c:pt idx="93">
                        <c:v>416.976</c:v>
                      </c:pt>
                      <c:pt idx="94">
                        <c:v>416.976</c:v>
                      </c:pt>
                      <c:pt idx="95">
                        <c:v>416.976</c:v>
                      </c:pt>
                      <c:pt idx="96">
                        <c:v>416.976</c:v>
                      </c:pt>
                      <c:pt idx="97">
                        <c:v>416.976</c:v>
                      </c:pt>
                      <c:pt idx="98">
                        <c:v>427.15199999999999</c:v>
                      </c:pt>
                      <c:pt idx="99">
                        <c:v>427.15199999999999</c:v>
                      </c:pt>
                      <c:pt idx="100">
                        <c:v>427.15199999999999</c:v>
                      </c:pt>
                      <c:pt idx="101">
                        <c:v>459.19200000000001</c:v>
                      </c:pt>
                      <c:pt idx="102">
                        <c:v>459.19200000000001</c:v>
                      </c:pt>
                      <c:pt idx="103">
                        <c:v>459.19200000000001</c:v>
                      </c:pt>
                      <c:pt idx="104">
                        <c:v>466.12799999999999</c:v>
                      </c:pt>
                      <c:pt idx="105">
                        <c:v>466.12799999999999</c:v>
                      </c:pt>
                      <c:pt idx="106">
                        <c:v>466.12799999999999</c:v>
                      </c:pt>
                      <c:pt idx="107">
                        <c:v>466.12799999999999</c:v>
                      </c:pt>
                      <c:pt idx="108">
                        <c:v>369.86399999999998</c:v>
                      </c:pt>
                      <c:pt idx="109">
                        <c:v>369.86399999999998</c:v>
                      </c:pt>
                      <c:pt idx="110">
                        <c:v>369.86399999999998</c:v>
                      </c:pt>
                      <c:pt idx="111">
                        <c:v>369.86399999999998</c:v>
                      </c:pt>
                      <c:pt idx="112">
                        <c:v>369.86399999999998</c:v>
                      </c:pt>
                      <c:pt idx="113">
                        <c:v>369.86399999999998</c:v>
                      </c:pt>
                      <c:pt idx="114">
                        <c:v>369.86399999999998</c:v>
                      </c:pt>
                      <c:pt idx="115">
                        <c:v>369.86399999999998</c:v>
                      </c:pt>
                      <c:pt idx="116">
                        <c:v>332.16</c:v>
                      </c:pt>
                      <c:pt idx="117">
                        <c:v>332.16</c:v>
                      </c:pt>
                      <c:pt idx="118">
                        <c:v>332.16</c:v>
                      </c:pt>
                      <c:pt idx="119">
                        <c:v>361.08</c:v>
                      </c:pt>
                      <c:pt idx="120">
                        <c:v>361.08</c:v>
                      </c:pt>
                      <c:pt idx="121">
                        <c:v>361.08</c:v>
                      </c:pt>
                      <c:pt idx="122">
                        <c:v>361.08</c:v>
                      </c:pt>
                      <c:pt idx="123">
                        <c:v>361.08</c:v>
                      </c:pt>
                      <c:pt idx="124">
                        <c:v>361.08</c:v>
                      </c:pt>
                      <c:pt idx="125">
                        <c:v>361.08</c:v>
                      </c:pt>
                      <c:pt idx="126">
                        <c:v>361.08</c:v>
                      </c:pt>
                      <c:pt idx="127">
                        <c:v>316.512</c:v>
                      </c:pt>
                      <c:pt idx="128">
                        <c:v>316.512</c:v>
                      </c:pt>
                      <c:pt idx="129">
                        <c:v>316.512</c:v>
                      </c:pt>
                      <c:pt idx="130">
                        <c:v>327.048</c:v>
                      </c:pt>
                      <c:pt idx="131">
                        <c:v>327.048</c:v>
                      </c:pt>
                      <c:pt idx="132">
                        <c:v>327.048</c:v>
                      </c:pt>
                      <c:pt idx="133">
                        <c:v>327.048</c:v>
                      </c:pt>
                      <c:pt idx="134">
                        <c:v>327.048</c:v>
                      </c:pt>
                      <c:pt idx="135">
                        <c:v>327.048</c:v>
                      </c:pt>
                      <c:pt idx="136">
                        <c:v>226.05600000000001</c:v>
                      </c:pt>
                      <c:pt idx="137">
                        <c:v>226.05600000000001</c:v>
                      </c:pt>
                      <c:pt idx="138">
                        <c:v>226.05600000000001</c:v>
                      </c:pt>
                      <c:pt idx="139">
                        <c:v>226.05600000000001</c:v>
                      </c:pt>
                      <c:pt idx="140">
                        <c:v>226.05600000000001</c:v>
                      </c:pt>
                      <c:pt idx="141">
                        <c:v>226.05600000000001</c:v>
                      </c:pt>
                      <c:pt idx="142">
                        <c:v>315.50400000000002</c:v>
                      </c:pt>
                      <c:pt idx="143">
                        <c:v>315.50400000000002</c:v>
                      </c:pt>
                      <c:pt idx="144">
                        <c:v>315.50400000000002</c:v>
                      </c:pt>
                      <c:pt idx="145">
                        <c:v>315.50400000000002</c:v>
                      </c:pt>
                      <c:pt idx="146">
                        <c:v>315.50400000000002</c:v>
                      </c:pt>
                      <c:pt idx="147">
                        <c:v>368.44799999999998</c:v>
                      </c:pt>
                      <c:pt idx="148">
                        <c:v>368.44799999999998</c:v>
                      </c:pt>
                      <c:pt idx="149">
                        <c:v>368.44799999999998</c:v>
                      </c:pt>
                      <c:pt idx="150">
                        <c:v>368.44799999999998</c:v>
                      </c:pt>
                      <c:pt idx="151">
                        <c:v>368.44799999999998</c:v>
                      </c:pt>
                      <c:pt idx="152">
                        <c:v>348.6</c:v>
                      </c:pt>
                      <c:pt idx="153">
                        <c:v>348.6</c:v>
                      </c:pt>
                      <c:pt idx="154">
                        <c:v>348.6</c:v>
                      </c:pt>
                      <c:pt idx="155">
                        <c:v>348.6</c:v>
                      </c:pt>
                      <c:pt idx="156">
                        <c:v>327.48</c:v>
                      </c:pt>
                      <c:pt idx="157">
                        <c:v>327.48</c:v>
                      </c:pt>
                      <c:pt idx="158">
                        <c:v>327.48</c:v>
                      </c:pt>
                      <c:pt idx="159">
                        <c:v>327.48</c:v>
                      </c:pt>
                      <c:pt idx="160">
                        <c:v>327.48</c:v>
                      </c:pt>
                      <c:pt idx="161">
                        <c:v>312.43200000000002</c:v>
                      </c:pt>
                      <c:pt idx="162">
                        <c:v>312.43200000000002</c:v>
                      </c:pt>
                      <c:pt idx="163">
                        <c:v>312.43200000000002</c:v>
                      </c:pt>
                      <c:pt idx="164">
                        <c:v>312.43200000000002</c:v>
                      </c:pt>
                      <c:pt idx="165">
                        <c:v>312.43200000000002</c:v>
                      </c:pt>
                      <c:pt idx="166">
                        <c:v>312.43200000000002</c:v>
                      </c:pt>
                      <c:pt idx="167">
                        <c:v>250.464</c:v>
                      </c:pt>
                      <c:pt idx="168">
                        <c:v>250.464</c:v>
                      </c:pt>
                      <c:pt idx="169">
                        <c:v>250.464</c:v>
                      </c:pt>
                      <c:pt idx="170">
                        <c:v>231.024</c:v>
                      </c:pt>
                      <c:pt idx="171">
                        <c:v>231.024</c:v>
                      </c:pt>
                      <c:pt idx="172">
                        <c:v>231.024</c:v>
                      </c:pt>
                      <c:pt idx="173">
                        <c:v>231.024</c:v>
                      </c:pt>
                      <c:pt idx="174">
                        <c:v>231.024</c:v>
                      </c:pt>
                      <c:pt idx="175">
                        <c:v>231.024</c:v>
                      </c:pt>
                      <c:pt idx="176">
                        <c:v>231.024</c:v>
                      </c:pt>
                      <c:pt idx="177">
                        <c:v>231.024</c:v>
                      </c:pt>
                      <c:pt idx="178">
                        <c:v>286.22399999999999</c:v>
                      </c:pt>
                      <c:pt idx="179">
                        <c:v>286.22399999999999</c:v>
                      </c:pt>
                      <c:pt idx="180">
                        <c:v>286.22399999999999</c:v>
                      </c:pt>
                      <c:pt idx="181">
                        <c:v>286.22399999999999</c:v>
                      </c:pt>
                      <c:pt idx="182">
                        <c:v>286.22399999999999</c:v>
                      </c:pt>
                      <c:pt idx="183">
                        <c:v>286.22399999999999</c:v>
                      </c:pt>
                      <c:pt idx="184">
                        <c:v>286.22399999999999</c:v>
                      </c:pt>
                      <c:pt idx="185">
                        <c:v>184.32</c:v>
                      </c:pt>
                      <c:pt idx="186">
                        <c:v>143.83199999999999</c:v>
                      </c:pt>
                      <c:pt idx="187">
                        <c:v>143.83199999999999</c:v>
                      </c:pt>
                      <c:pt idx="188">
                        <c:v>143.83199999999999</c:v>
                      </c:pt>
                      <c:pt idx="189">
                        <c:v>147.19200000000001</c:v>
                      </c:pt>
                      <c:pt idx="190">
                        <c:v>147.19200000000001</c:v>
                      </c:pt>
                      <c:pt idx="191">
                        <c:v>161.83199999999999</c:v>
                      </c:pt>
                      <c:pt idx="192">
                        <c:v>161.83199999999999</c:v>
                      </c:pt>
                      <c:pt idx="193">
                        <c:v>161.83199999999999</c:v>
                      </c:pt>
                      <c:pt idx="194">
                        <c:v>161.83199999999999</c:v>
                      </c:pt>
                      <c:pt idx="195">
                        <c:v>161.83199999999999</c:v>
                      </c:pt>
                      <c:pt idx="196">
                        <c:v>161.83199999999999</c:v>
                      </c:pt>
                      <c:pt idx="197">
                        <c:v>242.4</c:v>
                      </c:pt>
                      <c:pt idx="198">
                        <c:v>242.4</c:v>
                      </c:pt>
                      <c:pt idx="199">
                        <c:v>242.4</c:v>
                      </c:pt>
                      <c:pt idx="200">
                        <c:v>242.4</c:v>
                      </c:pt>
                      <c:pt idx="201">
                        <c:v>302.23200000000003</c:v>
                      </c:pt>
                      <c:pt idx="202">
                        <c:v>302.23200000000003</c:v>
                      </c:pt>
                      <c:pt idx="203">
                        <c:v>577.00800000000004</c:v>
                      </c:pt>
                      <c:pt idx="204">
                        <c:v>577.00800000000004</c:v>
                      </c:pt>
                      <c:pt idx="205">
                        <c:v>577.00800000000004</c:v>
                      </c:pt>
                      <c:pt idx="206">
                        <c:v>577.00800000000004</c:v>
                      </c:pt>
                      <c:pt idx="207">
                        <c:v>577.00800000000004</c:v>
                      </c:pt>
                      <c:pt idx="208">
                        <c:v>577.00800000000004</c:v>
                      </c:pt>
                      <c:pt idx="209">
                        <c:v>563.67999999999995</c:v>
                      </c:pt>
                      <c:pt idx="210">
                        <c:v>567.00800000000004</c:v>
                      </c:pt>
                      <c:pt idx="211">
                        <c:v>553.67999999999995</c:v>
                      </c:pt>
                      <c:pt idx="212">
                        <c:v>493.7</c:v>
                      </c:pt>
                      <c:pt idx="213">
                        <c:v>549.74400000000003</c:v>
                      </c:pt>
                      <c:pt idx="214">
                        <c:v>549.74400000000003</c:v>
                      </c:pt>
                      <c:pt idx="215">
                        <c:v>549.74400000000003</c:v>
                      </c:pt>
                      <c:pt idx="216">
                        <c:v>549.74400000000003</c:v>
                      </c:pt>
                      <c:pt idx="217">
                        <c:v>549.74400000000003</c:v>
                      </c:pt>
                      <c:pt idx="218">
                        <c:v>695</c:v>
                      </c:pt>
                      <c:pt idx="219">
                        <c:v>752.25599999999997</c:v>
                      </c:pt>
                      <c:pt idx="220">
                        <c:v>752.25599999999997</c:v>
                      </c:pt>
                      <c:pt idx="221">
                        <c:v>823.39200000000005</c:v>
                      </c:pt>
                      <c:pt idx="222">
                        <c:v>823.39200000000005</c:v>
                      </c:pt>
                      <c:pt idx="223">
                        <c:v>823.39200000000005</c:v>
                      </c:pt>
                      <c:pt idx="224">
                        <c:v>786.43200000000002</c:v>
                      </c:pt>
                      <c:pt idx="225">
                        <c:v>786.43200000000002</c:v>
                      </c:pt>
                      <c:pt idx="226">
                        <c:v>786.43200000000002</c:v>
                      </c:pt>
                      <c:pt idx="227">
                        <c:v>786.43200000000002</c:v>
                      </c:pt>
                      <c:pt idx="228">
                        <c:v>786.43200000000002</c:v>
                      </c:pt>
                      <c:pt idx="229">
                        <c:v>786.43200000000002</c:v>
                      </c:pt>
                      <c:pt idx="230">
                        <c:v>786.43200000000002</c:v>
                      </c:pt>
                      <c:pt idx="231">
                        <c:v>661.82399999999996</c:v>
                      </c:pt>
                      <c:pt idx="232">
                        <c:v>661.82399999999996</c:v>
                      </c:pt>
                      <c:pt idx="233">
                        <c:v>661.82399999999996</c:v>
                      </c:pt>
                      <c:pt idx="234">
                        <c:v>674.83199999999999</c:v>
                      </c:pt>
                      <c:pt idx="235">
                        <c:v>674.83199999999999</c:v>
                      </c:pt>
                      <c:pt idx="236">
                        <c:v>674.83199999999999</c:v>
                      </c:pt>
                      <c:pt idx="237">
                        <c:v>674.83199999999999</c:v>
                      </c:pt>
                      <c:pt idx="238">
                        <c:v>809.18399999999997</c:v>
                      </c:pt>
                      <c:pt idx="239">
                        <c:v>809.18399999999997</c:v>
                      </c:pt>
                      <c:pt idx="240">
                        <c:v>716.976</c:v>
                      </c:pt>
                      <c:pt idx="241">
                        <c:v>716.976</c:v>
                      </c:pt>
                      <c:pt idx="242">
                        <c:v>716.976</c:v>
                      </c:pt>
                      <c:pt idx="243">
                        <c:v>716.976</c:v>
                      </c:pt>
                      <c:pt idx="244">
                        <c:v>716.976</c:v>
                      </c:pt>
                      <c:pt idx="245">
                        <c:v>517.60799999999995</c:v>
                      </c:pt>
                      <c:pt idx="246">
                        <c:v>517.60799999999995</c:v>
                      </c:pt>
                      <c:pt idx="247">
                        <c:v>517.60799999999995</c:v>
                      </c:pt>
                      <c:pt idx="248">
                        <c:v>517.60799999999995</c:v>
                      </c:pt>
                      <c:pt idx="249">
                        <c:v>517.60799999999995</c:v>
                      </c:pt>
                      <c:pt idx="250">
                        <c:v>478.34399999999999</c:v>
                      </c:pt>
                      <c:pt idx="251">
                        <c:v>478.34399999999999</c:v>
                      </c:pt>
                      <c:pt idx="252">
                        <c:v>478.34399999999999</c:v>
                      </c:pt>
                    </c:numCache>
                  </c:numRef>
                </c:yVal>
                <c:smooth val="1"/>
                <c:extLst xmlns:c15="http://schemas.microsoft.com/office/drawing/2012/chart">
                  <c:ext xmlns:c16="http://schemas.microsoft.com/office/drawing/2014/chart" uri="{C3380CC4-5D6E-409C-BE32-E72D297353CC}">
                    <c16:uniqueId val="{0000000D-B1BA-4027-B324-9E28FECAA0B8}"/>
                  </c:ext>
                </c:extLst>
              </c15:ser>
            </c15:filteredScatterSeries>
            <c15:filteredScatterSeries>
              <c15:ser>
                <c:idx val="12"/>
                <c:order val="12"/>
                <c:tx>
                  <c:strRef>
                    <c:extLst xmlns:c15="http://schemas.microsoft.com/office/drawing/2012/chart">
                      <c:ext xmlns:c15="http://schemas.microsoft.com/office/drawing/2012/chart" uri="{02D57815-91ED-43cb-92C2-25804820EDAC}">
                        <c15:formulaRef>
                          <c15:sqref>'Combined rate'!$C$17</c15:sqref>
                        </c15:formulaRef>
                      </c:ext>
                    </c:extLst>
                    <c:strCache>
                      <c:ptCount val="1"/>
                      <c:pt idx="0">
                        <c:v>PAARL  </c:v>
                      </c:pt>
                    </c:strCache>
                  </c:strRef>
                </c:tx>
                <c:spPr>
                  <a:ln w="19050" cap="rnd">
                    <a:solidFill>
                      <a:schemeClr val="accent1">
                        <a:lumMod val="80000"/>
                        <a:lumOff val="20000"/>
                      </a:schemeClr>
                    </a:solidFill>
                    <a:round/>
                  </a:ln>
                  <a:effectLst/>
                </c:spPr>
                <c:marker>
                  <c:symbol val="circle"/>
                  <c:size val="5"/>
                  <c:spPr>
                    <a:solidFill>
                      <a:schemeClr val="accent1">
                        <a:lumMod val="80000"/>
                        <a:lumOff val="20000"/>
                      </a:schemeClr>
                    </a:solidFill>
                    <a:ln w="9525">
                      <a:solidFill>
                        <a:schemeClr val="accent1">
                          <a:lumMod val="80000"/>
                          <a:lumOff val="20000"/>
                        </a:schemeClr>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17:$IY$17</c15:sqref>
                        </c15:formulaRef>
                      </c:ext>
                    </c:extLst>
                    <c:numCache>
                      <c:formatCode>0</c:formatCode>
                      <c:ptCount val="253"/>
                      <c:pt idx="0">
                        <c:v>425.30399999999997</c:v>
                      </c:pt>
                      <c:pt idx="1">
                        <c:v>425.30399999999997</c:v>
                      </c:pt>
                      <c:pt idx="2">
                        <c:v>498.69600000000003</c:v>
                      </c:pt>
                      <c:pt idx="3">
                        <c:v>498.69600000000003</c:v>
                      </c:pt>
                      <c:pt idx="4">
                        <c:v>498.69600000000003</c:v>
                      </c:pt>
                      <c:pt idx="5">
                        <c:v>498.69600000000003</c:v>
                      </c:pt>
                      <c:pt idx="6">
                        <c:v>498.69600000000003</c:v>
                      </c:pt>
                      <c:pt idx="7">
                        <c:v>498.69600000000003</c:v>
                      </c:pt>
                      <c:pt idx="8">
                        <c:v>686.18399999999997</c:v>
                      </c:pt>
                      <c:pt idx="9">
                        <c:v>686.18399999999997</c:v>
                      </c:pt>
                      <c:pt idx="10">
                        <c:v>686.18399999999997</c:v>
                      </c:pt>
                      <c:pt idx="11">
                        <c:v>927.40800000000002</c:v>
                      </c:pt>
                      <c:pt idx="12">
                        <c:v>927.40800000000002</c:v>
                      </c:pt>
                      <c:pt idx="13">
                        <c:v>893.7</c:v>
                      </c:pt>
                      <c:pt idx="14">
                        <c:v>859.99199999999996</c:v>
                      </c:pt>
                      <c:pt idx="15">
                        <c:v>859.99199999999996</c:v>
                      </c:pt>
                      <c:pt idx="16">
                        <c:v>859.99199999999996</c:v>
                      </c:pt>
                      <c:pt idx="17">
                        <c:v>793.00800000000004</c:v>
                      </c:pt>
                      <c:pt idx="18">
                        <c:v>793.00800000000004</c:v>
                      </c:pt>
                      <c:pt idx="19">
                        <c:v>821.98800000000006</c:v>
                      </c:pt>
                      <c:pt idx="20">
                        <c:v>836.47800000000007</c:v>
                      </c:pt>
                      <c:pt idx="21">
                        <c:v>850.96799999999996</c:v>
                      </c:pt>
                      <c:pt idx="22">
                        <c:v>950.56799999999998</c:v>
                      </c:pt>
                      <c:pt idx="23">
                        <c:v>1050.1679999999999</c:v>
                      </c:pt>
                      <c:pt idx="24">
                        <c:v>1050.1679999999999</c:v>
                      </c:pt>
                      <c:pt idx="25">
                        <c:v>1053.732</c:v>
                      </c:pt>
                      <c:pt idx="26">
                        <c:v>1055.5140000000001</c:v>
                      </c:pt>
                      <c:pt idx="27">
                        <c:v>1056.4050000000002</c:v>
                      </c:pt>
                      <c:pt idx="28">
                        <c:v>1057.296</c:v>
                      </c:pt>
                      <c:pt idx="29">
                        <c:v>1151.3520000000001</c:v>
                      </c:pt>
                      <c:pt idx="30">
                        <c:v>1151.3520000000001</c:v>
                      </c:pt>
                      <c:pt idx="31">
                        <c:v>1151.3520000000001</c:v>
                      </c:pt>
                      <c:pt idx="32">
                        <c:v>1125.8399999999999</c:v>
                      </c:pt>
                      <c:pt idx="33">
                        <c:v>1221.492</c:v>
                      </c:pt>
                      <c:pt idx="34">
                        <c:v>1269.318</c:v>
                      </c:pt>
                      <c:pt idx="35">
                        <c:v>1317.144</c:v>
                      </c:pt>
                      <c:pt idx="36">
                        <c:v>1317.144</c:v>
                      </c:pt>
                      <c:pt idx="37">
                        <c:v>1317.144</c:v>
                      </c:pt>
                      <c:pt idx="38">
                        <c:v>1313.28</c:v>
                      </c:pt>
                      <c:pt idx="39">
                        <c:v>1313.28</c:v>
                      </c:pt>
                      <c:pt idx="40">
                        <c:v>1243.704</c:v>
                      </c:pt>
                      <c:pt idx="41">
                        <c:v>1243.704</c:v>
                      </c:pt>
                      <c:pt idx="42">
                        <c:v>1215.4559999999999</c:v>
                      </c:pt>
                      <c:pt idx="43">
                        <c:v>1215.4559999999999</c:v>
                      </c:pt>
                      <c:pt idx="44">
                        <c:v>1215.4559999999999</c:v>
                      </c:pt>
                      <c:pt idx="45">
                        <c:v>1215.4559999999999</c:v>
                      </c:pt>
                      <c:pt idx="46">
                        <c:v>786.76800000000003</c:v>
                      </c:pt>
                      <c:pt idx="47">
                        <c:v>786.76800000000003</c:v>
                      </c:pt>
                      <c:pt idx="48">
                        <c:v>786.76800000000003</c:v>
                      </c:pt>
                      <c:pt idx="49">
                        <c:v>786.76800000000003</c:v>
                      </c:pt>
                      <c:pt idx="50">
                        <c:v>1109.472</c:v>
                      </c:pt>
                      <c:pt idx="51">
                        <c:v>1009.5359999999999</c:v>
                      </c:pt>
                      <c:pt idx="52">
                        <c:v>1009.5359999999999</c:v>
                      </c:pt>
                      <c:pt idx="53">
                        <c:v>1009.5359999999999</c:v>
                      </c:pt>
                      <c:pt idx="54">
                        <c:v>1009.5359999999999</c:v>
                      </c:pt>
                      <c:pt idx="55">
                        <c:v>719.83199999999999</c:v>
                      </c:pt>
                      <c:pt idx="56">
                        <c:v>719.83199999999999</c:v>
                      </c:pt>
                      <c:pt idx="57">
                        <c:v>719.83199999999999</c:v>
                      </c:pt>
                      <c:pt idx="58">
                        <c:v>719.83199999999999</c:v>
                      </c:pt>
                      <c:pt idx="59">
                        <c:v>719.83199999999999</c:v>
                      </c:pt>
                      <c:pt idx="60">
                        <c:v>1015.3920000000001</c:v>
                      </c:pt>
                      <c:pt idx="61">
                        <c:v>1036.5360000000001</c:v>
                      </c:pt>
                      <c:pt idx="62">
                        <c:v>1036.5360000000001</c:v>
                      </c:pt>
                      <c:pt idx="63">
                        <c:v>1020.888</c:v>
                      </c:pt>
                      <c:pt idx="64">
                        <c:v>1020.888</c:v>
                      </c:pt>
                      <c:pt idx="65">
                        <c:v>862.48800000000006</c:v>
                      </c:pt>
                      <c:pt idx="66">
                        <c:v>862.48800000000006</c:v>
                      </c:pt>
                      <c:pt idx="67">
                        <c:v>901.32</c:v>
                      </c:pt>
                      <c:pt idx="68">
                        <c:v>901.32</c:v>
                      </c:pt>
                      <c:pt idx="69">
                        <c:v>850.24800000000005</c:v>
                      </c:pt>
                      <c:pt idx="70">
                        <c:v>850.24800000000005</c:v>
                      </c:pt>
                      <c:pt idx="71">
                        <c:v>850.24800000000005</c:v>
                      </c:pt>
                      <c:pt idx="72">
                        <c:v>726.38400000000001</c:v>
                      </c:pt>
                      <c:pt idx="73">
                        <c:v>726.38400000000001</c:v>
                      </c:pt>
                      <c:pt idx="74">
                        <c:v>692.11199999999997</c:v>
                      </c:pt>
                      <c:pt idx="75">
                        <c:v>692.11199999999997</c:v>
                      </c:pt>
                      <c:pt idx="76">
                        <c:v>692.11199999999997</c:v>
                      </c:pt>
                      <c:pt idx="77">
                        <c:v>692.11199999999997</c:v>
                      </c:pt>
                      <c:pt idx="78">
                        <c:v>813.36</c:v>
                      </c:pt>
                      <c:pt idx="79">
                        <c:v>813.36</c:v>
                      </c:pt>
                      <c:pt idx="80">
                        <c:v>762.93600000000004</c:v>
                      </c:pt>
                      <c:pt idx="81">
                        <c:v>762.93600000000004</c:v>
                      </c:pt>
                      <c:pt idx="82">
                        <c:v>762.93600000000004</c:v>
                      </c:pt>
                      <c:pt idx="83">
                        <c:v>727.08</c:v>
                      </c:pt>
                      <c:pt idx="84">
                        <c:v>727.08</c:v>
                      </c:pt>
                      <c:pt idx="85">
                        <c:v>727.08</c:v>
                      </c:pt>
                      <c:pt idx="86">
                        <c:v>727.08</c:v>
                      </c:pt>
                      <c:pt idx="87">
                        <c:v>727.08</c:v>
                      </c:pt>
                      <c:pt idx="88">
                        <c:v>627.43200000000002</c:v>
                      </c:pt>
                      <c:pt idx="89">
                        <c:v>627.43200000000002</c:v>
                      </c:pt>
                      <c:pt idx="90">
                        <c:v>643.22400000000005</c:v>
                      </c:pt>
                      <c:pt idx="91">
                        <c:v>643.22400000000005</c:v>
                      </c:pt>
                      <c:pt idx="92">
                        <c:v>643.22400000000005</c:v>
                      </c:pt>
                      <c:pt idx="93">
                        <c:v>622.48800000000006</c:v>
                      </c:pt>
                      <c:pt idx="94">
                        <c:v>622.48800000000006</c:v>
                      </c:pt>
                      <c:pt idx="95">
                        <c:v>622.48800000000006</c:v>
                      </c:pt>
                      <c:pt idx="96">
                        <c:v>557.66399999999999</c:v>
                      </c:pt>
                      <c:pt idx="97">
                        <c:v>557.66399999999999</c:v>
                      </c:pt>
                      <c:pt idx="98">
                        <c:v>557.66399999999999</c:v>
                      </c:pt>
                      <c:pt idx="99">
                        <c:v>557.66399999999999</c:v>
                      </c:pt>
                      <c:pt idx="100">
                        <c:v>435.98399999999998</c:v>
                      </c:pt>
                      <c:pt idx="101">
                        <c:v>435.98399999999998</c:v>
                      </c:pt>
                      <c:pt idx="102">
                        <c:v>435.98399999999998</c:v>
                      </c:pt>
                      <c:pt idx="103">
                        <c:v>435.98399999999998</c:v>
                      </c:pt>
                      <c:pt idx="104">
                        <c:v>338.976</c:v>
                      </c:pt>
                      <c:pt idx="105">
                        <c:v>338.976</c:v>
                      </c:pt>
                      <c:pt idx="106">
                        <c:v>315.69600000000003</c:v>
                      </c:pt>
                      <c:pt idx="107">
                        <c:v>315.69600000000003</c:v>
                      </c:pt>
                      <c:pt idx="108">
                        <c:v>446.904</c:v>
                      </c:pt>
                      <c:pt idx="109">
                        <c:v>446.904</c:v>
                      </c:pt>
                      <c:pt idx="110">
                        <c:v>446.904</c:v>
                      </c:pt>
                      <c:pt idx="111">
                        <c:v>446.904</c:v>
                      </c:pt>
                      <c:pt idx="112">
                        <c:v>446.904</c:v>
                      </c:pt>
                      <c:pt idx="113">
                        <c:v>446.904</c:v>
                      </c:pt>
                      <c:pt idx="114">
                        <c:v>446.904</c:v>
                      </c:pt>
                      <c:pt idx="115">
                        <c:v>373.608</c:v>
                      </c:pt>
                      <c:pt idx="116">
                        <c:v>373.608</c:v>
                      </c:pt>
                      <c:pt idx="117">
                        <c:v>373.608</c:v>
                      </c:pt>
                      <c:pt idx="118">
                        <c:v>373.608</c:v>
                      </c:pt>
                      <c:pt idx="119">
                        <c:v>410.25599999999997</c:v>
                      </c:pt>
                      <c:pt idx="120">
                        <c:v>410.25599999999997</c:v>
                      </c:pt>
                      <c:pt idx="121">
                        <c:v>500.85599999999999</c:v>
                      </c:pt>
                      <c:pt idx="122">
                        <c:v>500.85599999999999</c:v>
                      </c:pt>
                      <c:pt idx="123">
                        <c:v>500.85599999999999</c:v>
                      </c:pt>
                      <c:pt idx="124">
                        <c:v>500.85599999999999</c:v>
                      </c:pt>
                      <c:pt idx="125">
                        <c:v>423</c:v>
                      </c:pt>
                      <c:pt idx="126">
                        <c:v>423</c:v>
                      </c:pt>
                      <c:pt idx="127">
                        <c:v>423</c:v>
                      </c:pt>
                      <c:pt idx="128">
                        <c:v>423</c:v>
                      </c:pt>
                      <c:pt idx="129">
                        <c:v>423</c:v>
                      </c:pt>
                      <c:pt idx="130">
                        <c:v>394.00799999999998</c:v>
                      </c:pt>
                      <c:pt idx="131">
                        <c:v>394.00799999999998</c:v>
                      </c:pt>
                      <c:pt idx="132">
                        <c:v>387.21600000000001</c:v>
                      </c:pt>
                      <c:pt idx="133">
                        <c:v>387.21600000000001</c:v>
                      </c:pt>
                      <c:pt idx="134">
                        <c:v>387.21600000000001</c:v>
                      </c:pt>
                      <c:pt idx="135">
                        <c:v>318.14400000000001</c:v>
                      </c:pt>
                      <c:pt idx="136">
                        <c:v>318.14400000000001</c:v>
                      </c:pt>
                      <c:pt idx="137">
                        <c:v>318.14400000000001</c:v>
                      </c:pt>
                      <c:pt idx="138">
                        <c:v>318.14400000000001</c:v>
                      </c:pt>
                      <c:pt idx="139">
                        <c:v>309.33600000000001</c:v>
                      </c:pt>
                      <c:pt idx="140">
                        <c:v>309.33600000000001</c:v>
                      </c:pt>
                      <c:pt idx="141">
                        <c:v>309.33600000000001</c:v>
                      </c:pt>
                      <c:pt idx="142">
                        <c:v>309.33600000000001</c:v>
                      </c:pt>
                      <c:pt idx="143">
                        <c:v>309.33600000000001</c:v>
                      </c:pt>
                      <c:pt idx="144">
                        <c:v>438.38400000000001</c:v>
                      </c:pt>
                      <c:pt idx="145">
                        <c:v>438.38400000000001</c:v>
                      </c:pt>
                      <c:pt idx="146">
                        <c:v>438.38400000000001</c:v>
                      </c:pt>
                      <c:pt idx="147">
                        <c:v>438.38400000000001</c:v>
                      </c:pt>
                      <c:pt idx="148">
                        <c:v>438.38400000000001</c:v>
                      </c:pt>
                      <c:pt idx="149">
                        <c:v>446.66399999999999</c:v>
                      </c:pt>
                      <c:pt idx="150">
                        <c:v>446.66399999999999</c:v>
                      </c:pt>
                      <c:pt idx="151">
                        <c:v>446.66399999999999</c:v>
                      </c:pt>
                      <c:pt idx="152">
                        <c:v>446.66399999999999</c:v>
                      </c:pt>
                      <c:pt idx="153">
                        <c:v>413.30399999999997</c:v>
                      </c:pt>
                      <c:pt idx="154">
                        <c:v>413.30399999999997</c:v>
                      </c:pt>
                      <c:pt idx="155">
                        <c:v>415.03199999999998</c:v>
                      </c:pt>
                      <c:pt idx="156">
                        <c:v>343.05599999999998</c:v>
                      </c:pt>
                      <c:pt idx="157">
                        <c:v>343.05599999999998</c:v>
                      </c:pt>
                      <c:pt idx="158">
                        <c:v>343.05599999999998</c:v>
                      </c:pt>
                      <c:pt idx="159">
                        <c:v>422.85599999999999</c:v>
                      </c:pt>
                      <c:pt idx="160">
                        <c:v>422.85599999999999</c:v>
                      </c:pt>
                      <c:pt idx="161">
                        <c:v>422.85599999999999</c:v>
                      </c:pt>
                      <c:pt idx="162">
                        <c:v>353.78399999999999</c:v>
                      </c:pt>
                      <c:pt idx="163">
                        <c:v>345.14400000000001</c:v>
                      </c:pt>
                      <c:pt idx="164">
                        <c:v>345.14400000000001</c:v>
                      </c:pt>
                      <c:pt idx="165">
                        <c:v>345.14400000000001</c:v>
                      </c:pt>
                      <c:pt idx="166">
                        <c:v>345.14400000000001</c:v>
                      </c:pt>
                      <c:pt idx="167">
                        <c:v>458.11200000000002</c:v>
                      </c:pt>
                      <c:pt idx="168">
                        <c:v>458.11200000000002</c:v>
                      </c:pt>
                      <c:pt idx="169">
                        <c:v>458.11200000000002</c:v>
                      </c:pt>
                      <c:pt idx="170">
                        <c:v>400.2</c:v>
                      </c:pt>
                      <c:pt idx="171">
                        <c:v>400.2</c:v>
                      </c:pt>
                      <c:pt idx="172">
                        <c:v>400.2</c:v>
                      </c:pt>
                      <c:pt idx="173">
                        <c:v>332.64</c:v>
                      </c:pt>
                      <c:pt idx="174">
                        <c:v>332.64</c:v>
                      </c:pt>
                      <c:pt idx="175">
                        <c:v>332.64</c:v>
                      </c:pt>
                      <c:pt idx="176">
                        <c:v>332.64</c:v>
                      </c:pt>
                      <c:pt idx="177">
                        <c:v>383.28</c:v>
                      </c:pt>
                      <c:pt idx="178">
                        <c:v>383.28</c:v>
                      </c:pt>
                      <c:pt idx="179">
                        <c:v>383.28</c:v>
                      </c:pt>
                      <c:pt idx="180">
                        <c:v>464.32799999999997</c:v>
                      </c:pt>
                      <c:pt idx="181">
                        <c:v>464.32799999999997</c:v>
                      </c:pt>
                      <c:pt idx="182">
                        <c:v>464.32799999999997</c:v>
                      </c:pt>
                      <c:pt idx="183">
                        <c:v>515.66399999999999</c:v>
                      </c:pt>
                      <c:pt idx="184">
                        <c:v>515.66399999999999</c:v>
                      </c:pt>
                      <c:pt idx="185">
                        <c:v>515.66399999999999</c:v>
                      </c:pt>
                      <c:pt idx="186">
                        <c:v>510.62400000000002</c:v>
                      </c:pt>
                      <c:pt idx="187">
                        <c:v>510.62400000000002</c:v>
                      </c:pt>
                      <c:pt idx="188">
                        <c:v>510.62400000000002</c:v>
                      </c:pt>
                      <c:pt idx="189">
                        <c:v>496.12799999999999</c:v>
                      </c:pt>
                      <c:pt idx="190">
                        <c:v>496.12799999999999</c:v>
                      </c:pt>
                      <c:pt idx="191">
                        <c:v>441.31200000000001</c:v>
                      </c:pt>
                      <c:pt idx="192">
                        <c:v>441.31200000000001</c:v>
                      </c:pt>
                      <c:pt idx="193">
                        <c:v>648.16800000000001</c:v>
                      </c:pt>
                      <c:pt idx="194">
                        <c:v>648.16800000000001</c:v>
                      </c:pt>
                      <c:pt idx="195">
                        <c:v>677.37599999999998</c:v>
                      </c:pt>
                      <c:pt idx="196">
                        <c:v>677.37599999999998</c:v>
                      </c:pt>
                      <c:pt idx="197">
                        <c:v>831.84</c:v>
                      </c:pt>
                      <c:pt idx="198">
                        <c:v>831.84</c:v>
                      </c:pt>
                      <c:pt idx="199">
                        <c:v>831.84</c:v>
                      </c:pt>
                      <c:pt idx="200">
                        <c:v>858.024</c:v>
                      </c:pt>
                      <c:pt idx="201">
                        <c:v>514.32000000000005</c:v>
                      </c:pt>
                      <c:pt idx="202">
                        <c:v>514.32000000000005</c:v>
                      </c:pt>
                      <c:pt idx="203">
                        <c:v>464.01600000000002</c:v>
                      </c:pt>
                      <c:pt idx="204">
                        <c:v>464.01600000000002</c:v>
                      </c:pt>
                      <c:pt idx="205">
                        <c:v>804.57600000000002</c:v>
                      </c:pt>
                      <c:pt idx="206">
                        <c:v>900.28800000000001</c:v>
                      </c:pt>
                      <c:pt idx="207">
                        <c:v>900.67200000000003</c:v>
                      </c:pt>
                      <c:pt idx="208">
                        <c:v>1308.6959999999999</c:v>
                      </c:pt>
                      <c:pt idx="209">
                        <c:v>1594.1279999999999</c:v>
                      </c:pt>
                      <c:pt idx="210">
                        <c:v>1654.1279999999999</c:v>
                      </c:pt>
                      <c:pt idx="211">
                        <c:v>1999.008</c:v>
                      </c:pt>
                      <c:pt idx="212">
                        <c:v>2035</c:v>
                      </c:pt>
                      <c:pt idx="213">
                        <c:v>1720.992</c:v>
                      </c:pt>
                      <c:pt idx="214">
                        <c:v>1720.992</c:v>
                      </c:pt>
                      <c:pt idx="215">
                        <c:v>1904.0160000000001</c:v>
                      </c:pt>
                      <c:pt idx="216">
                        <c:v>1809.864</c:v>
                      </c:pt>
                      <c:pt idx="217">
                        <c:v>1809.864</c:v>
                      </c:pt>
                      <c:pt idx="218">
                        <c:v>1809.864</c:v>
                      </c:pt>
                      <c:pt idx="219">
                        <c:v>1809.864</c:v>
                      </c:pt>
                      <c:pt idx="220">
                        <c:v>2434.6320000000001</c:v>
                      </c:pt>
                      <c:pt idx="221">
                        <c:v>1740.9711470783805</c:v>
                      </c:pt>
                      <c:pt idx="222">
                        <c:v>2235.0579150599242</c:v>
                      </c:pt>
                      <c:pt idx="223">
                        <c:v>2281.477190447863</c:v>
                      </c:pt>
                      <c:pt idx="224">
                        <c:v>2832.0285544322778</c:v>
                      </c:pt>
                      <c:pt idx="225">
                        <c:v>2668.5714285714284</c:v>
                      </c:pt>
                      <c:pt idx="226">
                        <c:v>2736.6515837050529</c:v>
                      </c:pt>
                      <c:pt idx="227">
                        <c:v>4015.4754098513922</c:v>
                      </c:pt>
                      <c:pt idx="228">
                        <c:v>3481.5312290067723</c:v>
                      </c:pt>
                      <c:pt idx="229">
                        <c:v>3496.5395894332655</c:v>
                      </c:pt>
                      <c:pt idx="230">
                        <c:v>4491.7431192612576</c:v>
                      </c:pt>
                      <c:pt idx="231">
                        <c:v>3251.6129032429017</c:v>
                      </c:pt>
                      <c:pt idx="232">
                        <c:v>3183.3663366226556</c:v>
                      </c:pt>
                      <c:pt idx="233">
                        <c:v>3050.8474576376534</c:v>
                      </c:pt>
                      <c:pt idx="234">
                        <c:v>3195.4987212295246</c:v>
                      </c:pt>
                      <c:pt idx="235">
                        <c:v>3097.4422188025956</c:v>
                      </c:pt>
                      <c:pt idx="236">
                        <c:v>2525.9016393350403</c:v>
                      </c:pt>
                      <c:pt idx="237">
                        <c:v>3268.1675921198112</c:v>
                      </c:pt>
                      <c:pt idx="238">
                        <c:v>3303.9828693946638</c:v>
                      </c:pt>
                      <c:pt idx="239">
                        <c:v>2756.348884378735</c:v>
                      </c:pt>
                      <c:pt idx="240">
                        <c:v>2773</c:v>
                      </c:pt>
                      <c:pt idx="241">
                        <c:v>2179</c:v>
                      </c:pt>
                      <c:pt idx="242">
                        <c:v>1801</c:v>
                      </c:pt>
                      <c:pt idx="243">
                        <c:v>1978</c:v>
                      </c:pt>
                      <c:pt idx="244">
                        <c:v>1978</c:v>
                      </c:pt>
                      <c:pt idx="245">
                        <c:v>1878.7919999999999</c:v>
                      </c:pt>
                      <c:pt idx="246">
                        <c:v>1498</c:v>
                      </c:pt>
                      <c:pt idx="247">
                        <c:v>1478</c:v>
                      </c:pt>
                      <c:pt idx="248">
                        <c:v>1855.08</c:v>
                      </c:pt>
                      <c:pt idx="249">
                        <c:v>1589.0640000000001</c:v>
                      </c:pt>
                      <c:pt idx="250">
                        <c:v>1199.616</c:v>
                      </c:pt>
                      <c:pt idx="251">
                        <c:v>1220.3520000000001</c:v>
                      </c:pt>
                      <c:pt idx="252">
                        <c:v>1289.4960000000001</c:v>
                      </c:pt>
                    </c:numCache>
                  </c:numRef>
                </c:yVal>
                <c:smooth val="1"/>
                <c:extLst xmlns:c15="http://schemas.microsoft.com/office/drawing/2012/chart">
                  <c:ext xmlns:c16="http://schemas.microsoft.com/office/drawing/2014/chart" uri="{C3380CC4-5D6E-409C-BE32-E72D297353CC}">
                    <c16:uniqueId val="{0000000E-B1BA-4027-B324-9E28FECAA0B8}"/>
                  </c:ext>
                </c:extLst>
              </c15:ser>
            </c15:filteredScatterSeries>
            <c15:filteredScatterSeries>
              <c15:ser>
                <c:idx val="13"/>
                <c:order val="13"/>
                <c:tx>
                  <c:strRef>
                    <c:extLst xmlns:c15="http://schemas.microsoft.com/office/drawing/2012/chart">
                      <c:ext xmlns:c15="http://schemas.microsoft.com/office/drawing/2012/chart" uri="{02D57815-91ED-43cb-92C2-25804820EDAC}">
                        <c15:formulaRef>
                          <c15:sqref>'Combined rate'!$C$18</c15:sqref>
                        </c15:formulaRef>
                      </c:ext>
                    </c:extLst>
                    <c:strCache>
                      <c:ptCount val="1"/>
                      <c:pt idx="0">
                        <c:v>RED CROSS  </c:v>
                      </c:pt>
                    </c:strCache>
                  </c:strRef>
                </c:tx>
                <c:spPr>
                  <a:ln w="19050" cap="rnd">
                    <a:solidFill>
                      <a:schemeClr val="accent2">
                        <a:lumMod val="80000"/>
                        <a:lumOff val="20000"/>
                      </a:schemeClr>
                    </a:solidFill>
                    <a:round/>
                  </a:ln>
                  <a:effectLst/>
                </c:spPr>
                <c:marker>
                  <c:symbol val="circle"/>
                  <c:size val="5"/>
                  <c:spPr>
                    <a:solidFill>
                      <a:schemeClr val="accent2">
                        <a:lumMod val="80000"/>
                        <a:lumOff val="20000"/>
                      </a:schemeClr>
                    </a:solidFill>
                    <a:ln w="9525">
                      <a:solidFill>
                        <a:schemeClr val="accent2">
                          <a:lumMod val="80000"/>
                          <a:lumOff val="20000"/>
                        </a:schemeClr>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18:$IY$18</c15:sqref>
                        </c15:formulaRef>
                      </c:ext>
                    </c:extLst>
                    <c:numCache>
                      <c:formatCode>0</c:formatCode>
                      <c:ptCount val="253"/>
                      <c:pt idx="0">
                        <c:v>560.06399999999996</c:v>
                      </c:pt>
                      <c:pt idx="1">
                        <c:v>560.06399999999996</c:v>
                      </c:pt>
                      <c:pt idx="2">
                        <c:v>560.06399999999996</c:v>
                      </c:pt>
                      <c:pt idx="3">
                        <c:v>560.06399999999996</c:v>
                      </c:pt>
                      <c:pt idx="4">
                        <c:v>585.59999999999991</c:v>
                      </c:pt>
                      <c:pt idx="5">
                        <c:v>598.36799999999994</c:v>
                      </c:pt>
                      <c:pt idx="6">
                        <c:v>604.75199999999995</c:v>
                      </c:pt>
                      <c:pt idx="7">
                        <c:v>611.13599999999997</c:v>
                      </c:pt>
                      <c:pt idx="8">
                        <c:v>611.13599999999997</c:v>
                      </c:pt>
                      <c:pt idx="9">
                        <c:v>578.13599999999997</c:v>
                      </c:pt>
                      <c:pt idx="10">
                        <c:v>578.13599999999997</c:v>
                      </c:pt>
                      <c:pt idx="11">
                        <c:v>578.13599999999997</c:v>
                      </c:pt>
                      <c:pt idx="12">
                        <c:v>578.13599999999997</c:v>
                      </c:pt>
                      <c:pt idx="13">
                        <c:v>578.13599999999997</c:v>
                      </c:pt>
                      <c:pt idx="14">
                        <c:v>578.13599999999997</c:v>
                      </c:pt>
                      <c:pt idx="15">
                        <c:v>578.13599999999997</c:v>
                      </c:pt>
                      <c:pt idx="16">
                        <c:v>578.13599999999997</c:v>
                      </c:pt>
                      <c:pt idx="17">
                        <c:v>578.13599999999997</c:v>
                      </c:pt>
                      <c:pt idx="18">
                        <c:v>629.952</c:v>
                      </c:pt>
                      <c:pt idx="19">
                        <c:v>629.952</c:v>
                      </c:pt>
                      <c:pt idx="20">
                        <c:v>629.952</c:v>
                      </c:pt>
                      <c:pt idx="21">
                        <c:v>629.952</c:v>
                      </c:pt>
                      <c:pt idx="22">
                        <c:v>680.11200000000008</c:v>
                      </c:pt>
                      <c:pt idx="23">
                        <c:v>730.27200000000005</c:v>
                      </c:pt>
                      <c:pt idx="24">
                        <c:v>730.27200000000005</c:v>
                      </c:pt>
                      <c:pt idx="25">
                        <c:v>730.27200000000005</c:v>
                      </c:pt>
                      <c:pt idx="26">
                        <c:v>730.27200000000005</c:v>
                      </c:pt>
                      <c:pt idx="27">
                        <c:v>730.27200000000005</c:v>
                      </c:pt>
                      <c:pt idx="28">
                        <c:v>730.27200000000005</c:v>
                      </c:pt>
                      <c:pt idx="29">
                        <c:v>730.27200000000005</c:v>
                      </c:pt>
                      <c:pt idx="30">
                        <c:v>730.27200000000005</c:v>
                      </c:pt>
                      <c:pt idx="31">
                        <c:v>685.84799999999996</c:v>
                      </c:pt>
                      <c:pt idx="32">
                        <c:v>685.84799999999996</c:v>
                      </c:pt>
                      <c:pt idx="33">
                        <c:v>685.84799999999996</c:v>
                      </c:pt>
                      <c:pt idx="34">
                        <c:v>685.84799999999996</c:v>
                      </c:pt>
                      <c:pt idx="35">
                        <c:v>685.84799999999996</c:v>
                      </c:pt>
                      <c:pt idx="36">
                        <c:v>620.80799999999999</c:v>
                      </c:pt>
                      <c:pt idx="37">
                        <c:v>620.80799999999999</c:v>
                      </c:pt>
                      <c:pt idx="38">
                        <c:v>620.80799999999999</c:v>
                      </c:pt>
                      <c:pt idx="39">
                        <c:v>864</c:v>
                      </c:pt>
                      <c:pt idx="40">
                        <c:v>864</c:v>
                      </c:pt>
                      <c:pt idx="41">
                        <c:v>864</c:v>
                      </c:pt>
                      <c:pt idx="42">
                        <c:v>864</c:v>
                      </c:pt>
                      <c:pt idx="43">
                        <c:v>864</c:v>
                      </c:pt>
                      <c:pt idx="44">
                        <c:v>864</c:v>
                      </c:pt>
                      <c:pt idx="45">
                        <c:v>864</c:v>
                      </c:pt>
                      <c:pt idx="46">
                        <c:v>864</c:v>
                      </c:pt>
                      <c:pt idx="47">
                        <c:v>680.20799999999997</c:v>
                      </c:pt>
                      <c:pt idx="48">
                        <c:v>680.20799999999997</c:v>
                      </c:pt>
                      <c:pt idx="49">
                        <c:v>680.20799999999997</c:v>
                      </c:pt>
                      <c:pt idx="50">
                        <c:v>680.01599999999996</c:v>
                      </c:pt>
                      <c:pt idx="51">
                        <c:v>680.01599999999996</c:v>
                      </c:pt>
                      <c:pt idx="52">
                        <c:v>680.01599999999996</c:v>
                      </c:pt>
                      <c:pt idx="53">
                        <c:v>680.01599999999996</c:v>
                      </c:pt>
                      <c:pt idx="54">
                        <c:v>680.01599999999996</c:v>
                      </c:pt>
                      <c:pt idx="55">
                        <c:v>664.99199999999996</c:v>
                      </c:pt>
                      <c:pt idx="56">
                        <c:v>664.99199999999996</c:v>
                      </c:pt>
                      <c:pt idx="57">
                        <c:v>664.99199999999996</c:v>
                      </c:pt>
                      <c:pt idx="58">
                        <c:v>664.99199999999996</c:v>
                      </c:pt>
                      <c:pt idx="59">
                        <c:v>664.99199999999996</c:v>
                      </c:pt>
                      <c:pt idx="60">
                        <c:v>664.99199999999996</c:v>
                      </c:pt>
                      <c:pt idx="61">
                        <c:v>707.25599999999997</c:v>
                      </c:pt>
                      <c:pt idx="62">
                        <c:v>707.25599999999997</c:v>
                      </c:pt>
                      <c:pt idx="63">
                        <c:v>707.25599999999997</c:v>
                      </c:pt>
                      <c:pt idx="64">
                        <c:v>707.25599999999997</c:v>
                      </c:pt>
                      <c:pt idx="65">
                        <c:v>707.25599999999997</c:v>
                      </c:pt>
                      <c:pt idx="66">
                        <c:v>707.25599999999997</c:v>
                      </c:pt>
                      <c:pt idx="67">
                        <c:v>707.25599999999997</c:v>
                      </c:pt>
                      <c:pt idx="68">
                        <c:v>707.25599999999997</c:v>
                      </c:pt>
                      <c:pt idx="69">
                        <c:v>702.98400000000004</c:v>
                      </c:pt>
                      <c:pt idx="70">
                        <c:v>702.98400000000004</c:v>
                      </c:pt>
                      <c:pt idx="71">
                        <c:v>702.98400000000004</c:v>
                      </c:pt>
                      <c:pt idx="72">
                        <c:v>702.98400000000004</c:v>
                      </c:pt>
                      <c:pt idx="73">
                        <c:v>702.98400000000004</c:v>
                      </c:pt>
                      <c:pt idx="74">
                        <c:v>747.62400000000002</c:v>
                      </c:pt>
                      <c:pt idx="75">
                        <c:v>747.62400000000002</c:v>
                      </c:pt>
                      <c:pt idx="76">
                        <c:v>747.62400000000002</c:v>
                      </c:pt>
                      <c:pt idx="77">
                        <c:v>747.62400000000002</c:v>
                      </c:pt>
                      <c:pt idx="78">
                        <c:v>747.62400000000002</c:v>
                      </c:pt>
                      <c:pt idx="79">
                        <c:v>747.62400000000002</c:v>
                      </c:pt>
                      <c:pt idx="80">
                        <c:v>747.62400000000002</c:v>
                      </c:pt>
                      <c:pt idx="81">
                        <c:v>747.62400000000002</c:v>
                      </c:pt>
                      <c:pt idx="82">
                        <c:v>747.62400000000002</c:v>
                      </c:pt>
                      <c:pt idx="83">
                        <c:v>686.35199999999998</c:v>
                      </c:pt>
                      <c:pt idx="84">
                        <c:v>686.35199999999998</c:v>
                      </c:pt>
                      <c:pt idx="85">
                        <c:v>686.35199999999998</c:v>
                      </c:pt>
                      <c:pt idx="86">
                        <c:v>686.35199999999998</c:v>
                      </c:pt>
                      <c:pt idx="87">
                        <c:v>686.35199999999998</c:v>
                      </c:pt>
                      <c:pt idx="88">
                        <c:v>646.12800000000004</c:v>
                      </c:pt>
                      <c:pt idx="89">
                        <c:v>646.12800000000004</c:v>
                      </c:pt>
                      <c:pt idx="90">
                        <c:v>706.96799999999996</c:v>
                      </c:pt>
                      <c:pt idx="91">
                        <c:v>706.96799999999996</c:v>
                      </c:pt>
                      <c:pt idx="92">
                        <c:v>706.96799999999996</c:v>
                      </c:pt>
                      <c:pt idx="93">
                        <c:v>706.96799999999996</c:v>
                      </c:pt>
                      <c:pt idx="94">
                        <c:v>706.96799999999996</c:v>
                      </c:pt>
                      <c:pt idx="95">
                        <c:v>706.96799999999996</c:v>
                      </c:pt>
                      <c:pt idx="96">
                        <c:v>618</c:v>
                      </c:pt>
                      <c:pt idx="97">
                        <c:v>618</c:v>
                      </c:pt>
                      <c:pt idx="98">
                        <c:v>618</c:v>
                      </c:pt>
                      <c:pt idx="99">
                        <c:v>618</c:v>
                      </c:pt>
                      <c:pt idx="100">
                        <c:v>618</c:v>
                      </c:pt>
                      <c:pt idx="101">
                        <c:v>618</c:v>
                      </c:pt>
                      <c:pt idx="102">
                        <c:v>601.24800000000005</c:v>
                      </c:pt>
                      <c:pt idx="103">
                        <c:v>601.24800000000005</c:v>
                      </c:pt>
                      <c:pt idx="104">
                        <c:v>601.24800000000005</c:v>
                      </c:pt>
                      <c:pt idx="105">
                        <c:v>601.24800000000005</c:v>
                      </c:pt>
                      <c:pt idx="106">
                        <c:v>601.24800000000005</c:v>
                      </c:pt>
                      <c:pt idx="107">
                        <c:v>601.24800000000005</c:v>
                      </c:pt>
                      <c:pt idx="108">
                        <c:v>601.24800000000005</c:v>
                      </c:pt>
                      <c:pt idx="109">
                        <c:v>601.24800000000005</c:v>
                      </c:pt>
                      <c:pt idx="110">
                        <c:v>601.24800000000005</c:v>
                      </c:pt>
                      <c:pt idx="111">
                        <c:v>601.24800000000005</c:v>
                      </c:pt>
                      <c:pt idx="112">
                        <c:v>601.24800000000005</c:v>
                      </c:pt>
                      <c:pt idx="113">
                        <c:v>601.24800000000005</c:v>
                      </c:pt>
                      <c:pt idx="114">
                        <c:v>571.05600000000004</c:v>
                      </c:pt>
                      <c:pt idx="115">
                        <c:v>571.05600000000004</c:v>
                      </c:pt>
                      <c:pt idx="116">
                        <c:v>678.048</c:v>
                      </c:pt>
                      <c:pt idx="117">
                        <c:v>678.048</c:v>
                      </c:pt>
                      <c:pt idx="118">
                        <c:v>660.91200000000003</c:v>
                      </c:pt>
                      <c:pt idx="119">
                        <c:v>662.78399999999999</c:v>
                      </c:pt>
                      <c:pt idx="120">
                        <c:v>662.78399999999999</c:v>
                      </c:pt>
                      <c:pt idx="121">
                        <c:v>786.40800000000002</c:v>
                      </c:pt>
                      <c:pt idx="122">
                        <c:v>786.40800000000002</c:v>
                      </c:pt>
                      <c:pt idx="123">
                        <c:v>786.40800000000002</c:v>
                      </c:pt>
                      <c:pt idx="124">
                        <c:v>786.40800000000002</c:v>
                      </c:pt>
                      <c:pt idx="125">
                        <c:v>754.44</c:v>
                      </c:pt>
                      <c:pt idx="126">
                        <c:v>751.63199999999995</c:v>
                      </c:pt>
                      <c:pt idx="127">
                        <c:v>751.63199999999995</c:v>
                      </c:pt>
                      <c:pt idx="128">
                        <c:v>751.63199999999995</c:v>
                      </c:pt>
                      <c:pt idx="129">
                        <c:v>751.63199999999995</c:v>
                      </c:pt>
                      <c:pt idx="130">
                        <c:v>751.63199999999995</c:v>
                      </c:pt>
                      <c:pt idx="131">
                        <c:v>751.63199999999995</c:v>
                      </c:pt>
                      <c:pt idx="132">
                        <c:v>751.63199999999995</c:v>
                      </c:pt>
                      <c:pt idx="133">
                        <c:v>751.63199999999995</c:v>
                      </c:pt>
                      <c:pt idx="134">
                        <c:v>751.63199999999995</c:v>
                      </c:pt>
                      <c:pt idx="135">
                        <c:v>751.63199999999995</c:v>
                      </c:pt>
                      <c:pt idx="136">
                        <c:v>763.82399999999996</c:v>
                      </c:pt>
                      <c:pt idx="137">
                        <c:v>763.82399999999996</c:v>
                      </c:pt>
                      <c:pt idx="138">
                        <c:v>763.82399999999996</c:v>
                      </c:pt>
                      <c:pt idx="139">
                        <c:v>766.68</c:v>
                      </c:pt>
                      <c:pt idx="140">
                        <c:v>766.68</c:v>
                      </c:pt>
                      <c:pt idx="141">
                        <c:v>766.68</c:v>
                      </c:pt>
                      <c:pt idx="142">
                        <c:v>766.68</c:v>
                      </c:pt>
                      <c:pt idx="143">
                        <c:v>766.68</c:v>
                      </c:pt>
                      <c:pt idx="144">
                        <c:v>520.46400000000006</c:v>
                      </c:pt>
                      <c:pt idx="145">
                        <c:v>520.46400000000006</c:v>
                      </c:pt>
                      <c:pt idx="146">
                        <c:v>520.46400000000006</c:v>
                      </c:pt>
                      <c:pt idx="147">
                        <c:v>520.46400000000006</c:v>
                      </c:pt>
                      <c:pt idx="148">
                        <c:v>520.46400000000006</c:v>
                      </c:pt>
                      <c:pt idx="149">
                        <c:v>520.46400000000006</c:v>
                      </c:pt>
                      <c:pt idx="150">
                        <c:v>520.46400000000006</c:v>
                      </c:pt>
                      <c:pt idx="151">
                        <c:v>690.12</c:v>
                      </c:pt>
                      <c:pt idx="152">
                        <c:v>683.56799999999998</c:v>
                      </c:pt>
                      <c:pt idx="153">
                        <c:v>683.56799999999998</c:v>
                      </c:pt>
                      <c:pt idx="154">
                        <c:v>683.56799999999998</c:v>
                      </c:pt>
                      <c:pt idx="155">
                        <c:v>683.56799999999998</c:v>
                      </c:pt>
                      <c:pt idx="156">
                        <c:v>499.84800000000001</c:v>
                      </c:pt>
                      <c:pt idx="157">
                        <c:v>499.84800000000001</c:v>
                      </c:pt>
                      <c:pt idx="158">
                        <c:v>429.74400000000003</c:v>
                      </c:pt>
                      <c:pt idx="159">
                        <c:v>429.74400000000003</c:v>
                      </c:pt>
                      <c:pt idx="160">
                        <c:v>429.74400000000003</c:v>
                      </c:pt>
                      <c:pt idx="161">
                        <c:v>429.74400000000003</c:v>
                      </c:pt>
                      <c:pt idx="162">
                        <c:v>429.74400000000003</c:v>
                      </c:pt>
                      <c:pt idx="163">
                        <c:v>429.74400000000003</c:v>
                      </c:pt>
                      <c:pt idx="164">
                        <c:v>429.74400000000003</c:v>
                      </c:pt>
                      <c:pt idx="165">
                        <c:v>429.74400000000003</c:v>
                      </c:pt>
                      <c:pt idx="166">
                        <c:v>510.6</c:v>
                      </c:pt>
                      <c:pt idx="167">
                        <c:v>510.6</c:v>
                      </c:pt>
                      <c:pt idx="168">
                        <c:v>510.6</c:v>
                      </c:pt>
                      <c:pt idx="169">
                        <c:v>510.6</c:v>
                      </c:pt>
                      <c:pt idx="170">
                        <c:v>510.6</c:v>
                      </c:pt>
                      <c:pt idx="171">
                        <c:v>510.6</c:v>
                      </c:pt>
                      <c:pt idx="172">
                        <c:v>510.6</c:v>
                      </c:pt>
                      <c:pt idx="173">
                        <c:v>510.6</c:v>
                      </c:pt>
                      <c:pt idx="174">
                        <c:v>693.50400000000002</c:v>
                      </c:pt>
                      <c:pt idx="175">
                        <c:v>693.50400000000002</c:v>
                      </c:pt>
                      <c:pt idx="176">
                        <c:v>693.50400000000002</c:v>
                      </c:pt>
                      <c:pt idx="177">
                        <c:v>662.04</c:v>
                      </c:pt>
                      <c:pt idx="178">
                        <c:v>662.04</c:v>
                      </c:pt>
                      <c:pt idx="179">
                        <c:v>662.04</c:v>
                      </c:pt>
                      <c:pt idx="180">
                        <c:v>646.67999999999995</c:v>
                      </c:pt>
                      <c:pt idx="181">
                        <c:v>646.67999999999995</c:v>
                      </c:pt>
                      <c:pt idx="182">
                        <c:v>646.67999999999995</c:v>
                      </c:pt>
                      <c:pt idx="183">
                        <c:v>646.67999999999995</c:v>
                      </c:pt>
                      <c:pt idx="184">
                        <c:v>656.18399999999997</c:v>
                      </c:pt>
                      <c:pt idx="185">
                        <c:v>656.18399999999997</c:v>
                      </c:pt>
                      <c:pt idx="186">
                        <c:v>626.976</c:v>
                      </c:pt>
                      <c:pt idx="187">
                        <c:v>626.976</c:v>
                      </c:pt>
                      <c:pt idx="188">
                        <c:v>626.976</c:v>
                      </c:pt>
                      <c:pt idx="189">
                        <c:v>626.976</c:v>
                      </c:pt>
                      <c:pt idx="190">
                        <c:v>626.976</c:v>
                      </c:pt>
                      <c:pt idx="191">
                        <c:v>626.976</c:v>
                      </c:pt>
                      <c:pt idx="192">
                        <c:v>626.976</c:v>
                      </c:pt>
                      <c:pt idx="193">
                        <c:v>626.976</c:v>
                      </c:pt>
                      <c:pt idx="194">
                        <c:v>635.32799999999997</c:v>
                      </c:pt>
                      <c:pt idx="195">
                        <c:v>635.32799999999997</c:v>
                      </c:pt>
                      <c:pt idx="196">
                        <c:v>635.32799999999997</c:v>
                      </c:pt>
                      <c:pt idx="197">
                        <c:v>635.32799999999997</c:v>
                      </c:pt>
                      <c:pt idx="198">
                        <c:v>635.32799999999997</c:v>
                      </c:pt>
                      <c:pt idx="199">
                        <c:v>635.32799999999997</c:v>
                      </c:pt>
                      <c:pt idx="200">
                        <c:v>635.32799999999997</c:v>
                      </c:pt>
                      <c:pt idx="201">
                        <c:v>639.55200000000002</c:v>
                      </c:pt>
                      <c:pt idx="202">
                        <c:v>639.55200000000002</c:v>
                      </c:pt>
                      <c:pt idx="203">
                        <c:v>639.55200000000002</c:v>
                      </c:pt>
                      <c:pt idx="204">
                        <c:v>639.55200000000002</c:v>
                      </c:pt>
                      <c:pt idx="205">
                        <c:v>639.55200000000002</c:v>
                      </c:pt>
                      <c:pt idx="206">
                        <c:v>639.55200000000002</c:v>
                      </c:pt>
                      <c:pt idx="207">
                        <c:v>639.55200000000002</c:v>
                      </c:pt>
                      <c:pt idx="208">
                        <c:v>581.904</c:v>
                      </c:pt>
                      <c:pt idx="209">
                        <c:v>571.03200000000004</c:v>
                      </c:pt>
                      <c:pt idx="210">
                        <c:v>639.55200000000002</c:v>
                      </c:pt>
                      <c:pt idx="211">
                        <c:v>571.03200000000004</c:v>
                      </c:pt>
                      <c:pt idx="212">
                        <c:v>571</c:v>
                      </c:pt>
                      <c:pt idx="213">
                        <c:v>571.03200000000004</c:v>
                      </c:pt>
                      <c:pt idx="214">
                        <c:v>571.03200000000004</c:v>
                      </c:pt>
                      <c:pt idx="215">
                        <c:v>571.03200000000004</c:v>
                      </c:pt>
                      <c:pt idx="216">
                        <c:v>571.03200000000004</c:v>
                      </c:pt>
                      <c:pt idx="217">
                        <c:v>571.03200000000004</c:v>
                      </c:pt>
                      <c:pt idx="218">
                        <c:v>559.65599999999995</c:v>
                      </c:pt>
                      <c:pt idx="219">
                        <c:v>559.65599999999995</c:v>
                      </c:pt>
                      <c:pt idx="220">
                        <c:v>559.65599999999995</c:v>
                      </c:pt>
                      <c:pt idx="221">
                        <c:v>559.65599999999995</c:v>
                      </c:pt>
                      <c:pt idx="222">
                        <c:v>559.65599999999995</c:v>
                      </c:pt>
                      <c:pt idx="223">
                        <c:v>559.65599999999995</c:v>
                      </c:pt>
                      <c:pt idx="224">
                        <c:v>571.03200000000004</c:v>
                      </c:pt>
                      <c:pt idx="225">
                        <c:v>571.03200000000004</c:v>
                      </c:pt>
                      <c:pt idx="226">
                        <c:v>571.03200000000004</c:v>
                      </c:pt>
                      <c:pt idx="227">
                        <c:v>672.76800000000003</c:v>
                      </c:pt>
                      <c:pt idx="228">
                        <c:v>672.76800000000003</c:v>
                      </c:pt>
                      <c:pt idx="229">
                        <c:v>672.76800000000003</c:v>
                      </c:pt>
                      <c:pt idx="230">
                        <c:v>672.76800000000003</c:v>
                      </c:pt>
                      <c:pt idx="231">
                        <c:v>672.76800000000003</c:v>
                      </c:pt>
                      <c:pt idx="232">
                        <c:v>639.024</c:v>
                      </c:pt>
                      <c:pt idx="233">
                        <c:v>639.024</c:v>
                      </c:pt>
                      <c:pt idx="234">
                        <c:v>639.024</c:v>
                      </c:pt>
                      <c:pt idx="235">
                        <c:v>639.024</c:v>
                      </c:pt>
                      <c:pt idx="236">
                        <c:v>639.024</c:v>
                      </c:pt>
                      <c:pt idx="237">
                        <c:v>639.024</c:v>
                      </c:pt>
                      <c:pt idx="238">
                        <c:v>638.88</c:v>
                      </c:pt>
                      <c:pt idx="239">
                        <c:v>627.33600000000001</c:v>
                      </c:pt>
                      <c:pt idx="240">
                        <c:v>713.4</c:v>
                      </c:pt>
                      <c:pt idx="241">
                        <c:v>713.4</c:v>
                      </c:pt>
                      <c:pt idx="242">
                        <c:v>713.4</c:v>
                      </c:pt>
                      <c:pt idx="243">
                        <c:v>713.32799999999997</c:v>
                      </c:pt>
                      <c:pt idx="244">
                        <c:v>713.32799999999997</c:v>
                      </c:pt>
                      <c:pt idx="245">
                        <c:v>780.86400000000003</c:v>
                      </c:pt>
                      <c:pt idx="246">
                        <c:v>780.86400000000003</c:v>
                      </c:pt>
                      <c:pt idx="247">
                        <c:v>808.17600000000004</c:v>
                      </c:pt>
                      <c:pt idx="248">
                        <c:v>808.17600000000004</c:v>
                      </c:pt>
                      <c:pt idx="249">
                        <c:v>808.17600000000004</c:v>
                      </c:pt>
                      <c:pt idx="250">
                        <c:v>808.17600000000004</c:v>
                      </c:pt>
                      <c:pt idx="251">
                        <c:v>808.17600000000004</c:v>
                      </c:pt>
                      <c:pt idx="252">
                        <c:v>673.72799999999995</c:v>
                      </c:pt>
                    </c:numCache>
                  </c:numRef>
                </c:yVal>
                <c:smooth val="1"/>
                <c:extLst xmlns:c15="http://schemas.microsoft.com/office/drawing/2012/chart">
                  <c:ext xmlns:c16="http://schemas.microsoft.com/office/drawing/2014/chart" uri="{C3380CC4-5D6E-409C-BE32-E72D297353CC}">
                    <c16:uniqueId val="{0000000F-B1BA-4027-B324-9E28FECAA0B8}"/>
                  </c:ext>
                </c:extLst>
              </c15:ser>
            </c15:filteredScatterSeries>
            <c15:filteredScatterSeries>
              <c15:ser>
                <c:idx val="14"/>
                <c:order val="14"/>
                <c:tx>
                  <c:strRef>
                    <c:extLst xmlns:c15="http://schemas.microsoft.com/office/drawing/2012/chart">
                      <c:ext xmlns:c15="http://schemas.microsoft.com/office/drawing/2012/chart" uri="{02D57815-91ED-43cb-92C2-25804820EDAC}">
                        <c15:formulaRef>
                          <c15:sqref>'Combined rate'!$C$19</c15:sqref>
                        </c15:formulaRef>
                      </c:ext>
                    </c:extLst>
                    <c:strCache>
                      <c:ptCount val="1"/>
                      <c:pt idx="0">
                        <c:v>SOMERSET  </c:v>
                      </c:pt>
                    </c:strCache>
                  </c:strRef>
                </c:tx>
                <c:spPr>
                  <a:ln w="19050" cap="rnd">
                    <a:solidFill>
                      <a:schemeClr val="accent3">
                        <a:lumMod val="80000"/>
                        <a:lumOff val="20000"/>
                      </a:schemeClr>
                    </a:solidFill>
                    <a:round/>
                  </a:ln>
                  <a:effectLst/>
                </c:spPr>
                <c:marker>
                  <c:symbol val="circle"/>
                  <c:size val="5"/>
                  <c:spPr>
                    <a:solidFill>
                      <a:schemeClr val="accent3">
                        <a:lumMod val="80000"/>
                        <a:lumOff val="20000"/>
                      </a:schemeClr>
                    </a:solidFill>
                    <a:ln w="9525">
                      <a:solidFill>
                        <a:schemeClr val="accent3">
                          <a:lumMod val="80000"/>
                          <a:lumOff val="20000"/>
                        </a:schemeClr>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19:$IY$19</c15:sqref>
                        </c15:formulaRef>
                      </c:ext>
                    </c:extLst>
                    <c:numCache>
                      <c:formatCode>0</c:formatCode>
                      <c:ptCount val="253"/>
                      <c:pt idx="0">
                        <c:v>834.24</c:v>
                      </c:pt>
                      <c:pt idx="1">
                        <c:v>895.15200000000004</c:v>
                      </c:pt>
                      <c:pt idx="2">
                        <c:v>895.15200000000004</c:v>
                      </c:pt>
                      <c:pt idx="3">
                        <c:v>895.15200000000004</c:v>
                      </c:pt>
                      <c:pt idx="4">
                        <c:v>949.28400000000011</c:v>
                      </c:pt>
                      <c:pt idx="5">
                        <c:v>976.35000000000014</c:v>
                      </c:pt>
                      <c:pt idx="6">
                        <c:v>989.88300000000004</c:v>
                      </c:pt>
                      <c:pt idx="7">
                        <c:v>1003.4160000000001</c:v>
                      </c:pt>
                      <c:pt idx="8">
                        <c:v>1148.9280000000001</c:v>
                      </c:pt>
                      <c:pt idx="9">
                        <c:v>1201.5840000000001</c:v>
                      </c:pt>
                      <c:pt idx="10">
                        <c:v>1201.5840000000001</c:v>
                      </c:pt>
                      <c:pt idx="11">
                        <c:v>1201.5840000000001</c:v>
                      </c:pt>
                      <c:pt idx="12">
                        <c:v>1201.5840000000001</c:v>
                      </c:pt>
                      <c:pt idx="13">
                        <c:v>1169.2440000000001</c:v>
                      </c:pt>
                      <c:pt idx="14">
                        <c:v>1136.904</c:v>
                      </c:pt>
                      <c:pt idx="15">
                        <c:v>1136.904</c:v>
                      </c:pt>
                      <c:pt idx="16">
                        <c:v>1136.904</c:v>
                      </c:pt>
                      <c:pt idx="17">
                        <c:v>1166.52</c:v>
                      </c:pt>
                      <c:pt idx="18">
                        <c:v>1167.8399999999999</c:v>
                      </c:pt>
                      <c:pt idx="19">
                        <c:v>1167.8399999999999</c:v>
                      </c:pt>
                      <c:pt idx="20">
                        <c:v>1167.8399999999999</c:v>
                      </c:pt>
                      <c:pt idx="21">
                        <c:v>1167.8399999999999</c:v>
                      </c:pt>
                      <c:pt idx="22">
                        <c:v>1138.896</c:v>
                      </c:pt>
                      <c:pt idx="23">
                        <c:v>1109.952</c:v>
                      </c:pt>
                      <c:pt idx="24">
                        <c:v>1109.952</c:v>
                      </c:pt>
                      <c:pt idx="25">
                        <c:v>1152.48</c:v>
                      </c:pt>
                      <c:pt idx="26">
                        <c:v>1173.7440000000001</c:v>
                      </c:pt>
                      <c:pt idx="27">
                        <c:v>1184.3760000000002</c:v>
                      </c:pt>
                      <c:pt idx="28">
                        <c:v>1195.008</c:v>
                      </c:pt>
                      <c:pt idx="29">
                        <c:v>1195.008</c:v>
                      </c:pt>
                      <c:pt idx="30">
                        <c:v>1195.008</c:v>
                      </c:pt>
                      <c:pt idx="31">
                        <c:v>1090.2</c:v>
                      </c:pt>
                      <c:pt idx="32">
                        <c:v>1090.2</c:v>
                      </c:pt>
                      <c:pt idx="33">
                        <c:v>1056.144</c:v>
                      </c:pt>
                      <c:pt idx="34">
                        <c:v>1039.116</c:v>
                      </c:pt>
                      <c:pt idx="35">
                        <c:v>1022.088</c:v>
                      </c:pt>
                      <c:pt idx="36">
                        <c:v>1022.088</c:v>
                      </c:pt>
                      <c:pt idx="37">
                        <c:v>1132.44</c:v>
                      </c:pt>
                      <c:pt idx="38">
                        <c:v>1132.44</c:v>
                      </c:pt>
                      <c:pt idx="39">
                        <c:v>1132.44</c:v>
                      </c:pt>
                      <c:pt idx="40">
                        <c:v>1264.6320000000001</c:v>
                      </c:pt>
                      <c:pt idx="41">
                        <c:v>1264.6320000000001</c:v>
                      </c:pt>
                      <c:pt idx="42">
                        <c:v>1264.6320000000001</c:v>
                      </c:pt>
                      <c:pt idx="43">
                        <c:v>1206.6479999999999</c:v>
                      </c:pt>
                      <c:pt idx="44">
                        <c:v>1206.6479999999999</c:v>
                      </c:pt>
                      <c:pt idx="45">
                        <c:v>1206.6479999999999</c:v>
                      </c:pt>
                      <c:pt idx="46">
                        <c:v>1386.0719999999999</c:v>
                      </c:pt>
                      <c:pt idx="47">
                        <c:v>983.66399999999999</c:v>
                      </c:pt>
                      <c:pt idx="48">
                        <c:v>983.66399999999999</c:v>
                      </c:pt>
                      <c:pt idx="49">
                        <c:v>983.66399999999999</c:v>
                      </c:pt>
                      <c:pt idx="50">
                        <c:v>927.62400000000002</c:v>
                      </c:pt>
                      <c:pt idx="51">
                        <c:v>927.62400000000002</c:v>
                      </c:pt>
                      <c:pt idx="52">
                        <c:v>927.62400000000002</c:v>
                      </c:pt>
                      <c:pt idx="53">
                        <c:v>962.928</c:v>
                      </c:pt>
                      <c:pt idx="54">
                        <c:v>919.77599999999995</c:v>
                      </c:pt>
                      <c:pt idx="55">
                        <c:v>887.37599999999998</c:v>
                      </c:pt>
                      <c:pt idx="56">
                        <c:v>887.37599999999998</c:v>
                      </c:pt>
                      <c:pt idx="57">
                        <c:v>887.37599999999998</c:v>
                      </c:pt>
                      <c:pt idx="58">
                        <c:v>887.37599999999998</c:v>
                      </c:pt>
                      <c:pt idx="59">
                        <c:v>860.49599999999998</c:v>
                      </c:pt>
                      <c:pt idx="60">
                        <c:v>860.49599999999998</c:v>
                      </c:pt>
                      <c:pt idx="61">
                        <c:v>1200.6959999999999</c:v>
                      </c:pt>
                      <c:pt idx="62">
                        <c:v>1200.6959999999999</c:v>
                      </c:pt>
                      <c:pt idx="63">
                        <c:v>1200.6959999999999</c:v>
                      </c:pt>
                      <c:pt idx="64">
                        <c:v>1200.6959999999999</c:v>
                      </c:pt>
                      <c:pt idx="65">
                        <c:v>1173.96</c:v>
                      </c:pt>
                      <c:pt idx="66">
                        <c:v>1173.96</c:v>
                      </c:pt>
                      <c:pt idx="67">
                        <c:v>1236</c:v>
                      </c:pt>
                      <c:pt idx="68">
                        <c:v>1236</c:v>
                      </c:pt>
                      <c:pt idx="69">
                        <c:v>1236</c:v>
                      </c:pt>
                      <c:pt idx="70">
                        <c:v>988.46400000000006</c:v>
                      </c:pt>
                      <c:pt idx="71">
                        <c:v>988.46400000000006</c:v>
                      </c:pt>
                      <c:pt idx="72">
                        <c:v>988.46400000000006</c:v>
                      </c:pt>
                      <c:pt idx="73">
                        <c:v>988.46400000000006</c:v>
                      </c:pt>
                      <c:pt idx="74">
                        <c:v>988.46400000000006</c:v>
                      </c:pt>
                      <c:pt idx="75">
                        <c:v>1040.0640000000001</c:v>
                      </c:pt>
                      <c:pt idx="76">
                        <c:v>1040.0640000000001</c:v>
                      </c:pt>
                      <c:pt idx="77">
                        <c:v>1040.0640000000001</c:v>
                      </c:pt>
                      <c:pt idx="78">
                        <c:v>958.56</c:v>
                      </c:pt>
                      <c:pt idx="79">
                        <c:v>958.56</c:v>
                      </c:pt>
                      <c:pt idx="80">
                        <c:v>958.56</c:v>
                      </c:pt>
                      <c:pt idx="81">
                        <c:v>958.56</c:v>
                      </c:pt>
                      <c:pt idx="82">
                        <c:v>958.56</c:v>
                      </c:pt>
                      <c:pt idx="83">
                        <c:v>980.61599999999999</c:v>
                      </c:pt>
                      <c:pt idx="84">
                        <c:v>980.61599999999999</c:v>
                      </c:pt>
                      <c:pt idx="85">
                        <c:v>980.61599999999999</c:v>
                      </c:pt>
                      <c:pt idx="86">
                        <c:v>980.61599999999999</c:v>
                      </c:pt>
                      <c:pt idx="87">
                        <c:v>980.61599999999999</c:v>
                      </c:pt>
                      <c:pt idx="88">
                        <c:v>947.4</c:v>
                      </c:pt>
                      <c:pt idx="89">
                        <c:v>939.096</c:v>
                      </c:pt>
                      <c:pt idx="90">
                        <c:v>939.096</c:v>
                      </c:pt>
                      <c:pt idx="91">
                        <c:v>915.21600000000001</c:v>
                      </c:pt>
                      <c:pt idx="92">
                        <c:v>915.21600000000001</c:v>
                      </c:pt>
                      <c:pt idx="93">
                        <c:v>958.27200000000005</c:v>
                      </c:pt>
                      <c:pt idx="94">
                        <c:v>958.27200000000005</c:v>
                      </c:pt>
                      <c:pt idx="95">
                        <c:v>963.93600000000004</c:v>
                      </c:pt>
                      <c:pt idx="96">
                        <c:v>963.93600000000004</c:v>
                      </c:pt>
                      <c:pt idx="97">
                        <c:v>889.27200000000005</c:v>
                      </c:pt>
                      <c:pt idx="98">
                        <c:v>889.27200000000005</c:v>
                      </c:pt>
                      <c:pt idx="99">
                        <c:v>877.77599999999995</c:v>
                      </c:pt>
                      <c:pt idx="100">
                        <c:v>877.77599999999995</c:v>
                      </c:pt>
                      <c:pt idx="101">
                        <c:v>877.77599999999995</c:v>
                      </c:pt>
                      <c:pt idx="102">
                        <c:v>936.62400000000002</c:v>
                      </c:pt>
                      <c:pt idx="103">
                        <c:v>936.62400000000002</c:v>
                      </c:pt>
                      <c:pt idx="104">
                        <c:v>850.08</c:v>
                      </c:pt>
                      <c:pt idx="105">
                        <c:v>850.08</c:v>
                      </c:pt>
                      <c:pt idx="106">
                        <c:v>850.08</c:v>
                      </c:pt>
                      <c:pt idx="107">
                        <c:v>850.08</c:v>
                      </c:pt>
                      <c:pt idx="108">
                        <c:v>850.08</c:v>
                      </c:pt>
                      <c:pt idx="109">
                        <c:v>856.51199999999994</c:v>
                      </c:pt>
                      <c:pt idx="110">
                        <c:v>856.51199999999994</c:v>
                      </c:pt>
                      <c:pt idx="111">
                        <c:v>856.51199999999994</c:v>
                      </c:pt>
                      <c:pt idx="112">
                        <c:v>877.8</c:v>
                      </c:pt>
                      <c:pt idx="113">
                        <c:v>877.8</c:v>
                      </c:pt>
                      <c:pt idx="114">
                        <c:v>877.8</c:v>
                      </c:pt>
                      <c:pt idx="115">
                        <c:v>877.8</c:v>
                      </c:pt>
                      <c:pt idx="116">
                        <c:v>802.48800000000006</c:v>
                      </c:pt>
                      <c:pt idx="117">
                        <c:v>802.48800000000006</c:v>
                      </c:pt>
                      <c:pt idx="118">
                        <c:v>802.48800000000006</c:v>
                      </c:pt>
                      <c:pt idx="119">
                        <c:v>704.06399999999996</c:v>
                      </c:pt>
                      <c:pt idx="120">
                        <c:v>704.06399999999996</c:v>
                      </c:pt>
                      <c:pt idx="121">
                        <c:v>704.06399999999996</c:v>
                      </c:pt>
                      <c:pt idx="122">
                        <c:v>891.62400000000002</c:v>
                      </c:pt>
                      <c:pt idx="123">
                        <c:v>891.62400000000002</c:v>
                      </c:pt>
                      <c:pt idx="124">
                        <c:v>891.62400000000002</c:v>
                      </c:pt>
                      <c:pt idx="125">
                        <c:v>831.31200000000001</c:v>
                      </c:pt>
                      <c:pt idx="126">
                        <c:v>831.31200000000001</c:v>
                      </c:pt>
                      <c:pt idx="127">
                        <c:v>831.31200000000001</c:v>
                      </c:pt>
                      <c:pt idx="128">
                        <c:v>823.48800000000006</c:v>
                      </c:pt>
                      <c:pt idx="129">
                        <c:v>823.48800000000006</c:v>
                      </c:pt>
                      <c:pt idx="130">
                        <c:v>823.48800000000006</c:v>
                      </c:pt>
                      <c:pt idx="131">
                        <c:v>761.06399999999996</c:v>
                      </c:pt>
                      <c:pt idx="132">
                        <c:v>761.06399999999996</c:v>
                      </c:pt>
                      <c:pt idx="133">
                        <c:v>761.06399999999996</c:v>
                      </c:pt>
                      <c:pt idx="134">
                        <c:v>761.06399999999996</c:v>
                      </c:pt>
                      <c:pt idx="135">
                        <c:v>658.92</c:v>
                      </c:pt>
                      <c:pt idx="136">
                        <c:v>658.92</c:v>
                      </c:pt>
                      <c:pt idx="137">
                        <c:v>658.92</c:v>
                      </c:pt>
                      <c:pt idx="138">
                        <c:v>658.92</c:v>
                      </c:pt>
                      <c:pt idx="139">
                        <c:v>752.78399999999999</c:v>
                      </c:pt>
                      <c:pt idx="140">
                        <c:v>752.78399999999999</c:v>
                      </c:pt>
                      <c:pt idx="141">
                        <c:v>752.78399999999999</c:v>
                      </c:pt>
                      <c:pt idx="142">
                        <c:v>752.78399999999999</c:v>
                      </c:pt>
                      <c:pt idx="143">
                        <c:v>752.78399999999999</c:v>
                      </c:pt>
                      <c:pt idx="144">
                        <c:v>702.36</c:v>
                      </c:pt>
                      <c:pt idx="145">
                        <c:v>564.64800000000002</c:v>
                      </c:pt>
                      <c:pt idx="146">
                        <c:v>564.64800000000002</c:v>
                      </c:pt>
                      <c:pt idx="147">
                        <c:v>564.64800000000002</c:v>
                      </c:pt>
                      <c:pt idx="148">
                        <c:v>564.64800000000002</c:v>
                      </c:pt>
                      <c:pt idx="149">
                        <c:v>586.22400000000005</c:v>
                      </c:pt>
                      <c:pt idx="150">
                        <c:v>714.31200000000001</c:v>
                      </c:pt>
                      <c:pt idx="151">
                        <c:v>714.31200000000001</c:v>
                      </c:pt>
                      <c:pt idx="152">
                        <c:v>729.19200000000001</c:v>
                      </c:pt>
                      <c:pt idx="153">
                        <c:v>729.19200000000001</c:v>
                      </c:pt>
                      <c:pt idx="154">
                        <c:v>652.84799999999996</c:v>
                      </c:pt>
                      <c:pt idx="155">
                        <c:v>652.84799999999996</c:v>
                      </c:pt>
                      <c:pt idx="156">
                        <c:v>652.84799999999996</c:v>
                      </c:pt>
                      <c:pt idx="157">
                        <c:v>652.84799999999996</c:v>
                      </c:pt>
                      <c:pt idx="158">
                        <c:v>826.58399999999995</c:v>
                      </c:pt>
                      <c:pt idx="159">
                        <c:v>845.928</c:v>
                      </c:pt>
                      <c:pt idx="160">
                        <c:v>845.928</c:v>
                      </c:pt>
                      <c:pt idx="161">
                        <c:v>845.928</c:v>
                      </c:pt>
                      <c:pt idx="162">
                        <c:v>845.928</c:v>
                      </c:pt>
                      <c:pt idx="163">
                        <c:v>815.83199999999999</c:v>
                      </c:pt>
                      <c:pt idx="164">
                        <c:v>905.78399999999999</c:v>
                      </c:pt>
                      <c:pt idx="165">
                        <c:v>905.78399999999999</c:v>
                      </c:pt>
                      <c:pt idx="166">
                        <c:v>921.28800000000001</c:v>
                      </c:pt>
                      <c:pt idx="167">
                        <c:v>921.28800000000001</c:v>
                      </c:pt>
                      <c:pt idx="168">
                        <c:v>921.28800000000001</c:v>
                      </c:pt>
                      <c:pt idx="169">
                        <c:v>921.28800000000001</c:v>
                      </c:pt>
                      <c:pt idx="170">
                        <c:v>890.20799999999997</c:v>
                      </c:pt>
                      <c:pt idx="171">
                        <c:v>890.20799999999997</c:v>
                      </c:pt>
                      <c:pt idx="172">
                        <c:v>790.39200000000005</c:v>
                      </c:pt>
                      <c:pt idx="173">
                        <c:v>790.39200000000005</c:v>
                      </c:pt>
                      <c:pt idx="174">
                        <c:v>750.57600000000002</c:v>
                      </c:pt>
                      <c:pt idx="175">
                        <c:v>750.57600000000002</c:v>
                      </c:pt>
                      <c:pt idx="176">
                        <c:v>750.57600000000002</c:v>
                      </c:pt>
                      <c:pt idx="177">
                        <c:v>750.57600000000002</c:v>
                      </c:pt>
                      <c:pt idx="178">
                        <c:v>750.57600000000002</c:v>
                      </c:pt>
                      <c:pt idx="179">
                        <c:v>750.57600000000002</c:v>
                      </c:pt>
                      <c:pt idx="180">
                        <c:v>794.61599999999999</c:v>
                      </c:pt>
                      <c:pt idx="181">
                        <c:v>878.28</c:v>
                      </c:pt>
                      <c:pt idx="182">
                        <c:v>878.28</c:v>
                      </c:pt>
                      <c:pt idx="183">
                        <c:v>878.28</c:v>
                      </c:pt>
                      <c:pt idx="184">
                        <c:v>733.87199999999996</c:v>
                      </c:pt>
                      <c:pt idx="185">
                        <c:v>822.38400000000001</c:v>
                      </c:pt>
                      <c:pt idx="186">
                        <c:v>822.38400000000001</c:v>
                      </c:pt>
                      <c:pt idx="187">
                        <c:v>831.28800000000001</c:v>
                      </c:pt>
                      <c:pt idx="188">
                        <c:v>899.16</c:v>
                      </c:pt>
                      <c:pt idx="189">
                        <c:v>899.16</c:v>
                      </c:pt>
                      <c:pt idx="190">
                        <c:v>899.16</c:v>
                      </c:pt>
                      <c:pt idx="191">
                        <c:v>1020.816</c:v>
                      </c:pt>
                      <c:pt idx="192">
                        <c:v>969.45600000000002</c:v>
                      </c:pt>
                      <c:pt idx="193">
                        <c:v>969.45600000000002</c:v>
                      </c:pt>
                      <c:pt idx="194">
                        <c:v>1194.2639999999999</c:v>
                      </c:pt>
                      <c:pt idx="195">
                        <c:v>1190.28</c:v>
                      </c:pt>
                      <c:pt idx="196">
                        <c:v>1191.0719999999999</c:v>
                      </c:pt>
                      <c:pt idx="197">
                        <c:v>1191.0719999999999</c:v>
                      </c:pt>
                      <c:pt idx="198">
                        <c:v>1191.0719999999999</c:v>
                      </c:pt>
                      <c:pt idx="199">
                        <c:v>1185.6479999999999</c:v>
                      </c:pt>
                      <c:pt idx="200">
                        <c:v>1185.6479999999999</c:v>
                      </c:pt>
                      <c:pt idx="201">
                        <c:v>1314.84</c:v>
                      </c:pt>
                      <c:pt idx="202">
                        <c:v>1314.84</c:v>
                      </c:pt>
                      <c:pt idx="203">
                        <c:v>1206.2639999999999</c:v>
                      </c:pt>
                      <c:pt idx="204">
                        <c:v>1415.376</c:v>
                      </c:pt>
                      <c:pt idx="205">
                        <c:v>1415.376</c:v>
                      </c:pt>
                      <c:pt idx="206">
                        <c:v>1510.5360000000001</c:v>
                      </c:pt>
                      <c:pt idx="207">
                        <c:v>1638.2639999999999</c:v>
                      </c:pt>
                      <c:pt idx="208">
                        <c:v>1708.9680000000001</c:v>
                      </c:pt>
                      <c:pt idx="209">
                        <c:v>1708.9680000000001</c:v>
                      </c:pt>
                      <c:pt idx="210">
                        <c:v>1638.2639999999999</c:v>
                      </c:pt>
                      <c:pt idx="211">
                        <c:v>1884.5519999999999</c:v>
                      </c:pt>
                      <c:pt idx="212">
                        <c:v>1884.6</c:v>
                      </c:pt>
                      <c:pt idx="213">
                        <c:v>2140.6559999999999</c:v>
                      </c:pt>
                      <c:pt idx="214">
                        <c:v>2140.6559999999999</c:v>
                      </c:pt>
                      <c:pt idx="215">
                        <c:v>2300.0880000000002</c:v>
                      </c:pt>
                      <c:pt idx="216">
                        <c:v>2016.9359999999999</c:v>
                      </c:pt>
                      <c:pt idx="217">
                        <c:v>2016.9359999999999</c:v>
                      </c:pt>
                      <c:pt idx="218">
                        <c:v>2016.9359999999999</c:v>
                      </c:pt>
                      <c:pt idx="219">
                        <c:v>2016.9359999999999</c:v>
                      </c:pt>
                      <c:pt idx="220">
                        <c:v>2102.3760000000002</c:v>
                      </c:pt>
                      <c:pt idx="221">
                        <c:v>2421.6480000000001</c:v>
                      </c:pt>
                      <c:pt idx="222">
                        <c:v>2227.6559999999999</c:v>
                      </c:pt>
                      <c:pt idx="223">
                        <c:v>2227.6559999999999</c:v>
                      </c:pt>
                      <c:pt idx="224">
                        <c:v>2227.6559999999999</c:v>
                      </c:pt>
                      <c:pt idx="225">
                        <c:v>2227.6559999999999</c:v>
                      </c:pt>
                      <c:pt idx="226">
                        <c:v>2227.6559999999999</c:v>
                      </c:pt>
                      <c:pt idx="227">
                        <c:v>1829.5920000000001</c:v>
                      </c:pt>
                      <c:pt idx="228">
                        <c:v>1778.3520000000001</c:v>
                      </c:pt>
                      <c:pt idx="229">
                        <c:v>1778.3520000000001</c:v>
                      </c:pt>
                      <c:pt idx="230">
                        <c:v>1778.3520000000001</c:v>
                      </c:pt>
                      <c:pt idx="231">
                        <c:v>1766.88</c:v>
                      </c:pt>
                      <c:pt idx="232">
                        <c:v>1779.2639999999999</c:v>
                      </c:pt>
                      <c:pt idx="233">
                        <c:v>1779.2639999999999</c:v>
                      </c:pt>
                      <c:pt idx="234">
                        <c:v>1959.3119999999999</c:v>
                      </c:pt>
                      <c:pt idx="235">
                        <c:v>1959.3119999999999</c:v>
                      </c:pt>
                      <c:pt idx="236">
                        <c:v>1999.5840000000001</c:v>
                      </c:pt>
                      <c:pt idx="237">
                        <c:v>2037.096</c:v>
                      </c:pt>
                      <c:pt idx="238">
                        <c:v>2037.096</c:v>
                      </c:pt>
                      <c:pt idx="239">
                        <c:v>1368.864</c:v>
                      </c:pt>
                      <c:pt idx="240">
                        <c:v>2076.9839999999999</c:v>
                      </c:pt>
                      <c:pt idx="241">
                        <c:v>2076.9839999999999</c:v>
                      </c:pt>
                      <c:pt idx="242">
                        <c:v>2076.9839999999999</c:v>
                      </c:pt>
                      <c:pt idx="243">
                        <c:v>1870.4159999999999</c:v>
                      </c:pt>
                      <c:pt idx="244">
                        <c:v>1870.4159999999999</c:v>
                      </c:pt>
                      <c:pt idx="245">
                        <c:v>1690.8720000000001</c:v>
                      </c:pt>
                      <c:pt idx="246">
                        <c:v>1597.6079999999999</c:v>
                      </c:pt>
                      <c:pt idx="247">
                        <c:v>1597.6079999999999</c:v>
                      </c:pt>
                      <c:pt idx="248">
                        <c:v>1597.6079999999999</c:v>
                      </c:pt>
                      <c:pt idx="249">
                        <c:v>1243.2239999999999</c:v>
                      </c:pt>
                      <c:pt idx="250">
                        <c:v>1243.2239999999999</c:v>
                      </c:pt>
                      <c:pt idx="251">
                        <c:v>1113.5999999999999</c:v>
                      </c:pt>
                      <c:pt idx="252">
                        <c:v>1113.5999999999999</c:v>
                      </c:pt>
                    </c:numCache>
                  </c:numRef>
                </c:yVal>
                <c:smooth val="1"/>
                <c:extLst xmlns:c15="http://schemas.microsoft.com/office/drawing/2012/chart">
                  <c:ext xmlns:c16="http://schemas.microsoft.com/office/drawing/2014/chart" uri="{C3380CC4-5D6E-409C-BE32-E72D297353CC}">
                    <c16:uniqueId val="{00000010-B1BA-4027-B324-9E28FECAA0B8}"/>
                  </c:ext>
                </c:extLst>
              </c15:ser>
            </c15:filteredScatterSeries>
            <c15:filteredScatterSeries>
              <c15:ser>
                <c:idx val="15"/>
                <c:order val="15"/>
                <c:tx>
                  <c:strRef>
                    <c:extLst xmlns:c15="http://schemas.microsoft.com/office/drawing/2012/chart">
                      <c:ext xmlns:c15="http://schemas.microsoft.com/office/drawing/2012/chart" uri="{02D57815-91ED-43cb-92C2-25804820EDAC}">
                        <c15:formulaRef>
                          <c15:sqref>'Combined rate'!$C$20</c15:sqref>
                        </c15:formulaRef>
                      </c:ext>
                    </c:extLst>
                    <c:strCache>
                      <c:ptCount val="1"/>
                      <c:pt idx="0">
                        <c:v>STELLENBOSCH   </c:v>
                      </c:pt>
                    </c:strCache>
                  </c:strRef>
                </c:tx>
                <c:spPr>
                  <a:ln w="19050" cap="rnd">
                    <a:solidFill>
                      <a:schemeClr val="accent4">
                        <a:lumMod val="80000"/>
                        <a:lumOff val="20000"/>
                      </a:schemeClr>
                    </a:solidFill>
                    <a:round/>
                  </a:ln>
                  <a:effectLst/>
                </c:spPr>
                <c:marker>
                  <c:symbol val="circle"/>
                  <c:size val="5"/>
                  <c:spPr>
                    <a:solidFill>
                      <a:schemeClr val="accent4">
                        <a:lumMod val="80000"/>
                        <a:lumOff val="20000"/>
                      </a:schemeClr>
                    </a:solidFill>
                    <a:ln w="9525">
                      <a:solidFill>
                        <a:schemeClr val="accent4">
                          <a:lumMod val="80000"/>
                          <a:lumOff val="20000"/>
                        </a:schemeClr>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20:$IY$20</c15:sqref>
                        </c15:formulaRef>
                      </c:ext>
                    </c:extLst>
                    <c:numCache>
                      <c:formatCode>0</c:formatCode>
                      <c:ptCount val="253"/>
                      <c:pt idx="0">
                        <c:v>112.56</c:v>
                      </c:pt>
                      <c:pt idx="1">
                        <c:v>112.56</c:v>
                      </c:pt>
                      <c:pt idx="2">
                        <c:v>112.56</c:v>
                      </c:pt>
                      <c:pt idx="3">
                        <c:v>194.28</c:v>
                      </c:pt>
                      <c:pt idx="4">
                        <c:v>194.28</c:v>
                      </c:pt>
                      <c:pt idx="5">
                        <c:v>194.28</c:v>
                      </c:pt>
                      <c:pt idx="6">
                        <c:v>194.28</c:v>
                      </c:pt>
                      <c:pt idx="7">
                        <c:v>194.28</c:v>
                      </c:pt>
                      <c:pt idx="8">
                        <c:v>174.096</c:v>
                      </c:pt>
                      <c:pt idx="9">
                        <c:v>174.096</c:v>
                      </c:pt>
                      <c:pt idx="10">
                        <c:v>174.096</c:v>
                      </c:pt>
                      <c:pt idx="11">
                        <c:v>158.52000000000001</c:v>
                      </c:pt>
                      <c:pt idx="12">
                        <c:v>158.52000000000001</c:v>
                      </c:pt>
                      <c:pt idx="13">
                        <c:v>158.52000000000001</c:v>
                      </c:pt>
                      <c:pt idx="14">
                        <c:v>158.52000000000001</c:v>
                      </c:pt>
                      <c:pt idx="15">
                        <c:v>158.52000000000001</c:v>
                      </c:pt>
                      <c:pt idx="16">
                        <c:v>158.52000000000001</c:v>
                      </c:pt>
                      <c:pt idx="17">
                        <c:v>148.77600000000001</c:v>
                      </c:pt>
                      <c:pt idx="18">
                        <c:v>148.77600000000001</c:v>
                      </c:pt>
                      <c:pt idx="19">
                        <c:v>148.77600000000001</c:v>
                      </c:pt>
                      <c:pt idx="20">
                        <c:v>148.77600000000001</c:v>
                      </c:pt>
                      <c:pt idx="21">
                        <c:v>148.77600000000001</c:v>
                      </c:pt>
                      <c:pt idx="22">
                        <c:v>148.77600000000001</c:v>
                      </c:pt>
                      <c:pt idx="23">
                        <c:v>148.77600000000001</c:v>
                      </c:pt>
                      <c:pt idx="24">
                        <c:v>168.43199999999999</c:v>
                      </c:pt>
                      <c:pt idx="25">
                        <c:v>168.43199999999999</c:v>
                      </c:pt>
                      <c:pt idx="26">
                        <c:v>168.43199999999999</c:v>
                      </c:pt>
                      <c:pt idx="27">
                        <c:v>168.43199999999999</c:v>
                      </c:pt>
                      <c:pt idx="28">
                        <c:v>168.43199999999999</c:v>
                      </c:pt>
                      <c:pt idx="29">
                        <c:v>217.44</c:v>
                      </c:pt>
                      <c:pt idx="30">
                        <c:v>217.44</c:v>
                      </c:pt>
                      <c:pt idx="31">
                        <c:v>217.44</c:v>
                      </c:pt>
                      <c:pt idx="32">
                        <c:v>217.44</c:v>
                      </c:pt>
                      <c:pt idx="33">
                        <c:v>218.44799999999998</c:v>
                      </c:pt>
                      <c:pt idx="34">
                        <c:v>218.952</c:v>
                      </c:pt>
                      <c:pt idx="35">
                        <c:v>219.45599999999999</c:v>
                      </c:pt>
                      <c:pt idx="36">
                        <c:v>219.45599999999999</c:v>
                      </c:pt>
                      <c:pt idx="37">
                        <c:v>237.98400000000001</c:v>
                      </c:pt>
                      <c:pt idx="38">
                        <c:v>237.98400000000001</c:v>
                      </c:pt>
                      <c:pt idx="39">
                        <c:v>237.98400000000001</c:v>
                      </c:pt>
                      <c:pt idx="40">
                        <c:v>285.62400000000002</c:v>
                      </c:pt>
                      <c:pt idx="41">
                        <c:v>285.62400000000002</c:v>
                      </c:pt>
                      <c:pt idx="42">
                        <c:v>285.62400000000002</c:v>
                      </c:pt>
                      <c:pt idx="43">
                        <c:v>285.62400000000002</c:v>
                      </c:pt>
                      <c:pt idx="44">
                        <c:v>285.62400000000002</c:v>
                      </c:pt>
                      <c:pt idx="45">
                        <c:v>285.62400000000002</c:v>
                      </c:pt>
                      <c:pt idx="46">
                        <c:v>286.72800000000001</c:v>
                      </c:pt>
                      <c:pt idx="47">
                        <c:v>286.72800000000001</c:v>
                      </c:pt>
                      <c:pt idx="48">
                        <c:v>286.72800000000001</c:v>
                      </c:pt>
                      <c:pt idx="49">
                        <c:v>286.72800000000001</c:v>
                      </c:pt>
                      <c:pt idx="50">
                        <c:v>366.64800000000002</c:v>
                      </c:pt>
                      <c:pt idx="51">
                        <c:v>366.64800000000002</c:v>
                      </c:pt>
                      <c:pt idx="52">
                        <c:v>366.64800000000002</c:v>
                      </c:pt>
                      <c:pt idx="53">
                        <c:v>366.64800000000002</c:v>
                      </c:pt>
                      <c:pt idx="54">
                        <c:v>366.64800000000002</c:v>
                      </c:pt>
                      <c:pt idx="55">
                        <c:v>337.608</c:v>
                      </c:pt>
                      <c:pt idx="56">
                        <c:v>337.608</c:v>
                      </c:pt>
                      <c:pt idx="57">
                        <c:v>337.608</c:v>
                      </c:pt>
                      <c:pt idx="58">
                        <c:v>337.608</c:v>
                      </c:pt>
                      <c:pt idx="59">
                        <c:v>337.608</c:v>
                      </c:pt>
                      <c:pt idx="60">
                        <c:v>337.608</c:v>
                      </c:pt>
                      <c:pt idx="61">
                        <c:v>330.96</c:v>
                      </c:pt>
                      <c:pt idx="62">
                        <c:v>330.96</c:v>
                      </c:pt>
                      <c:pt idx="63">
                        <c:v>249.72</c:v>
                      </c:pt>
                      <c:pt idx="64">
                        <c:v>249.72</c:v>
                      </c:pt>
                      <c:pt idx="65">
                        <c:v>249.72</c:v>
                      </c:pt>
                      <c:pt idx="66">
                        <c:v>249.72</c:v>
                      </c:pt>
                      <c:pt idx="67">
                        <c:v>249.72</c:v>
                      </c:pt>
                      <c:pt idx="68">
                        <c:v>249.72</c:v>
                      </c:pt>
                      <c:pt idx="69">
                        <c:v>256.44</c:v>
                      </c:pt>
                      <c:pt idx="70">
                        <c:v>256.44</c:v>
                      </c:pt>
                      <c:pt idx="71">
                        <c:v>256.44</c:v>
                      </c:pt>
                      <c:pt idx="72">
                        <c:v>256.44</c:v>
                      </c:pt>
                      <c:pt idx="73">
                        <c:v>256.44</c:v>
                      </c:pt>
                      <c:pt idx="74">
                        <c:v>248.59200000000001</c:v>
                      </c:pt>
                      <c:pt idx="75">
                        <c:v>275.80799999999999</c:v>
                      </c:pt>
                      <c:pt idx="76">
                        <c:v>275.80799999999999</c:v>
                      </c:pt>
                      <c:pt idx="77">
                        <c:v>275.80799999999999</c:v>
                      </c:pt>
                      <c:pt idx="78">
                        <c:v>262.00799999999998</c:v>
                      </c:pt>
                      <c:pt idx="79">
                        <c:v>262.00799999999998</c:v>
                      </c:pt>
                      <c:pt idx="80">
                        <c:v>262.00799999999998</c:v>
                      </c:pt>
                      <c:pt idx="81">
                        <c:v>262.00799999999998</c:v>
                      </c:pt>
                      <c:pt idx="82">
                        <c:v>262.00799999999998</c:v>
                      </c:pt>
                      <c:pt idx="83">
                        <c:v>277.08</c:v>
                      </c:pt>
                      <c:pt idx="84">
                        <c:v>277.08</c:v>
                      </c:pt>
                      <c:pt idx="85">
                        <c:v>277.08</c:v>
                      </c:pt>
                      <c:pt idx="86">
                        <c:v>277.08</c:v>
                      </c:pt>
                      <c:pt idx="87">
                        <c:v>277.08</c:v>
                      </c:pt>
                      <c:pt idx="88">
                        <c:v>265.15199999999999</c:v>
                      </c:pt>
                      <c:pt idx="89">
                        <c:v>265.15199999999999</c:v>
                      </c:pt>
                      <c:pt idx="90">
                        <c:v>199.84800000000001</c:v>
                      </c:pt>
                      <c:pt idx="91">
                        <c:v>199.84800000000001</c:v>
                      </c:pt>
                      <c:pt idx="92">
                        <c:v>199.84800000000001</c:v>
                      </c:pt>
                      <c:pt idx="93">
                        <c:v>199.84800000000001</c:v>
                      </c:pt>
                      <c:pt idx="94">
                        <c:v>199.84800000000001</c:v>
                      </c:pt>
                      <c:pt idx="95">
                        <c:v>199.84800000000001</c:v>
                      </c:pt>
                      <c:pt idx="96">
                        <c:v>186.14400000000001</c:v>
                      </c:pt>
                      <c:pt idx="97">
                        <c:v>186.14400000000001</c:v>
                      </c:pt>
                      <c:pt idx="98">
                        <c:v>186.14400000000001</c:v>
                      </c:pt>
                      <c:pt idx="99">
                        <c:v>186.14400000000001</c:v>
                      </c:pt>
                      <c:pt idx="100">
                        <c:v>186.14400000000001</c:v>
                      </c:pt>
                      <c:pt idx="101">
                        <c:v>186.14400000000001</c:v>
                      </c:pt>
                      <c:pt idx="102">
                        <c:v>134.49600000000001</c:v>
                      </c:pt>
                      <c:pt idx="103">
                        <c:v>134.49600000000001</c:v>
                      </c:pt>
                      <c:pt idx="104">
                        <c:v>134.49600000000001</c:v>
                      </c:pt>
                      <c:pt idx="105">
                        <c:v>134.49600000000001</c:v>
                      </c:pt>
                      <c:pt idx="106">
                        <c:v>134.49600000000001</c:v>
                      </c:pt>
                      <c:pt idx="107">
                        <c:v>134.49600000000001</c:v>
                      </c:pt>
                      <c:pt idx="108">
                        <c:v>134.49600000000001</c:v>
                      </c:pt>
                      <c:pt idx="109">
                        <c:v>134.49600000000001</c:v>
                      </c:pt>
                      <c:pt idx="110">
                        <c:v>134.49600000000001</c:v>
                      </c:pt>
                      <c:pt idx="111">
                        <c:v>104.01600000000001</c:v>
                      </c:pt>
                      <c:pt idx="112">
                        <c:v>104.01600000000001</c:v>
                      </c:pt>
                      <c:pt idx="113">
                        <c:v>111.624</c:v>
                      </c:pt>
                      <c:pt idx="114">
                        <c:v>111.624</c:v>
                      </c:pt>
                      <c:pt idx="115">
                        <c:v>111.624</c:v>
                      </c:pt>
                      <c:pt idx="116">
                        <c:v>111.624</c:v>
                      </c:pt>
                      <c:pt idx="117">
                        <c:v>111.624</c:v>
                      </c:pt>
                      <c:pt idx="118">
                        <c:v>111.624</c:v>
                      </c:pt>
                      <c:pt idx="119">
                        <c:v>111.624</c:v>
                      </c:pt>
                      <c:pt idx="120">
                        <c:v>104.01600000000001</c:v>
                      </c:pt>
                      <c:pt idx="121">
                        <c:v>104.01600000000001</c:v>
                      </c:pt>
                      <c:pt idx="122">
                        <c:v>104.01600000000001</c:v>
                      </c:pt>
                      <c:pt idx="123">
                        <c:v>94.727999999999994</c:v>
                      </c:pt>
                      <c:pt idx="124">
                        <c:v>94.727999999999994</c:v>
                      </c:pt>
                      <c:pt idx="125">
                        <c:v>94.727999999999994</c:v>
                      </c:pt>
                      <c:pt idx="126">
                        <c:v>94.727999999999994</c:v>
                      </c:pt>
                      <c:pt idx="127">
                        <c:v>94.727999999999994</c:v>
                      </c:pt>
                      <c:pt idx="128">
                        <c:v>94.727999999999994</c:v>
                      </c:pt>
                      <c:pt idx="129">
                        <c:v>94.727999999999994</c:v>
                      </c:pt>
                      <c:pt idx="130">
                        <c:v>94.727999999999994</c:v>
                      </c:pt>
                      <c:pt idx="131">
                        <c:v>94.727999999999994</c:v>
                      </c:pt>
                      <c:pt idx="132">
                        <c:v>94.727999999999994</c:v>
                      </c:pt>
                      <c:pt idx="133">
                        <c:v>94.727999999999994</c:v>
                      </c:pt>
                      <c:pt idx="134">
                        <c:v>94.727999999999994</c:v>
                      </c:pt>
                      <c:pt idx="135">
                        <c:v>122.78400000000001</c:v>
                      </c:pt>
                      <c:pt idx="136">
                        <c:v>122.78400000000001</c:v>
                      </c:pt>
                      <c:pt idx="137">
                        <c:v>122.78400000000001</c:v>
                      </c:pt>
                      <c:pt idx="138">
                        <c:v>122.78400000000001</c:v>
                      </c:pt>
                      <c:pt idx="139">
                        <c:v>122.78400000000001</c:v>
                      </c:pt>
                      <c:pt idx="140">
                        <c:v>122.78400000000001</c:v>
                      </c:pt>
                      <c:pt idx="141">
                        <c:v>122.78400000000001</c:v>
                      </c:pt>
                      <c:pt idx="142">
                        <c:v>122.78400000000001</c:v>
                      </c:pt>
                      <c:pt idx="143">
                        <c:v>122.78400000000001</c:v>
                      </c:pt>
                      <c:pt idx="144">
                        <c:v>111.096</c:v>
                      </c:pt>
                      <c:pt idx="145">
                        <c:v>111.096</c:v>
                      </c:pt>
                      <c:pt idx="146">
                        <c:v>111.096</c:v>
                      </c:pt>
                      <c:pt idx="147">
                        <c:v>111.096</c:v>
                      </c:pt>
                      <c:pt idx="148">
                        <c:v>111.096</c:v>
                      </c:pt>
                      <c:pt idx="149">
                        <c:v>111.096</c:v>
                      </c:pt>
                      <c:pt idx="150">
                        <c:v>111.096</c:v>
                      </c:pt>
                      <c:pt idx="151">
                        <c:v>112.248</c:v>
                      </c:pt>
                      <c:pt idx="152">
                        <c:v>112.248</c:v>
                      </c:pt>
                      <c:pt idx="153">
                        <c:v>112.248</c:v>
                      </c:pt>
                      <c:pt idx="154">
                        <c:v>112.248</c:v>
                      </c:pt>
                      <c:pt idx="155">
                        <c:v>112.248</c:v>
                      </c:pt>
                      <c:pt idx="156">
                        <c:v>112.248</c:v>
                      </c:pt>
                      <c:pt idx="157">
                        <c:v>112.248</c:v>
                      </c:pt>
                      <c:pt idx="158">
                        <c:v>112.248</c:v>
                      </c:pt>
                      <c:pt idx="159">
                        <c:v>111.816</c:v>
                      </c:pt>
                      <c:pt idx="160">
                        <c:v>111.816</c:v>
                      </c:pt>
                      <c:pt idx="161">
                        <c:v>111.816</c:v>
                      </c:pt>
                      <c:pt idx="162">
                        <c:v>111.816</c:v>
                      </c:pt>
                      <c:pt idx="163">
                        <c:v>111.816</c:v>
                      </c:pt>
                      <c:pt idx="164">
                        <c:v>111.816</c:v>
                      </c:pt>
                      <c:pt idx="165">
                        <c:v>111.816</c:v>
                      </c:pt>
                      <c:pt idx="166">
                        <c:v>111.816</c:v>
                      </c:pt>
                      <c:pt idx="167">
                        <c:v>111.816</c:v>
                      </c:pt>
                      <c:pt idx="168">
                        <c:v>111.816</c:v>
                      </c:pt>
                      <c:pt idx="169">
                        <c:v>113.06399999999999</c:v>
                      </c:pt>
                      <c:pt idx="170">
                        <c:v>113.06399999999999</c:v>
                      </c:pt>
                      <c:pt idx="171">
                        <c:v>113.06399999999999</c:v>
                      </c:pt>
                      <c:pt idx="172">
                        <c:v>113.06399999999999</c:v>
                      </c:pt>
                      <c:pt idx="173">
                        <c:v>112.944</c:v>
                      </c:pt>
                      <c:pt idx="174">
                        <c:v>112.944</c:v>
                      </c:pt>
                      <c:pt idx="175">
                        <c:v>112.944</c:v>
                      </c:pt>
                      <c:pt idx="176">
                        <c:v>109.752</c:v>
                      </c:pt>
                      <c:pt idx="177">
                        <c:v>109.248</c:v>
                      </c:pt>
                      <c:pt idx="178">
                        <c:v>109.248</c:v>
                      </c:pt>
                      <c:pt idx="179">
                        <c:v>109.248</c:v>
                      </c:pt>
                      <c:pt idx="180">
                        <c:v>109.248</c:v>
                      </c:pt>
                      <c:pt idx="181">
                        <c:v>109.248</c:v>
                      </c:pt>
                      <c:pt idx="182">
                        <c:v>109.248</c:v>
                      </c:pt>
                      <c:pt idx="183">
                        <c:v>109.248</c:v>
                      </c:pt>
                      <c:pt idx="184">
                        <c:v>109.248</c:v>
                      </c:pt>
                      <c:pt idx="185">
                        <c:v>94.992000000000004</c:v>
                      </c:pt>
                      <c:pt idx="186">
                        <c:v>94.992000000000004</c:v>
                      </c:pt>
                      <c:pt idx="187">
                        <c:v>94.992000000000004</c:v>
                      </c:pt>
                      <c:pt idx="188">
                        <c:v>94.992000000000004</c:v>
                      </c:pt>
                      <c:pt idx="189">
                        <c:v>94.992000000000004</c:v>
                      </c:pt>
                      <c:pt idx="190">
                        <c:v>94.992000000000004</c:v>
                      </c:pt>
                      <c:pt idx="191">
                        <c:v>94.992000000000004</c:v>
                      </c:pt>
                      <c:pt idx="192">
                        <c:v>94.992000000000004</c:v>
                      </c:pt>
                      <c:pt idx="193">
                        <c:v>124.65600000000001</c:v>
                      </c:pt>
                      <c:pt idx="194">
                        <c:v>124.65600000000001</c:v>
                      </c:pt>
                      <c:pt idx="195">
                        <c:v>124.65600000000001</c:v>
                      </c:pt>
                      <c:pt idx="196">
                        <c:v>124.65600000000001</c:v>
                      </c:pt>
                      <c:pt idx="197">
                        <c:v>124.65600000000001</c:v>
                      </c:pt>
                      <c:pt idx="198">
                        <c:v>124.65600000000001</c:v>
                      </c:pt>
                      <c:pt idx="199">
                        <c:v>116.06399999999999</c:v>
                      </c:pt>
                      <c:pt idx="200">
                        <c:v>142.65600000000001</c:v>
                      </c:pt>
                      <c:pt idx="201">
                        <c:v>142.65600000000001</c:v>
                      </c:pt>
                      <c:pt idx="202">
                        <c:v>142.65600000000001</c:v>
                      </c:pt>
                      <c:pt idx="203">
                        <c:v>165.16800000000001</c:v>
                      </c:pt>
                      <c:pt idx="204">
                        <c:v>165.16800000000001</c:v>
                      </c:pt>
                      <c:pt idx="205">
                        <c:v>354.91199999999998</c:v>
                      </c:pt>
                      <c:pt idx="206">
                        <c:v>491.30399999999997</c:v>
                      </c:pt>
                      <c:pt idx="207">
                        <c:v>491.30399999999997</c:v>
                      </c:pt>
                      <c:pt idx="208">
                        <c:v>491.30399999999997</c:v>
                      </c:pt>
                      <c:pt idx="209">
                        <c:v>455.72</c:v>
                      </c:pt>
                      <c:pt idx="210">
                        <c:v>481.30399999999997</c:v>
                      </c:pt>
                      <c:pt idx="211">
                        <c:v>475.72</c:v>
                      </c:pt>
                      <c:pt idx="212">
                        <c:v>466.2</c:v>
                      </c:pt>
                      <c:pt idx="213">
                        <c:v>445.15199999999999</c:v>
                      </c:pt>
                      <c:pt idx="214">
                        <c:v>445.15199999999999</c:v>
                      </c:pt>
                      <c:pt idx="215">
                        <c:v>418.87200000000001</c:v>
                      </c:pt>
                      <c:pt idx="216">
                        <c:v>418.87200000000001</c:v>
                      </c:pt>
                      <c:pt idx="217">
                        <c:v>418.87200000000001</c:v>
                      </c:pt>
                      <c:pt idx="218">
                        <c:v>499.87200000000001</c:v>
                      </c:pt>
                      <c:pt idx="219">
                        <c:v>418.87200000000001</c:v>
                      </c:pt>
                      <c:pt idx="220">
                        <c:v>643.34400000000005</c:v>
                      </c:pt>
                      <c:pt idx="221">
                        <c:v>687.45600000000002</c:v>
                      </c:pt>
                      <c:pt idx="222">
                        <c:v>687.45600000000002</c:v>
                      </c:pt>
                      <c:pt idx="223">
                        <c:v>687.45600000000002</c:v>
                      </c:pt>
                      <c:pt idx="224">
                        <c:v>687.45600000000002</c:v>
                      </c:pt>
                      <c:pt idx="225">
                        <c:v>687.45600000000002</c:v>
                      </c:pt>
                      <c:pt idx="226">
                        <c:v>408.6</c:v>
                      </c:pt>
                      <c:pt idx="227">
                        <c:v>641.56799999999998</c:v>
                      </c:pt>
                      <c:pt idx="228">
                        <c:v>641.56799999999998</c:v>
                      </c:pt>
                      <c:pt idx="229">
                        <c:v>852.40800000000002</c:v>
                      </c:pt>
                      <c:pt idx="230">
                        <c:v>707.18399999999997</c:v>
                      </c:pt>
                      <c:pt idx="231">
                        <c:v>707.18399999999997</c:v>
                      </c:pt>
                      <c:pt idx="232">
                        <c:v>615.76800000000003</c:v>
                      </c:pt>
                      <c:pt idx="233">
                        <c:v>615.76800000000003</c:v>
                      </c:pt>
                      <c:pt idx="234">
                        <c:v>511.27199999999999</c:v>
                      </c:pt>
                      <c:pt idx="235">
                        <c:v>511.27199999999999</c:v>
                      </c:pt>
                      <c:pt idx="236">
                        <c:v>629.904</c:v>
                      </c:pt>
                      <c:pt idx="237">
                        <c:v>629.904</c:v>
                      </c:pt>
                      <c:pt idx="238">
                        <c:v>629.904</c:v>
                      </c:pt>
                      <c:pt idx="239">
                        <c:v>686.80799999999999</c:v>
                      </c:pt>
                      <c:pt idx="240">
                        <c:v>751.68</c:v>
                      </c:pt>
                      <c:pt idx="241">
                        <c:v>751.68</c:v>
                      </c:pt>
                      <c:pt idx="242">
                        <c:v>751.68</c:v>
                      </c:pt>
                      <c:pt idx="243">
                        <c:v>836.52</c:v>
                      </c:pt>
                      <c:pt idx="244">
                        <c:v>679.70399999999995</c:v>
                      </c:pt>
                      <c:pt idx="245">
                        <c:v>633.19200000000001</c:v>
                      </c:pt>
                      <c:pt idx="246">
                        <c:v>633.19200000000001</c:v>
                      </c:pt>
                      <c:pt idx="247">
                        <c:v>633.19200000000001</c:v>
                      </c:pt>
                      <c:pt idx="248">
                        <c:v>633.19200000000001</c:v>
                      </c:pt>
                      <c:pt idx="249">
                        <c:v>452.66399999999999</c:v>
                      </c:pt>
                      <c:pt idx="250">
                        <c:v>471.55200000000002</c:v>
                      </c:pt>
                      <c:pt idx="251">
                        <c:v>471.55200000000002</c:v>
                      </c:pt>
                      <c:pt idx="252">
                        <c:v>395.20800000000003</c:v>
                      </c:pt>
                    </c:numCache>
                  </c:numRef>
                </c:yVal>
                <c:smooth val="1"/>
                <c:extLst xmlns:c15="http://schemas.microsoft.com/office/drawing/2012/chart">
                  <c:ext xmlns:c16="http://schemas.microsoft.com/office/drawing/2014/chart" uri="{C3380CC4-5D6E-409C-BE32-E72D297353CC}">
                    <c16:uniqueId val="{00000011-B1BA-4027-B324-9E28FECAA0B8}"/>
                  </c:ext>
                </c:extLst>
              </c15:ser>
            </c15:filteredScatterSeries>
            <c15:filteredScatterSeries>
              <c15:ser>
                <c:idx val="16"/>
                <c:order val="16"/>
                <c:tx>
                  <c:strRef>
                    <c:extLst xmlns:c15="http://schemas.microsoft.com/office/drawing/2012/chart">
                      <c:ext xmlns:c15="http://schemas.microsoft.com/office/drawing/2012/chart" uri="{02D57815-91ED-43cb-92C2-25804820EDAC}">
                        <c15:formulaRef>
                          <c15:sqref>'Combined rate'!$C$21</c15:sqref>
                        </c15:formulaRef>
                      </c:ext>
                    </c:extLst>
                    <c:strCache>
                      <c:ptCount val="1"/>
                      <c:pt idx="0">
                        <c:v>TYGERBERG  </c:v>
                      </c:pt>
                    </c:strCache>
                  </c:strRef>
                </c:tx>
                <c:spPr>
                  <a:ln w="19050" cap="rnd">
                    <a:solidFill>
                      <a:schemeClr val="accent5">
                        <a:lumMod val="80000"/>
                        <a:lumOff val="20000"/>
                      </a:schemeClr>
                    </a:solidFill>
                    <a:round/>
                  </a:ln>
                  <a:effectLst/>
                </c:spPr>
                <c:marker>
                  <c:symbol val="circle"/>
                  <c:size val="5"/>
                  <c:spPr>
                    <a:solidFill>
                      <a:schemeClr val="accent5">
                        <a:lumMod val="80000"/>
                        <a:lumOff val="20000"/>
                      </a:schemeClr>
                    </a:solidFill>
                    <a:ln w="9525">
                      <a:solidFill>
                        <a:schemeClr val="accent5">
                          <a:lumMod val="80000"/>
                          <a:lumOff val="20000"/>
                        </a:schemeClr>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21:$IY$21</c15:sqref>
                        </c15:formulaRef>
                      </c:ext>
                    </c:extLst>
                    <c:numCache>
                      <c:formatCode>0</c:formatCode>
                      <c:ptCount val="253"/>
                      <c:pt idx="0">
                        <c:v>5272.6080000000002</c:v>
                      </c:pt>
                      <c:pt idx="1">
                        <c:v>5396.4480000000003</c:v>
                      </c:pt>
                      <c:pt idx="2">
                        <c:v>5396.4480000000003</c:v>
                      </c:pt>
                      <c:pt idx="3">
                        <c:v>4890.768</c:v>
                      </c:pt>
                      <c:pt idx="4">
                        <c:v>5266.5720000000001</c:v>
                      </c:pt>
                      <c:pt idx="5">
                        <c:v>5454.4740000000002</c:v>
                      </c:pt>
                      <c:pt idx="6">
                        <c:v>5548.4250000000002</c:v>
                      </c:pt>
                      <c:pt idx="7">
                        <c:v>5642.3760000000002</c:v>
                      </c:pt>
                      <c:pt idx="8">
                        <c:v>5642.3760000000002</c:v>
                      </c:pt>
                      <c:pt idx="9">
                        <c:v>6346.56</c:v>
                      </c:pt>
                      <c:pt idx="10">
                        <c:v>6357.576</c:v>
                      </c:pt>
                      <c:pt idx="11">
                        <c:v>6108.0479999999998</c:v>
                      </c:pt>
                      <c:pt idx="12">
                        <c:v>6108.0479999999998</c:v>
                      </c:pt>
                      <c:pt idx="13">
                        <c:v>6059.4480000000003</c:v>
                      </c:pt>
                      <c:pt idx="14">
                        <c:v>6010.848</c:v>
                      </c:pt>
                      <c:pt idx="15">
                        <c:v>6010.848</c:v>
                      </c:pt>
                      <c:pt idx="16">
                        <c:v>6236.5439999999999</c:v>
                      </c:pt>
                      <c:pt idx="17">
                        <c:v>6796.9679999999998</c:v>
                      </c:pt>
                      <c:pt idx="18">
                        <c:v>6796.9679999999998</c:v>
                      </c:pt>
                      <c:pt idx="19">
                        <c:v>6522.7199999999993</c:v>
                      </c:pt>
                      <c:pt idx="20">
                        <c:v>6385.5959999999995</c:v>
                      </c:pt>
                      <c:pt idx="21">
                        <c:v>6248.4719999999998</c:v>
                      </c:pt>
                      <c:pt idx="22">
                        <c:v>5826.5879999999997</c:v>
                      </c:pt>
                      <c:pt idx="23">
                        <c:v>5404.7039999999997</c:v>
                      </c:pt>
                      <c:pt idx="24">
                        <c:v>5716.8239999999996</c:v>
                      </c:pt>
                      <c:pt idx="25">
                        <c:v>5797.152</c:v>
                      </c:pt>
                      <c:pt idx="26">
                        <c:v>5837.3159999999998</c:v>
                      </c:pt>
                      <c:pt idx="27">
                        <c:v>5857.3979999999992</c:v>
                      </c:pt>
                      <c:pt idx="28">
                        <c:v>5877.48</c:v>
                      </c:pt>
                      <c:pt idx="29">
                        <c:v>5361.6</c:v>
                      </c:pt>
                      <c:pt idx="30">
                        <c:v>5361.6</c:v>
                      </c:pt>
                      <c:pt idx="31">
                        <c:v>5780.7120000000004</c:v>
                      </c:pt>
                      <c:pt idx="32">
                        <c:v>5780.7120000000004</c:v>
                      </c:pt>
                      <c:pt idx="33">
                        <c:v>6090.9359999999997</c:v>
                      </c:pt>
                      <c:pt idx="34">
                        <c:v>6246.0479999999998</c:v>
                      </c:pt>
                      <c:pt idx="35">
                        <c:v>6401.16</c:v>
                      </c:pt>
                      <c:pt idx="36">
                        <c:v>6271.6559999999999</c:v>
                      </c:pt>
                      <c:pt idx="37">
                        <c:v>6271.6559999999999</c:v>
                      </c:pt>
                      <c:pt idx="38">
                        <c:v>6242.9759999999997</c:v>
                      </c:pt>
                      <c:pt idx="39">
                        <c:v>6242.9759999999997</c:v>
                      </c:pt>
                      <c:pt idx="40">
                        <c:v>6287.0640000000003</c:v>
                      </c:pt>
                      <c:pt idx="41">
                        <c:v>6302.64</c:v>
                      </c:pt>
                      <c:pt idx="42">
                        <c:v>6302.64</c:v>
                      </c:pt>
                      <c:pt idx="43">
                        <c:v>6553.4880000000003</c:v>
                      </c:pt>
                      <c:pt idx="44">
                        <c:v>6553.4880000000003</c:v>
                      </c:pt>
                      <c:pt idx="45">
                        <c:v>6553.4880000000003</c:v>
                      </c:pt>
                      <c:pt idx="46">
                        <c:v>6508.08</c:v>
                      </c:pt>
                      <c:pt idx="47">
                        <c:v>6508.08</c:v>
                      </c:pt>
                      <c:pt idx="48">
                        <c:v>6508.08</c:v>
                      </c:pt>
                      <c:pt idx="49">
                        <c:v>6508.08</c:v>
                      </c:pt>
                      <c:pt idx="50">
                        <c:v>5685.2160000000003</c:v>
                      </c:pt>
                      <c:pt idx="51">
                        <c:v>5685.2160000000003</c:v>
                      </c:pt>
                      <c:pt idx="52">
                        <c:v>5685.2160000000003</c:v>
                      </c:pt>
                      <c:pt idx="53">
                        <c:v>6499.7280000000001</c:v>
                      </c:pt>
                      <c:pt idx="54">
                        <c:v>5946.0720000000001</c:v>
                      </c:pt>
                      <c:pt idx="55">
                        <c:v>5946.0720000000001</c:v>
                      </c:pt>
                      <c:pt idx="56">
                        <c:v>5946.0720000000001</c:v>
                      </c:pt>
                      <c:pt idx="57">
                        <c:v>5946.0720000000001</c:v>
                      </c:pt>
                      <c:pt idx="58">
                        <c:v>5946.0720000000001</c:v>
                      </c:pt>
                      <c:pt idx="59">
                        <c:v>5607.0479999999998</c:v>
                      </c:pt>
                      <c:pt idx="60">
                        <c:v>5607.0479999999998</c:v>
                      </c:pt>
                      <c:pt idx="61">
                        <c:v>5641.68</c:v>
                      </c:pt>
                      <c:pt idx="62">
                        <c:v>5641.68</c:v>
                      </c:pt>
                      <c:pt idx="63">
                        <c:v>5641.68</c:v>
                      </c:pt>
                      <c:pt idx="64">
                        <c:v>5633.3760000000002</c:v>
                      </c:pt>
                      <c:pt idx="65">
                        <c:v>5633.3760000000002</c:v>
                      </c:pt>
                      <c:pt idx="66">
                        <c:v>5476.7759999999998</c:v>
                      </c:pt>
                      <c:pt idx="67">
                        <c:v>5509.848</c:v>
                      </c:pt>
                      <c:pt idx="68">
                        <c:v>5509.848</c:v>
                      </c:pt>
                      <c:pt idx="69">
                        <c:v>4772.4480000000003</c:v>
                      </c:pt>
                      <c:pt idx="70">
                        <c:v>4772.4480000000003</c:v>
                      </c:pt>
                      <c:pt idx="71">
                        <c:v>4772.4480000000003</c:v>
                      </c:pt>
                      <c:pt idx="72">
                        <c:v>5077.1040000000003</c:v>
                      </c:pt>
                      <c:pt idx="73">
                        <c:v>5077.1040000000003</c:v>
                      </c:pt>
                      <c:pt idx="74">
                        <c:v>6037.0320000000002</c:v>
                      </c:pt>
                      <c:pt idx="75">
                        <c:v>6037.0320000000002</c:v>
                      </c:pt>
                      <c:pt idx="76">
                        <c:v>5987.5919999999996</c:v>
                      </c:pt>
                      <c:pt idx="77">
                        <c:v>5987.5919999999996</c:v>
                      </c:pt>
                      <c:pt idx="78">
                        <c:v>5864.9759999999997</c:v>
                      </c:pt>
                      <c:pt idx="79">
                        <c:v>5864.9759999999997</c:v>
                      </c:pt>
                      <c:pt idx="80">
                        <c:v>5650.44</c:v>
                      </c:pt>
                      <c:pt idx="81">
                        <c:v>5650.44</c:v>
                      </c:pt>
                      <c:pt idx="82">
                        <c:v>5650.44</c:v>
                      </c:pt>
                      <c:pt idx="83">
                        <c:v>5168.6400000000003</c:v>
                      </c:pt>
                      <c:pt idx="84">
                        <c:v>5168.6400000000003</c:v>
                      </c:pt>
                      <c:pt idx="85">
                        <c:v>5450.76</c:v>
                      </c:pt>
                      <c:pt idx="86">
                        <c:v>5450.76</c:v>
                      </c:pt>
                      <c:pt idx="87">
                        <c:v>5450.76</c:v>
                      </c:pt>
                      <c:pt idx="88">
                        <c:v>6635.4719999999998</c:v>
                      </c:pt>
                      <c:pt idx="89">
                        <c:v>6635.4719999999998</c:v>
                      </c:pt>
                      <c:pt idx="90">
                        <c:v>6872.2560000000003</c:v>
                      </c:pt>
                      <c:pt idx="91">
                        <c:v>6872.2560000000003</c:v>
                      </c:pt>
                      <c:pt idx="92">
                        <c:v>5239.0079999999998</c:v>
                      </c:pt>
                      <c:pt idx="93">
                        <c:v>5239.0079999999998</c:v>
                      </c:pt>
                      <c:pt idx="94">
                        <c:v>5308.2240000000002</c:v>
                      </c:pt>
                      <c:pt idx="95">
                        <c:v>5308.2240000000002</c:v>
                      </c:pt>
                      <c:pt idx="96">
                        <c:v>5243.3280000000004</c:v>
                      </c:pt>
                      <c:pt idx="97">
                        <c:v>5248.5360000000001</c:v>
                      </c:pt>
                      <c:pt idx="98">
                        <c:v>5248.5360000000001</c:v>
                      </c:pt>
                      <c:pt idx="99">
                        <c:v>5042.3999999999996</c:v>
                      </c:pt>
                      <c:pt idx="100">
                        <c:v>5042.3999999999996</c:v>
                      </c:pt>
                      <c:pt idx="101">
                        <c:v>5042.3999999999996</c:v>
                      </c:pt>
                      <c:pt idx="102">
                        <c:v>4979.4719999999998</c:v>
                      </c:pt>
                      <c:pt idx="103">
                        <c:v>5751.48</c:v>
                      </c:pt>
                      <c:pt idx="104">
                        <c:v>5282.7839999999997</c:v>
                      </c:pt>
                      <c:pt idx="105">
                        <c:v>5283.5039999999999</c:v>
                      </c:pt>
                      <c:pt idx="106">
                        <c:v>5224.5600000000004</c:v>
                      </c:pt>
                      <c:pt idx="107">
                        <c:v>5225.04</c:v>
                      </c:pt>
                      <c:pt idx="108">
                        <c:v>4998.3360000000002</c:v>
                      </c:pt>
                      <c:pt idx="109">
                        <c:v>4998.3360000000002</c:v>
                      </c:pt>
                      <c:pt idx="110">
                        <c:v>4998.3599999999997</c:v>
                      </c:pt>
                      <c:pt idx="111">
                        <c:v>5422.3440000000001</c:v>
                      </c:pt>
                      <c:pt idx="112">
                        <c:v>5490.5280000000002</c:v>
                      </c:pt>
                      <c:pt idx="113">
                        <c:v>5490.5280000000002</c:v>
                      </c:pt>
                      <c:pt idx="114">
                        <c:v>5490.5039999999999</c:v>
                      </c:pt>
                      <c:pt idx="115">
                        <c:v>5588.9759999999997</c:v>
                      </c:pt>
                      <c:pt idx="116">
                        <c:v>4890.24</c:v>
                      </c:pt>
                      <c:pt idx="117">
                        <c:v>4890.24</c:v>
                      </c:pt>
                      <c:pt idx="118">
                        <c:v>5272.5360000000001</c:v>
                      </c:pt>
                      <c:pt idx="119">
                        <c:v>5272.5360000000001</c:v>
                      </c:pt>
                      <c:pt idx="120">
                        <c:v>5068.848</c:v>
                      </c:pt>
                      <c:pt idx="121">
                        <c:v>5068.848</c:v>
                      </c:pt>
                      <c:pt idx="122">
                        <c:v>5393.64</c:v>
                      </c:pt>
                      <c:pt idx="123">
                        <c:v>5393.64</c:v>
                      </c:pt>
                      <c:pt idx="124">
                        <c:v>5070.6719999999996</c:v>
                      </c:pt>
                      <c:pt idx="125">
                        <c:v>5070.6719999999996</c:v>
                      </c:pt>
                      <c:pt idx="126">
                        <c:v>5070.6719999999996</c:v>
                      </c:pt>
                      <c:pt idx="127">
                        <c:v>5070.6719999999996</c:v>
                      </c:pt>
                      <c:pt idx="128">
                        <c:v>5070.6719999999996</c:v>
                      </c:pt>
                      <c:pt idx="129">
                        <c:v>5070.6719999999996</c:v>
                      </c:pt>
                      <c:pt idx="130">
                        <c:v>4937.0640000000003</c:v>
                      </c:pt>
                      <c:pt idx="131">
                        <c:v>5056.7759999999998</c:v>
                      </c:pt>
                      <c:pt idx="132">
                        <c:v>5056.7759999999998</c:v>
                      </c:pt>
                      <c:pt idx="133">
                        <c:v>5056.7759999999998</c:v>
                      </c:pt>
                      <c:pt idx="134">
                        <c:v>5062.2479999999996</c:v>
                      </c:pt>
                      <c:pt idx="135">
                        <c:v>5152.5119999999997</c:v>
                      </c:pt>
                      <c:pt idx="136">
                        <c:v>5124.384</c:v>
                      </c:pt>
                      <c:pt idx="137">
                        <c:v>5124.384</c:v>
                      </c:pt>
                      <c:pt idx="138">
                        <c:v>5127.2640000000001</c:v>
                      </c:pt>
                      <c:pt idx="139">
                        <c:v>5259.7920000000004</c:v>
                      </c:pt>
                      <c:pt idx="140">
                        <c:v>5259.7920000000004</c:v>
                      </c:pt>
                      <c:pt idx="141">
                        <c:v>4838.3519999999999</c:v>
                      </c:pt>
                      <c:pt idx="142">
                        <c:v>4838.3519999999999</c:v>
                      </c:pt>
                      <c:pt idx="143">
                        <c:v>4838.3519999999999</c:v>
                      </c:pt>
                      <c:pt idx="144">
                        <c:v>6067.5119999999997</c:v>
                      </c:pt>
                      <c:pt idx="145">
                        <c:v>5037.72</c:v>
                      </c:pt>
                      <c:pt idx="146">
                        <c:v>5037.72</c:v>
                      </c:pt>
                      <c:pt idx="147">
                        <c:v>5037.72</c:v>
                      </c:pt>
                      <c:pt idx="148">
                        <c:v>5037.72</c:v>
                      </c:pt>
                      <c:pt idx="149">
                        <c:v>5054.808</c:v>
                      </c:pt>
                      <c:pt idx="150">
                        <c:v>5054.808</c:v>
                      </c:pt>
                      <c:pt idx="151">
                        <c:v>5148.72</c:v>
                      </c:pt>
                      <c:pt idx="152">
                        <c:v>5148.72</c:v>
                      </c:pt>
                      <c:pt idx="153">
                        <c:v>4791.6959999999999</c:v>
                      </c:pt>
                      <c:pt idx="154">
                        <c:v>6631.6319999999996</c:v>
                      </c:pt>
                      <c:pt idx="155">
                        <c:v>6093.24</c:v>
                      </c:pt>
                      <c:pt idx="156">
                        <c:v>6093.24</c:v>
                      </c:pt>
                      <c:pt idx="157">
                        <c:v>5516.6880000000001</c:v>
                      </c:pt>
                      <c:pt idx="158">
                        <c:v>5518.1040000000003</c:v>
                      </c:pt>
                      <c:pt idx="159">
                        <c:v>5141.1840000000002</c:v>
                      </c:pt>
                      <c:pt idx="160">
                        <c:v>5141.1840000000002</c:v>
                      </c:pt>
                      <c:pt idx="161">
                        <c:v>5141.4719999999998</c:v>
                      </c:pt>
                      <c:pt idx="162">
                        <c:v>5151.4560000000001</c:v>
                      </c:pt>
                      <c:pt idx="163">
                        <c:v>5225.9520000000002</c:v>
                      </c:pt>
                      <c:pt idx="164">
                        <c:v>5225.9520000000002</c:v>
                      </c:pt>
                      <c:pt idx="165">
                        <c:v>4989.4799999999996</c:v>
                      </c:pt>
                      <c:pt idx="166">
                        <c:v>5076.4799999999996</c:v>
                      </c:pt>
                      <c:pt idx="167">
                        <c:v>4684.4880000000003</c:v>
                      </c:pt>
                      <c:pt idx="168">
                        <c:v>4684.7039999999997</c:v>
                      </c:pt>
                      <c:pt idx="169">
                        <c:v>5006.16</c:v>
                      </c:pt>
                      <c:pt idx="170">
                        <c:v>5007.0479999999998</c:v>
                      </c:pt>
                      <c:pt idx="171">
                        <c:v>5140.9920000000002</c:v>
                      </c:pt>
                      <c:pt idx="172">
                        <c:v>5140.9920000000002</c:v>
                      </c:pt>
                      <c:pt idx="173">
                        <c:v>4956.4319999999998</c:v>
                      </c:pt>
                      <c:pt idx="174">
                        <c:v>4956.4319999999998</c:v>
                      </c:pt>
                      <c:pt idx="175">
                        <c:v>4956.7920000000004</c:v>
                      </c:pt>
                      <c:pt idx="176">
                        <c:v>5064.768</c:v>
                      </c:pt>
                      <c:pt idx="177">
                        <c:v>5065.0559999999996</c:v>
                      </c:pt>
                      <c:pt idx="178">
                        <c:v>5069.76</c:v>
                      </c:pt>
                      <c:pt idx="179">
                        <c:v>5069.76</c:v>
                      </c:pt>
                      <c:pt idx="180">
                        <c:v>5069.88</c:v>
                      </c:pt>
                      <c:pt idx="181">
                        <c:v>5255.76</c:v>
                      </c:pt>
                      <c:pt idx="182">
                        <c:v>5255.76</c:v>
                      </c:pt>
                      <c:pt idx="183">
                        <c:v>5121.576</c:v>
                      </c:pt>
                      <c:pt idx="184">
                        <c:v>5117.76</c:v>
                      </c:pt>
                      <c:pt idx="185">
                        <c:v>5501</c:v>
                      </c:pt>
                      <c:pt idx="186">
                        <c:v>5813</c:v>
                      </c:pt>
                      <c:pt idx="187">
                        <c:v>4825</c:v>
                      </c:pt>
                      <c:pt idx="188">
                        <c:v>4825</c:v>
                      </c:pt>
                      <c:pt idx="189">
                        <c:v>4910</c:v>
                      </c:pt>
                      <c:pt idx="190">
                        <c:v>5461.32</c:v>
                      </c:pt>
                      <c:pt idx="191">
                        <c:v>5348.424</c:v>
                      </c:pt>
                      <c:pt idx="192">
                        <c:v>5510.88</c:v>
                      </c:pt>
                      <c:pt idx="193">
                        <c:v>5510.8559999999998</c:v>
                      </c:pt>
                      <c:pt idx="194">
                        <c:v>6721</c:v>
                      </c:pt>
                      <c:pt idx="195">
                        <c:v>5160</c:v>
                      </c:pt>
                      <c:pt idx="196">
                        <c:v>6225</c:v>
                      </c:pt>
                      <c:pt idx="197">
                        <c:v>6313</c:v>
                      </c:pt>
                      <c:pt idx="198">
                        <c:v>5553</c:v>
                      </c:pt>
                      <c:pt idx="199">
                        <c:v>6333</c:v>
                      </c:pt>
                      <c:pt idx="200">
                        <c:v>5890</c:v>
                      </c:pt>
                      <c:pt idx="201">
                        <c:v>6912</c:v>
                      </c:pt>
                      <c:pt idx="202">
                        <c:v>5918</c:v>
                      </c:pt>
                      <c:pt idx="203">
                        <c:v>5196</c:v>
                      </c:pt>
                      <c:pt idx="204">
                        <c:v>6085.2719999999999</c:v>
                      </c:pt>
                      <c:pt idx="205">
                        <c:v>6085.2719999999999</c:v>
                      </c:pt>
                      <c:pt idx="206">
                        <c:v>6399.9359999999997</c:v>
                      </c:pt>
                      <c:pt idx="207">
                        <c:v>6399.9359999999997</c:v>
                      </c:pt>
                      <c:pt idx="208">
                        <c:v>7045.9440000000004</c:v>
                      </c:pt>
                      <c:pt idx="209">
                        <c:v>6462</c:v>
                      </c:pt>
                      <c:pt idx="210">
                        <c:v>6470</c:v>
                      </c:pt>
                      <c:pt idx="211">
                        <c:v>6540</c:v>
                      </c:pt>
                      <c:pt idx="212">
                        <c:v>7341.2</c:v>
                      </c:pt>
                      <c:pt idx="213">
                        <c:v>4319</c:v>
                      </c:pt>
                      <c:pt idx="214">
                        <c:v>5105</c:v>
                      </c:pt>
                      <c:pt idx="215">
                        <c:v>5303</c:v>
                      </c:pt>
                      <c:pt idx="216">
                        <c:v>6849</c:v>
                      </c:pt>
                      <c:pt idx="217">
                        <c:v>6147</c:v>
                      </c:pt>
                      <c:pt idx="218">
                        <c:v>8023.152</c:v>
                      </c:pt>
                      <c:pt idx="219">
                        <c:v>7975</c:v>
                      </c:pt>
                      <c:pt idx="220">
                        <c:v>9017.5120000000006</c:v>
                      </c:pt>
                      <c:pt idx="221">
                        <c:v>9217.5120000000006</c:v>
                      </c:pt>
                      <c:pt idx="222">
                        <c:v>8751.3359999999993</c:v>
                      </c:pt>
                      <c:pt idx="223">
                        <c:v>8751.3359999999993</c:v>
                      </c:pt>
                      <c:pt idx="224">
                        <c:v>9689.5920000000006</c:v>
                      </c:pt>
                      <c:pt idx="225">
                        <c:v>9711.8160000000007</c:v>
                      </c:pt>
                      <c:pt idx="226">
                        <c:v>9711.8160000000007</c:v>
                      </c:pt>
                      <c:pt idx="227">
                        <c:v>9711.8160000000007</c:v>
                      </c:pt>
                      <c:pt idx="228">
                        <c:v>9732.5759999999991</c:v>
                      </c:pt>
                      <c:pt idx="229">
                        <c:v>7518.5519999999997</c:v>
                      </c:pt>
                      <c:pt idx="230">
                        <c:v>7531.2</c:v>
                      </c:pt>
                      <c:pt idx="231">
                        <c:v>6326.7359999999999</c:v>
                      </c:pt>
                      <c:pt idx="232">
                        <c:v>9667.56</c:v>
                      </c:pt>
                      <c:pt idx="233">
                        <c:v>9667.56</c:v>
                      </c:pt>
                      <c:pt idx="234">
                        <c:v>9667.56</c:v>
                      </c:pt>
                      <c:pt idx="235">
                        <c:v>9690.48</c:v>
                      </c:pt>
                      <c:pt idx="236">
                        <c:v>8077.1760000000004</c:v>
                      </c:pt>
                      <c:pt idx="237">
                        <c:v>8099.3040000000001</c:v>
                      </c:pt>
                      <c:pt idx="238">
                        <c:v>8099.3040000000001</c:v>
                      </c:pt>
                      <c:pt idx="239">
                        <c:v>8665.2720000000008</c:v>
                      </c:pt>
                      <c:pt idx="240">
                        <c:v>9394.8719999999994</c:v>
                      </c:pt>
                      <c:pt idx="241">
                        <c:v>9394.8719999999994</c:v>
                      </c:pt>
                      <c:pt idx="242">
                        <c:v>9394.8719999999994</c:v>
                      </c:pt>
                      <c:pt idx="243">
                        <c:v>9130.92</c:v>
                      </c:pt>
                      <c:pt idx="244">
                        <c:v>8750.0400000000009</c:v>
                      </c:pt>
                      <c:pt idx="245">
                        <c:v>9319.7279999999992</c:v>
                      </c:pt>
                      <c:pt idx="246">
                        <c:v>9119.5920000000006</c:v>
                      </c:pt>
                      <c:pt idx="247">
                        <c:v>9119.5920000000006</c:v>
                      </c:pt>
                      <c:pt idx="248">
                        <c:v>8695.5840000000007</c:v>
                      </c:pt>
                      <c:pt idx="249">
                        <c:v>8695.5840000000007</c:v>
                      </c:pt>
                      <c:pt idx="250">
                        <c:v>8334.5280000000002</c:v>
                      </c:pt>
                      <c:pt idx="251">
                        <c:v>7868.9040000000005</c:v>
                      </c:pt>
                      <c:pt idx="252">
                        <c:v>7870.3919999999998</c:v>
                      </c:pt>
                    </c:numCache>
                  </c:numRef>
                </c:yVal>
                <c:smooth val="1"/>
                <c:extLst xmlns:c15="http://schemas.microsoft.com/office/drawing/2012/chart">
                  <c:ext xmlns:c16="http://schemas.microsoft.com/office/drawing/2014/chart" uri="{C3380CC4-5D6E-409C-BE32-E72D297353CC}">
                    <c16:uniqueId val="{00000012-B1BA-4027-B324-9E28FECAA0B8}"/>
                  </c:ext>
                </c:extLst>
              </c15:ser>
            </c15:filteredScatterSeries>
            <c15:filteredScatterSeries>
              <c15:ser>
                <c:idx val="17"/>
                <c:order val="17"/>
                <c:tx>
                  <c:strRef>
                    <c:extLst xmlns:c15="http://schemas.microsoft.com/office/drawing/2012/chart">
                      <c:ext xmlns:c15="http://schemas.microsoft.com/office/drawing/2012/chart" uri="{02D57815-91ED-43cb-92C2-25804820EDAC}">
                        <c15:formulaRef>
                          <c15:sqref>'Combined rate'!$C$22</c15:sqref>
                        </c15:formulaRef>
                      </c:ext>
                    </c:extLst>
                    <c:strCache>
                      <c:ptCount val="1"/>
                      <c:pt idx="0">
                        <c:v>VICTORIA</c:v>
                      </c:pt>
                    </c:strCache>
                  </c:strRef>
                </c:tx>
                <c:spPr>
                  <a:ln w="19050" cap="rnd">
                    <a:solidFill>
                      <a:schemeClr val="accent6">
                        <a:lumMod val="80000"/>
                        <a:lumOff val="20000"/>
                      </a:schemeClr>
                    </a:solidFill>
                    <a:round/>
                  </a:ln>
                  <a:effectLst/>
                </c:spPr>
                <c:marker>
                  <c:symbol val="circle"/>
                  <c:size val="5"/>
                  <c:spPr>
                    <a:solidFill>
                      <a:schemeClr val="accent6">
                        <a:lumMod val="80000"/>
                        <a:lumOff val="20000"/>
                      </a:schemeClr>
                    </a:solidFill>
                    <a:ln w="9525">
                      <a:solidFill>
                        <a:schemeClr val="accent6">
                          <a:lumMod val="80000"/>
                          <a:lumOff val="20000"/>
                        </a:schemeClr>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22:$IY$22</c15:sqref>
                        </c15:formulaRef>
                      </c:ext>
                    </c:extLst>
                    <c:numCache>
                      <c:formatCode>0</c:formatCode>
                      <c:ptCount val="253"/>
                      <c:pt idx="0">
                        <c:v>471.62400000000002</c:v>
                      </c:pt>
                      <c:pt idx="1">
                        <c:v>611.42399999999998</c:v>
                      </c:pt>
                      <c:pt idx="2">
                        <c:v>611.42399999999998</c:v>
                      </c:pt>
                      <c:pt idx="3">
                        <c:v>589.22400000000005</c:v>
                      </c:pt>
                      <c:pt idx="4">
                        <c:v>590.6880000000001</c:v>
                      </c:pt>
                      <c:pt idx="5">
                        <c:v>591.42000000000007</c:v>
                      </c:pt>
                      <c:pt idx="6">
                        <c:v>591.78600000000006</c:v>
                      </c:pt>
                      <c:pt idx="7">
                        <c:v>592.15200000000004</c:v>
                      </c:pt>
                      <c:pt idx="8">
                        <c:v>517.36800000000005</c:v>
                      </c:pt>
                      <c:pt idx="9">
                        <c:v>511.56</c:v>
                      </c:pt>
                      <c:pt idx="10">
                        <c:v>511.56</c:v>
                      </c:pt>
                      <c:pt idx="11">
                        <c:v>511.56</c:v>
                      </c:pt>
                      <c:pt idx="12">
                        <c:v>511.56</c:v>
                      </c:pt>
                      <c:pt idx="13">
                        <c:v>603.25199999999995</c:v>
                      </c:pt>
                      <c:pt idx="14">
                        <c:v>694.94399999999996</c:v>
                      </c:pt>
                      <c:pt idx="15">
                        <c:v>694.94399999999996</c:v>
                      </c:pt>
                      <c:pt idx="16">
                        <c:v>824.47199999999998</c:v>
                      </c:pt>
                      <c:pt idx="17">
                        <c:v>951.33600000000001</c:v>
                      </c:pt>
                      <c:pt idx="18">
                        <c:v>974.71199999999999</c:v>
                      </c:pt>
                      <c:pt idx="19">
                        <c:v>974.71199999999999</c:v>
                      </c:pt>
                      <c:pt idx="20">
                        <c:v>974.71199999999999</c:v>
                      </c:pt>
                      <c:pt idx="21">
                        <c:v>974.71199999999999</c:v>
                      </c:pt>
                      <c:pt idx="22">
                        <c:v>1141.2240000000002</c:v>
                      </c:pt>
                      <c:pt idx="23">
                        <c:v>1307.7360000000001</c:v>
                      </c:pt>
                      <c:pt idx="24">
                        <c:v>913.08</c:v>
                      </c:pt>
                      <c:pt idx="25">
                        <c:v>1040.52</c:v>
                      </c:pt>
                      <c:pt idx="26">
                        <c:v>1104.24</c:v>
                      </c:pt>
                      <c:pt idx="27">
                        <c:v>1136.0999999999999</c:v>
                      </c:pt>
                      <c:pt idx="28">
                        <c:v>1167.96</c:v>
                      </c:pt>
                      <c:pt idx="29">
                        <c:v>885.38400000000001</c:v>
                      </c:pt>
                      <c:pt idx="30">
                        <c:v>885.38400000000001</c:v>
                      </c:pt>
                      <c:pt idx="31">
                        <c:v>804</c:v>
                      </c:pt>
                      <c:pt idx="32">
                        <c:v>804</c:v>
                      </c:pt>
                      <c:pt idx="33">
                        <c:v>884.41200000000003</c:v>
                      </c:pt>
                      <c:pt idx="34">
                        <c:v>924.61799999999994</c:v>
                      </c:pt>
                      <c:pt idx="35">
                        <c:v>964.82399999999996</c:v>
                      </c:pt>
                      <c:pt idx="36">
                        <c:v>1016.784</c:v>
                      </c:pt>
                      <c:pt idx="37">
                        <c:v>978.69600000000003</c:v>
                      </c:pt>
                      <c:pt idx="38">
                        <c:v>861.86400000000003</c:v>
                      </c:pt>
                      <c:pt idx="39">
                        <c:v>747.43200000000002</c:v>
                      </c:pt>
                      <c:pt idx="40">
                        <c:v>774.072</c:v>
                      </c:pt>
                      <c:pt idx="41">
                        <c:v>918.14400000000001</c:v>
                      </c:pt>
                      <c:pt idx="42">
                        <c:v>826.46400000000006</c:v>
                      </c:pt>
                      <c:pt idx="43">
                        <c:v>826.46400000000006</c:v>
                      </c:pt>
                      <c:pt idx="44">
                        <c:v>826.48800000000006</c:v>
                      </c:pt>
                      <c:pt idx="45">
                        <c:v>826.48800000000006</c:v>
                      </c:pt>
                      <c:pt idx="46">
                        <c:v>963.57600000000002</c:v>
                      </c:pt>
                      <c:pt idx="47">
                        <c:v>963.57600000000002</c:v>
                      </c:pt>
                      <c:pt idx="48">
                        <c:v>963.57600000000002</c:v>
                      </c:pt>
                      <c:pt idx="49">
                        <c:v>963.57600000000002</c:v>
                      </c:pt>
                      <c:pt idx="50">
                        <c:v>946.12800000000004</c:v>
                      </c:pt>
                      <c:pt idx="51">
                        <c:v>946.12800000000004</c:v>
                      </c:pt>
                      <c:pt idx="52">
                        <c:v>946.12800000000004</c:v>
                      </c:pt>
                      <c:pt idx="53">
                        <c:v>1026.1199999999999</c:v>
                      </c:pt>
                      <c:pt idx="54">
                        <c:v>1029.864</c:v>
                      </c:pt>
                      <c:pt idx="55">
                        <c:v>1013.952</c:v>
                      </c:pt>
                      <c:pt idx="56">
                        <c:v>1013.952</c:v>
                      </c:pt>
                      <c:pt idx="57">
                        <c:v>1013.952</c:v>
                      </c:pt>
                      <c:pt idx="58">
                        <c:v>923.928</c:v>
                      </c:pt>
                      <c:pt idx="59">
                        <c:v>1070.1120000000001</c:v>
                      </c:pt>
                      <c:pt idx="60">
                        <c:v>1070.1120000000001</c:v>
                      </c:pt>
                      <c:pt idx="61">
                        <c:v>1162.4880000000001</c:v>
                      </c:pt>
                      <c:pt idx="62">
                        <c:v>1122.816</c:v>
                      </c:pt>
                      <c:pt idx="63">
                        <c:v>1122.816</c:v>
                      </c:pt>
                      <c:pt idx="64">
                        <c:v>1099.7760000000001</c:v>
                      </c:pt>
                      <c:pt idx="65">
                        <c:v>1144.248</c:v>
                      </c:pt>
                      <c:pt idx="66">
                        <c:v>1144.248</c:v>
                      </c:pt>
                      <c:pt idx="67">
                        <c:v>1207.3920000000001</c:v>
                      </c:pt>
                      <c:pt idx="68">
                        <c:v>1207.3920000000001</c:v>
                      </c:pt>
                      <c:pt idx="69">
                        <c:v>1121.52</c:v>
                      </c:pt>
                      <c:pt idx="70">
                        <c:v>1050.9359999999999</c:v>
                      </c:pt>
                      <c:pt idx="71">
                        <c:v>1050.9359999999999</c:v>
                      </c:pt>
                      <c:pt idx="72">
                        <c:v>1050.9359999999999</c:v>
                      </c:pt>
                      <c:pt idx="73">
                        <c:v>1050.9359999999999</c:v>
                      </c:pt>
                      <c:pt idx="74">
                        <c:v>1085.5920000000001</c:v>
                      </c:pt>
                      <c:pt idx="75">
                        <c:v>974.11199999999997</c:v>
                      </c:pt>
                      <c:pt idx="76">
                        <c:v>974.11199999999997</c:v>
                      </c:pt>
                      <c:pt idx="77">
                        <c:v>974.11199999999997</c:v>
                      </c:pt>
                      <c:pt idx="78">
                        <c:v>784.65599999999995</c:v>
                      </c:pt>
                      <c:pt idx="79">
                        <c:v>784.65599999999995</c:v>
                      </c:pt>
                      <c:pt idx="80">
                        <c:v>785.04</c:v>
                      </c:pt>
                      <c:pt idx="81">
                        <c:v>785.04</c:v>
                      </c:pt>
                      <c:pt idx="82">
                        <c:v>785.04</c:v>
                      </c:pt>
                      <c:pt idx="83">
                        <c:v>842.71199999999999</c:v>
                      </c:pt>
                      <c:pt idx="84">
                        <c:v>838.17600000000004</c:v>
                      </c:pt>
                      <c:pt idx="85">
                        <c:v>838.17600000000004</c:v>
                      </c:pt>
                      <c:pt idx="86">
                        <c:v>838.17600000000004</c:v>
                      </c:pt>
                      <c:pt idx="87">
                        <c:v>824.4</c:v>
                      </c:pt>
                      <c:pt idx="88">
                        <c:v>810.38400000000001</c:v>
                      </c:pt>
                      <c:pt idx="89">
                        <c:v>810.38400000000001</c:v>
                      </c:pt>
                      <c:pt idx="90">
                        <c:v>768.62400000000002</c:v>
                      </c:pt>
                      <c:pt idx="91">
                        <c:v>763.89599999999996</c:v>
                      </c:pt>
                      <c:pt idx="92">
                        <c:v>763.89599999999996</c:v>
                      </c:pt>
                      <c:pt idx="93">
                        <c:v>773.68799999999999</c:v>
                      </c:pt>
                      <c:pt idx="94">
                        <c:v>691.60799999999995</c:v>
                      </c:pt>
                      <c:pt idx="95">
                        <c:v>691.60799999999995</c:v>
                      </c:pt>
                      <c:pt idx="96">
                        <c:v>704.28</c:v>
                      </c:pt>
                      <c:pt idx="97">
                        <c:v>704.28</c:v>
                      </c:pt>
                      <c:pt idx="98">
                        <c:v>704.28</c:v>
                      </c:pt>
                      <c:pt idx="99">
                        <c:v>627.86400000000003</c:v>
                      </c:pt>
                      <c:pt idx="100">
                        <c:v>627.86400000000003</c:v>
                      </c:pt>
                      <c:pt idx="101">
                        <c:v>627.86400000000003</c:v>
                      </c:pt>
                      <c:pt idx="102">
                        <c:v>538.17600000000004</c:v>
                      </c:pt>
                      <c:pt idx="103">
                        <c:v>538.17600000000004</c:v>
                      </c:pt>
                      <c:pt idx="104">
                        <c:v>509.976</c:v>
                      </c:pt>
                      <c:pt idx="105">
                        <c:v>509.976</c:v>
                      </c:pt>
                      <c:pt idx="106">
                        <c:v>483.84</c:v>
                      </c:pt>
                      <c:pt idx="107">
                        <c:v>483.84</c:v>
                      </c:pt>
                      <c:pt idx="108">
                        <c:v>483.84</c:v>
                      </c:pt>
                      <c:pt idx="109">
                        <c:v>467.952</c:v>
                      </c:pt>
                      <c:pt idx="110">
                        <c:v>467.952</c:v>
                      </c:pt>
                      <c:pt idx="111">
                        <c:v>449.85599999999999</c:v>
                      </c:pt>
                      <c:pt idx="112">
                        <c:v>449.85599999999999</c:v>
                      </c:pt>
                      <c:pt idx="113">
                        <c:v>449.85599999999999</c:v>
                      </c:pt>
                      <c:pt idx="114">
                        <c:v>449.85599999999999</c:v>
                      </c:pt>
                      <c:pt idx="115">
                        <c:v>431.32799999999997</c:v>
                      </c:pt>
                      <c:pt idx="116">
                        <c:v>464.01600000000002</c:v>
                      </c:pt>
                      <c:pt idx="117">
                        <c:v>464.01600000000002</c:v>
                      </c:pt>
                      <c:pt idx="118">
                        <c:v>464.01600000000002</c:v>
                      </c:pt>
                      <c:pt idx="119">
                        <c:v>449.976</c:v>
                      </c:pt>
                      <c:pt idx="120">
                        <c:v>449.976</c:v>
                      </c:pt>
                      <c:pt idx="121">
                        <c:v>398.80799999999999</c:v>
                      </c:pt>
                      <c:pt idx="122">
                        <c:v>398.80799999999999</c:v>
                      </c:pt>
                      <c:pt idx="123">
                        <c:v>398.80799999999999</c:v>
                      </c:pt>
                      <c:pt idx="124">
                        <c:v>371.71199999999999</c:v>
                      </c:pt>
                      <c:pt idx="125">
                        <c:v>357.52800000000002</c:v>
                      </c:pt>
                      <c:pt idx="126">
                        <c:v>357.52800000000002</c:v>
                      </c:pt>
                      <c:pt idx="127">
                        <c:v>422.54399999999998</c:v>
                      </c:pt>
                      <c:pt idx="128">
                        <c:v>422.54399999999998</c:v>
                      </c:pt>
                      <c:pt idx="129">
                        <c:v>422.54399999999998</c:v>
                      </c:pt>
                      <c:pt idx="130">
                        <c:v>419.16</c:v>
                      </c:pt>
                      <c:pt idx="131">
                        <c:v>396.024</c:v>
                      </c:pt>
                      <c:pt idx="132">
                        <c:v>396.024</c:v>
                      </c:pt>
                      <c:pt idx="133">
                        <c:v>396.024</c:v>
                      </c:pt>
                      <c:pt idx="134">
                        <c:v>396.024</c:v>
                      </c:pt>
                      <c:pt idx="135">
                        <c:v>396.024</c:v>
                      </c:pt>
                      <c:pt idx="136">
                        <c:v>505.416</c:v>
                      </c:pt>
                      <c:pt idx="137">
                        <c:v>505.416</c:v>
                      </c:pt>
                      <c:pt idx="138">
                        <c:v>505.416</c:v>
                      </c:pt>
                      <c:pt idx="139">
                        <c:v>505.416</c:v>
                      </c:pt>
                      <c:pt idx="140">
                        <c:v>505.416</c:v>
                      </c:pt>
                      <c:pt idx="141">
                        <c:v>505.416</c:v>
                      </c:pt>
                      <c:pt idx="142">
                        <c:v>486.19200000000001</c:v>
                      </c:pt>
                      <c:pt idx="143">
                        <c:v>486.19200000000001</c:v>
                      </c:pt>
                      <c:pt idx="144">
                        <c:v>413.23200000000003</c:v>
                      </c:pt>
                      <c:pt idx="145">
                        <c:v>413.23200000000003</c:v>
                      </c:pt>
                      <c:pt idx="146">
                        <c:v>413.23200000000003</c:v>
                      </c:pt>
                      <c:pt idx="147">
                        <c:v>376.24799999999999</c:v>
                      </c:pt>
                      <c:pt idx="148">
                        <c:v>376.24799999999999</c:v>
                      </c:pt>
                      <c:pt idx="149">
                        <c:v>376.24799999999999</c:v>
                      </c:pt>
                      <c:pt idx="150">
                        <c:v>363.072</c:v>
                      </c:pt>
                      <c:pt idx="151">
                        <c:v>363.072</c:v>
                      </c:pt>
                      <c:pt idx="152">
                        <c:v>363.072</c:v>
                      </c:pt>
                      <c:pt idx="153">
                        <c:v>363.072</c:v>
                      </c:pt>
                      <c:pt idx="154">
                        <c:v>355.99200000000002</c:v>
                      </c:pt>
                      <c:pt idx="155">
                        <c:v>355.99200000000002</c:v>
                      </c:pt>
                      <c:pt idx="156">
                        <c:v>383.59199999999998</c:v>
                      </c:pt>
                      <c:pt idx="157">
                        <c:v>383.59199999999998</c:v>
                      </c:pt>
                      <c:pt idx="158">
                        <c:v>383.59199999999998</c:v>
                      </c:pt>
                      <c:pt idx="159">
                        <c:v>343.94400000000002</c:v>
                      </c:pt>
                      <c:pt idx="160">
                        <c:v>343.94400000000002</c:v>
                      </c:pt>
                      <c:pt idx="161">
                        <c:v>343.94400000000002</c:v>
                      </c:pt>
                      <c:pt idx="162">
                        <c:v>347.20800000000003</c:v>
                      </c:pt>
                      <c:pt idx="163">
                        <c:v>347.20800000000003</c:v>
                      </c:pt>
                      <c:pt idx="164">
                        <c:v>358.608</c:v>
                      </c:pt>
                      <c:pt idx="165">
                        <c:v>356.66399999999999</c:v>
                      </c:pt>
                      <c:pt idx="166">
                        <c:v>382.92</c:v>
                      </c:pt>
                      <c:pt idx="167">
                        <c:v>382.92</c:v>
                      </c:pt>
                      <c:pt idx="168">
                        <c:v>391.94400000000002</c:v>
                      </c:pt>
                      <c:pt idx="169">
                        <c:v>387.12</c:v>
                      </c:pt>
                      <c:pt idx="170">
                        <c:v>408.67200000000003</c:v>
                      </c:pt>
                      <c:pt idx="171">
                        <c:v>408.67200000000003</c:v>
                      </c:pt>
                      <c:pt idx="172">
                        <c:v>395.71199999999999</c:v>
                      </c:pt>
                      <c:pt idx="173">
                        <c:v>395.71199999999999</c:v>
                      </c:pt>
                      <c:pt idx="174">
                        <c:v>395.71199999999999</c:v>
                      </c:pt>
                      <c:pt idx="175">
                        <c:v>395.71199999999999</c:v>
                      </c:pt>
                      <c:pt idx="176">
                        <c:v>382.70400000000001</c:v>
                      </c:pt>
                      <c:pt idx="177">
                        <c:v>382.70400000000001</c:v>
                      </c:pt>
                      <c:pt idx="178">
                        <c:v>382.70400000000001</c:v>
                      </c:pt>
                      <c:pt idx="179">
                        <c:v>401.08800000000002</c:v>
                      </c:pt>
                      <c:pt idx="180">
                        <c:v>401.08800000000002</c:v>
                      </c:pt>
                      <c:pt idx="181">
                        <c:v>439.12799999999999</c:v>
                      </c:pt>
                      <c:pt idx="182">
                        <c:v>439.12799999999999</c:v>
                      </c:pt>
                      <c:pt idx="183">
                        <c:v>439.12799999999999</c:v>
                      </c:pt>
                      <c:pt idx="184">
                        <c:v>521.06399999999996</c:v>
                      </c:pt>
                      <c:pt idx="185">
                        <c:v>521.06399999999996</c:v>
                      </c:pt>
                      <c:pt idx="186">
                        <c:v>527.04</c:v>
                      </c:pt>
                      <c:pt idx="187">
                        <c:v>507.74400000000003</c:v>
                      </c:pt>
                      <c:pt idx="188">
                        <c:v>507.74400000000003</c:v>
                      </c:pt>
                      <c:pt idx="189">
                        <c:v>507.74400000000003</c:v>
                      </c:pt>
                      <c:pt idx="190">
                        <c:v>507.74400000000003</c:v>
                      </c:pt>
                      <c:pt idx="191">
                        <c:v>478.84800000000001</c:v>
                      </c:pt>
                      <c:pt idx="192">
                        <c:v>620.06399999999996</c:v>
                      </c:pt>
                      <c:pt idx="193">
                        <c:v>620.06399999999996</c:v>
                      </c:pt>
                      <c:pt idx="194">
                        <c:v>692.71199999999999</c:v>
                      </c:pt>
                      <c:pt idx="195">
                        <c:v>589.51199999999994</c:v>
                      </c:pt>
                      <c:pt idx="196">
                        <c:v>624.57600000000002</c:v>
                      </c:pt>
                      <c:pt idx="197">
                        <c:v>832</c:v>
                      </c:pt>
                      <c:pt idx="198">
                        <c:v>794.68799999999999</c:v>
                      </c:pt>
                      <c:pt idx="199">
                        <c:v>809.47199999999998</c:v>
                      </c:pt>
                      <c:pt idx="200">
                        <c:v>858.14400000000001</c:v>
                      </c:pt>
                      <c:pt idx="201">
                        <c:v>840.86400000000003</c:v>
                      </c:pt>
                      <c:pt idx="202">
                        <c:v>840.86400000000003</c:v>
                      </c:pt>
                      <c:pt idx="203">
                        <c:v>939.33600000000001</c:v>
                      </c:pt>
                      <c:pt idx="204">
                        <c:v>898.60799999999995</c:v>
                      </c:pt>
                      <c:pt idx="205">
                        <c:v>954.50400000000002</c:v>
                      </c:pt>
                      <c:pt idx="206">
                        <c:v>1046.376</c:v>
                      </c:pt>
                      <c:pt idx="207">
                        <c:v>1112.3520000000001</c:v>
                      </c:pt>
                      <c:pt idx="208">
                        <c:v>1166.5440000000001</c:v>
                      </c:pt>
                      <c:pt idx="209">
                        <c:v>1263.624</c:v>
                      </c:pt>
                      <c:pt idx="210">
                        <c:v>1312.3520000000001</c:v>
                      </c:pt>
                      <c:pt idx="211">
                        <c:v>1486.8720000000001</c:v>
                      </c:pt>
                      <c:pt idx="212">
                        <c:v>1486.9</c:v>
                      </c:pt>
                      <c:pt idx="213">
                        <c:v>1520.7360000000001</c:v>
                      </c:pt>
                      <c:pt idx="214">
                        <c:v>1520.7360000000001</c:v>
                      </c:pt>
                      <c:pt idx="215">
                        <c:v>1541.9280000000001</c:v>
                      </c:pt>
                      <c:pt idx="216">
                        <c:v>1823.4480000000001</c:v>
                      </c:pt>
                      <c:pt idx="217">
                        <c:v>1823.4480000000001</c:v>
                      </c:pt>
                      <c:pt idx="218">
                        <c:v>1823.4480000000001</c:v>
                      </c:pt>
                      <c:pt idx="219">
                        <c:v>2090</c:v>
                      </c:pt>
                      <c:pt idx="220">
                        <c:v>1953</c:v>
                      </c:pt>
                      <c:pt idx="221">
                        <c:v>2098.0079999999998</c:v>
                      </c:pt>
                      <c:pt idx="222">
                        <c:v>2035.4880000000001</c:v>
                      </c:pt>
                      <c:pt idx="223">
                        <c:v>2035.4880000000001</c:v>
                      </c:pt>
                      <c:pt idx="224">
                        <c:v>1906</c:v>
                      </c:pt>
                      <c:pt idx="225">
                        <c:v>1598.904</c:v>
                      </c:pt>
                      <c:pt idx="226">
                        <c:v>1598.904</c:v>
                      </c:pt>
                      <c:pt idx="227">
                        <c:v>1842.096</c:v>
                      </c:pt>
                      <c:pt idx="228">
                        <c:v>1730.4480000000001</c:v>
                      </c:pt>
                      <c:pt idx="229">
                        <c:v>1730.4480000000001</c:v>
                      </c:pt>
                      <c:pt idx="230">
                        <c:v>1661.4960000000001</c:v>
                      </c:pt>
                      <c:pt idx="231">
                        <c:v>1661.4960000000001</c:v>
                      </c:pt>
                      <c:pt idx="232">
                        <c:v>1691.5440000000001</c:v>
                      </c:pt>
                      <c:pt idx="233">
                        <c:v>1691.5440000000001</c:v>
                      </c:pt>
                      <c:pt idx="234">
                        <c:v>1497.144</c:v>
                      </c:pt>
                      <c:pt idx="235">
                        <c:v>1497.144</c:v>
                      </c:pt>
                      <c:pt idx="236">
                        <c:v>1632.72</c:v>
                      </c:pt>
                      <c:pt idx="237">
                        <c:v>1589.1120000000001</c:v>
                      </c:pt>
                      <c:pt idx="238">
                        <c:v>1589.1120000000001</c:v>
                      </c:pt>
                      <c:pt idx="239">
                        <c:v>1393.3920000000001</c:v>
                      </c:pt>
                      <c:pt idx="240">
                        <c:v>1530.5039999999999</c:v>
                      </c:pt>
                      <c:pt idx="241">
                        <c:v>1530.5039999999999</c:v>
                      </c:pt>
                      <c:pt idx="242">
                        <c:v>1530.5039999999999</c:v>
                      </c:pt>
                      <c:pt idx="243">
                        <c:v>1519.992</c:v>
                      </c:pt>
                      <c:pt idx="244">
                        <c:v>1504.896</c:v>
                      </c:pt>
                      <c:pt idx="245">
                        <c:v>1472.16</c:v>
                      </c:pt>
                      <c:pt idx="246">
                        <c:v>1398.0239999999999</c:v>
                      </c:pt>
                      <c:pt idx="247">
                        <c:v>1341.144</c:v>
                      </c:pt>
                      <c:pt idx="248">
                        <c:v>1236.5519999999999</c:v>
                      </c:pt>
                      <c:pt idx="249">
                        <c:v>1236.5519999999999</c:v>
                      </c:pt>
                      <c:pt idx="250">
                        <c:v>1243.056</c:v>
                      </c:pt>
                      <c:pt idx="251">
                        <c:v>1174.248</c:v>
                      </c:pt>
                      <c:pt idx="252">
                        <c:v>1144.2239999999999</c:v>
                      </c:pt>
                    </c:numCache>
                  </c:numRef>
                </c:yVal>
                <c:smooth val="1"/>
                <c:extLst xmlns:c15="http://schemas.microsoft.com/office/drawing/2012/chart">
                  <c:ext xmlns:c16="http://schemas.microsoft.com/office/drawing/2014/chart" uri="{C3380CC4-5D6E-409C-BE32-E72D297353CC}">
                    <c16:uniqueId val="{00000013-B1BA-4027-B324-9E28FECAA0B8}"/>
                  </c:ext>
                </c:extLst>
              </c15:ser>
            </c15:filteredScatterSeries>
            <c15:filteredScatterSeries>
              <c15:ser>
                <c:idx val="18"/>
                <c:order val="18"/>
                <c:tx>
                  <c:strRef>
                    <c:extLst xmlns:c15="http://schemas.microsoft.com/office/drawing/2012/chart">
                      <c:ext xmlns:c15="http://schemas.microsoft.com/office/drawing/2012/chart" uri="{02D57815-91ED-43cb-92C2-25804820EDAC}">
                        <c15:formulaRef>
                          <c15:sqref>'Combined rate'!$C$23</c15:sqref>
                        </c15:formulaRef>
                      </c:ext>
                    </c:extLst>
                    <c:strCache>
                      <c:ptCount val="1"/>
                      <c:pt idx="0">
                        <c:v>VREDENBURG  </c:v>
                      </c:pt>
                    </c:strCache>
                  </c:strRef>
                </c:tx>
                <c:spPr>
                  <a:ln w="19050" cap="rnd">
                    <a:solidFill>
                      <a:schemeClr val="accent1">
                        <a:lumMod val="80000"/>
                      </a:schemeClr>
                    </a:solidFill>
                    <a:round/>
                  </a:ln>
                  <a:effectLst/>
                </c:spPr>
                <c:marker>
                  <c:symbol val="circle"/>
                  <c:size val="5"/>
                  <c:spPr>
                    <a:solidFill>
                      <a:schemeClr val="accent1">
                        <a:lumMod val="80000"/>
                      </a:schemeClr>
                    </a:solidFill>
                    <a:ln w="9525">
                      <a:solidFill>
                        <a:schemeClr val="accent1">
                          <a:lumMod val="80000"/>
                        </a:schemeClr>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23:$IY$23</c15:sqref>
                        </c15:formulaRef>
                      </c:ext>
                    </c:extLst>
                    <c:numCache>
                      <c:formatCode>0</c:formatCode>
                      <c:ptCount val="253"/>
                      <c:pt idx="0">
                        <c:v>142.00800000000001</c:v>
                      </c:pt>
                      <c:pt idx="1">
                        <c:v>142.00800000000001</c:v>
                      </c:pt>
                      <c:pt idx="2">
                        <c:v>142.00800000000001</c:v>
                      </c:pt>
                      <c:pt idx="3">
                        <c:v>142.00800000000001</c:v>
                      </c:pt>
                      <c:pt idx="4">
                        <c:v>142.00800000000001</c:v>
                      </c:pt>
                      <c:pt idx="5">
                        <c:v>142.00800000000001</c:v>
                      </c:pt>
                      <c:pt idx="6">
                        <c:v>142.00800000000001</c:v>
                      </c:pt>
                      <c:pt idx="7">
                        <c:v>142.00800000000001</c:v>
                      </c:pt>
                      <c:pt idx="8">
                        <c:v>142.96799999999999</c:v>
                      </c:pt>
                      <c:pt idx="9">
                        <c:v>142.96799999999999</c:v>
                      </c:pt>
                      <c:pt idx="10">
                        <c:v>142.96799999999999</c:v>
                      </c:pt>
                      <c:pt idx="11">
                        <c:v>144.19200000000001</c:v>
                      </c:pt>
                      <c:pt idx="12">
                        <c:v>144.19200000000001</c:v>
                      </c:pt>
                      <c:pt idx="13">
                        <c:v>186.15600000000001</c:v>
                      </c:pt>
                      <c:pt idx="14">
                        <c:v>228.12</c:v>
                      </c:pt>
                      <c:pt idx="15">
                        <c:v>228.12</c:v>
                      </c:pt>
                      <c:pt idx="16">
                        <c:v>228.12</c:v>
                      </c:pt>
                      <c:pt idx="17">
                        <c:v>228.12</c:v>
                      </c:pt>
                      <c:pt idx="18">
                        <c:v>228.12</c:v>
                      </c:pt>
                      <c:pt idx="19">
                        <c:v>228.12</c:v>
                      </c:pt>
                      <c:pt idx="20">
                        <c:v>228.12</c:v>
                      </c:pt>
                      <c:pt idx="21">
                        <c:v>228.12</c:v>
                      </c:pt>
                      <c:pt idx="22">
                        <c:v>228.12</c:v>
                      </c:pt>
                      <c:pt idx="23">
                        <c:v>228.12</c:v>
                      </c:pt>
                      <c:pt idx="24">
                        <c:v>250.22399999999999</c:v>
                      </c:pt>
                      <c:pt idx="25">
                        <c:v>250.22399999999999</c:v>
                      </c:pt>
                      <c:pt idx="26">
                        <c:v>250.22399999999999</c:v>
                      </c:pt>
                      <c:pt idx="27">
                        <c:v>250.22399999999999</c:v>
                      </c:pt>
                      <c:pt idx="28">
                        <c:v>250.22399999999999</c:v>
                      </c:pt>
                      <c:pt idx="29">
                        <c:v>250.22399999999999</c:v>
                      </c:pt>
                      <c:pt idx="30">
                        <c:v>250.22399999999999</c:v>
                      </c:pt>
                      <c:pt idx="31">
                        <c:v>250.22399999999999</c:v>
                      </c:pt>
                      <c:pt idx="32">
                        <c:v>250.22399999999999</c:v>
                      </c:pt>
                      <c:pt idx="33">
                        <c:v>281.67599999999999</c:v>
                      </c:pt>
                      <c:pt idx="34">
                        <c:v>297.40199999999999</c:v>
                      </c:pt>
                      <c:pt idx="35">
                        <c:v>313.12799999999999</c:v>
                      </c:pt>
                      <c:pt idx="36">
                        <c:v>313.12799999999999</c:v>
                      </c:pt>
                      <c:pt idx="37">
                        <c:v>313.12799999999999</c:v>
                      </c:pt>
                      <c:pt idx="38">
                        <c:v>313.12799999999999</c:v>
                      </c:pt>
                      <c:pt idx="39">
                        <c:v>313.12799999999999</c:v>
                      </c:pt>
                      <c:pt idx="40">
                        <c:v>313.12799999999999</c:v>
                      </c:pt>
                      <c:pt idx="41">
                        <c:v>313.12799999999999</c:v>
                      </c:pt>
                      <c:pt idx="42">
                        <c:v>313.12799999999999</c:v>
                      </c:pt>
                      <c:pt idx="43">
                        <c:v>313.12799999999999</c:v>
                      </c:pt>
                      <c:pt idx="44">
                        <c:v>313.12799999999999</c:v>
                      </c:pt>
                      <c:pt idx="45">
                        <c:v>313.12799999999999</c:v>
                      </c:pt>
                      <c:pt idx="46">
                        <c:v>244.94399999999999</c:v>
                      </c:pt>
                      <c:pt idx="47">
                        <c:v>240.52799999999999</c:v>
                      </c:pt>
                      <c:pt idx="48">
                        <c:v>240.52799999999999</c:v>
                      </c:pt>
                      <c:pt idx="49">
                        <c:v>240.52799999999999</c:v>
                      </c:pt>
                      <c:pt idx="50">
                        <c:v>240.52799999999999</c:v>
                      </c:pt>
                      <c:pt idx="51">
                        <c:v>240.52799999999999</c:v>
                      </c:pt>
                      <c:pt idx="52">
                        <c:v>240.52799999999999</c:v>
                      </c:pt>
                      <c:pt idx="53">
                        <c:v>352.65600000000001</c:v>
                      </c:pt>
                      <c:pt idx="54">
                        <c:v>352.65600000000001</c:v>
                      </c:pt>
                      <c:pt idx="55">
                        <c:v>352.65600000000001</c:v>
                      </c:pt>
                      <c:pt idx="56">
                        <c:v>352.65600000000001</c:v>
                      </c:pt>
                      <c:pt idx="57">
                        <c:v>352.65600000000001</c:v>
                      </c:pt>
                      <c:pt idx="58">
                        <c:v>352.65600000000001</c:v>
                      </c:pt>
                      <c:pt idx="59">
                        <c:v>352.65600000000001</c:v>
                      </c:pt>
                      <c:pt idx="60">
                        <c:v>352.65600000000001</c:v>
                      </c:pt>
                      <c:pt idx="61">
                        <c:v>399.57600000000002</c:v>
                      </c:pt>
                      <c:pt idx="62">
                        <c:v>399.57600000000002</c:v>
                      </c:pt>
                      <c:pt idx="63">
                        <c:v>399.57600000000002</c:v>
                      </c:pt>
                      <c:pt idx="64">
                        <c:v>399.57600000000002</c:v>
                      </c:pt>
                      <c:pt idx="65">
                        <c:v>399.57600000000002</c:v>
                      </c:pt>
                      <c:pt idx="66">
                        <c:v>399.57600000000002</c:v>
                      </c:pt>
                      <c:pt idx="67">
                        <c:v>399.57600000000002</c:v>
                      </c:pt>
                      <c:pt idx="68">
                        <c:v>385.10399999999998</c:v>
                      </c:pt>
                      <c:pt idx="69">
                        <c:v>371.56799999999998</c:v>
                      </c:pt>
                      <c:pt idx="70">
                        <c:v>371.56799999999998</c:v>
                      </c:pt>
                      <c:pt idx="71">
                        <c:v>371.56799999999998</c:v>
                      </c:pt>
                      <c:pt idx="72">
                        <c:v>371.56799999999998</c:v>
                      </c:pt>
                      <c:pt idx="73">
                        <c:v>371.56799999999998</c:v>
                      </c:pt>
                      <c:pt idx="74">
                        <c:v>371.56799999999998</c:v>
                      </c:pt>
                      <c:pt idx="75">
                        <c:v>371.56799999999998</c:v>
                      </c:pt>
                      <c:pt idx="76">
                        <c:v>371.56799999999998</c:v>
                      </c:pt>
                      <c:pt idx="77">
                        <c:v>371.56799999999998</c:v>
                      </c:pt>
                      <c:pt idx="78">
                        <c:v>344.4</c:v>
                      </c:pt>
                      <c:pt idx="79">
                        <c:v>344.4</c:v>
                      </c:pt>
                      <c:pt idx="80">
                        <c:v>344.4</c:v>
                      </c:pt>
                      <c:pt idx="81">
                        <c:v>344.4</c:v>
                      </c:pt>
                      <c:pt idx="82">
                        <c:v>344.4</c:v>
                      </c:pt>
                      <c:pt idx="83">
                        <c:v>344.4</c:v>
                      </c:pt>
                      <c:pt idx="84">
                        <c:v>344.42399999999998</c:v>
                      </c:pt>
                      <c:pt idx="85">
                        <c:v>344.42399999999998</c:v>
                      </c:pt>
                      <c:pt idx="86">
                        <c:v>344.42399999999998</c:v>
                      </c:pt>
                      <c:pt idx="87">
                        <c:v>286.8</c:v>
                      </c:pt>
                      <c:pt idx="88">
                        <c:v>286.8</c:v>
                      </c:pt>
                      <c:pt idx="89">
                        <c:v>286.8</c:v>
                      </c:pt>
                      <c:pt idx="90">
                        <c:v>286.8</c:v>
                      </c:pt>
                      <c:pt idx="91">
                        <c:v>286.8</c:v>
                      </c:pt>
                      <c:pt idx="92">
                        <c:v>230.352</c:v>
                      </c:pt>
                      <c:pt idx="93">
                        <c:v>230.352</c:v>
                      </c:pt>
                      <c:pt idx="94">
                        <c:v>230.352</c:v>
                      </c:pt>
                      <c:pt idx="95">
                        <c:v>230.352</c:v>
                      </c:pt>
                      <c:pt idx="96">
                        <c:v>282.62400000000002</c:v>
                      </c:pt>
                      <c:pt idx="97">
                        <c:v>282.62400000000002</c:v>
                      </c:pt>
                      <c:pt idx="98">
                        <c:v>282.62400000000002</c:v>
                      </c:pt>
                      <c:pt idx="99">
                        <c:v>282.62400000000002</c:v>
                      </c:pt>
                      <c:pt idx="100">
                        <c:v>282.62400000000002</c:v>
                      </c:pt>
                      <c:pt idx="101">
                        <c:v>278.27999999999997</c:v>
                      </c:pt>
                      <c:pt idx="102">
                        <c:v>278.27999999999997</c:v>
                      </c:pt>
                      <c:pt idx="103">
                        <c:v>278.27999999999997</c:v>
                      </c:pt>
                      <c:pt idx="104">
                        <c:v>278.27999999999997</c:v>
                      </c:pt>
                      <c:pt idx="105">
                        <c:v>278.27999999999997</c:v>
                      </c:pt>
                      <c:pt idx="106">
                        <c:v>288</c:v>
                      </c:pt>
                      <c:pt idx="107">
                        <c:v>288</c:v>
                      </c:pt>
                      <c:pt idx="108">
                        <c:v>288</c:v>
                      </c:pt>
                      <c:pt idx="109">
                        <c:v>288</c:v>
                      </c:pt>
                      <c:pt idx="110">
                        <c:v>288</c:v>
                      </c:pt>
                      <c:pt idx="111">
                        <c:v>288</c:v>
                      </c:pt>
                      <c:pt idx="112">
                        <c:v>288</c:v>
                      </c:pt>
                      <c:pt idx="113">
                        <c:v>288</c:v>
                      </c:pt>
                      <c:pt idx="114">
                        <c:v>277.15199999999999</c:v>
                      </c:pt>
                      <c:pt idx="115">
                        <c:v>270.72000000000003</c:v>
                      </c:pt>
                      <c:pt idx="116">
                        <c:v>270.72000000000003</c:v>
                      </c:pt>
                      <c:pt idx="117">
                        <c:v>270.72000000000003</c:v>
                      </c:pt>
                      <c:pt idx="118">
                        <c:v>270.72000000000003</c:v>
                      </c:pt>
                      <c:pt idx="119">
                        <c:v>270.72000000000003</c:v>
                      </c:pt>
                      <c:pt idx="120">
                        <c:v>270.72000000000003</c:v>
                      </c:pt>
                      <c:pt idx="121">
                        <c:v>270.72000000000003</c:v>
                      </c:pt>
                      <c:pt idx="122">
                        <c:v>267.33600000000001</c:v>
                      </c:pt>
                      <c:pt idx="123">
                        <c:v>267.33600000000001</c:v>
                      </c:pt>
                      <c:pt idx="124">
                        <c:v>267.33600000000001</c:v>
                      </c:pt>
                      <c:pt idx="125">
                        <c:v>267.33600000000001</c:v>
                      </c:pt>
                      <c:pt idx="126">
                        <c:v>267.33600000000001</c:v>
                      </c:pt>
                      <c:pt idx="127">
                        <c:v>267.33600000000001</c:v>
                      </c:pt>
                      <c:pt idx="128">
                        <c:v>267.33600000000001</c:v>
                      </c:pt>
                      <c:pt idx="129">
                        <c:v>252.864</c:v>
                      </c:pt>
                      <c:pt idx="130">
                        <c:v>252.864</c:v>
                      </c:pt>
                      <c:pt idx="131">
                        <c:v>252.864</c:v>
                      </c:pt>
                      <c:pt idx="132">
                        <c:v>252.864</c:v>
                      </c:pt>
                      <c:pt idx="133">
                        <c:v>228.024</c:v>
                      </c:pt>
                      <c:pt idx="134">
                        <c:v>228.024</c:v>
                      </c:pt>
                      <c:pt idx="135">
                        <c:v>211.68</c:v>
                      </c:pt>
                      <c:pt idx="136">
                        <c:v>211.68</c:v>
                      </c:pt>
                      <c:pt idx="137">
                        <c:v>211.68</c:v>
                      </c:pt>
                      <c:pt idx="138">
                        <c:v>211.68</c:v>
                      </c:pt>
                      <c:pt idx="139">
                        <c:v>211.68</c:v>
                      </c:pt>
                      <c:pt idx="140">
                        <c:v>211.68</c:v>
                      </c:pt>
                      <c:pt idx="141">
                        <c:v>211.68</c:v>
                      </c:pt>
                      <c:pt idx="142">
                        <c:v>211.68</c:v>
                      </c:pt>
                      <c:pt idx="143">
                        <c:v>211.68</c:v>
                      </c:pt>
                      <c:pt idx="144">
                        <c:v>211.68</c:v>
                      </c:pt>
                      <c:pt idx="145">
                        <c:v>187.44</c:v>
                      </c:pt>
                      <c:pt idx="146">
                        <c:v>171.864</c:v>
                      </c:pt>
                      <c:pt idx="147">
                        <c:v>171.864</c:v>
                      </c:pt>
                      <c:pt idx="148">
                        <c:v>171.864</c:v>
                      </c:pt>
                      <c:pt idx="149">
                        <c:v>171.864</c:v>
                      </c:pt>
                      <c:pt idx="150">
                        <c:v>171.864</c:v>
                      </c:pt>
                      <c:pt idx="151">
                        <c:v>171.864</c:v>
                      </c:pt>
                      <c:pt idx="152">
                        <c:v>171.864</c:v>
                      </c:pt>
                      <c:pt idx="153">
                        <c:v>171.864</c:v>
                      </c:pt>
                      <c:pt idx="154">
                        <c:v>160.82400000000001</c:v>
                      </c:pt>
                      <c:pt idx="155">
                        <c:v>160.82400000000001</c:v>
                      </c:pt>
                      <c:pt idx="156">
                        <c:v>160.82400000000001</c:v>
                      </c:pt>
                      <c:pt idx="157">
                        <c:v>160.82400000000001</c:v>
                      </c:pt>
                      <c:pt idx="158">
                        <c:v>160.82400000000001</c:v>
                      </c:pt>
                      <c:pt idx="159">
                        <c:v>158.83199999999999</c:v>
                      </c:pt>
                      <c:pt idx="160">
                        <c:v>158.83199999999999</c:v>
                      </c:pt>
                      <c:pt idx="161">
                        <c:v>158.83199999999999</c:v>
                      </c:pt>
                      <c:pt idx="162">
                        <c:v>158.83199999999999</c:v>
                      </c:pt>
                      <c:pt idx="163">
                        <c:v>158.83199999999999</c:v>
                      </c:pt>
                      <c:pt idx="164">
                        <c:v>158.83199999999999</c:v>
                      </c:pt>
                      <c:pt idx="165">
                        <c:v>158.83199999999999</c:v>
                      </c:pt>
                      <c:pt idx="166">
                        <c:v>158.83199999999999</c:v>
                      </c:pt>
                      <c:pt idx="167">
                        <c:v>158.83199999999999</c:v>
                      </c:pt>
                      <c:pt idx="168">
                        <c:v>158.83199999999999</c:v>
                      </c:pt>
                      <c:pt idx="169">
                        <c:v>158.83199999999999</c:v>
                      </c:pt>
                      <c:pt idx="170">
                        <c:v>158.83199999999999</c:v>
                      </c:pt>
                      <c:pt idx="171">
                        <c:v>158.83199999999999</c:v>
                      </c:pt>
                      <c:pt idx="172">
                        <c:v>158.83199999999999</c:v>
                      </c:pt>
                      <c:pt idx="173">
                        <c:v>158.83199999999999</c:v>
                      </c:pt>
                      <c:pt idx="174">
                        <c:v>148.19999999999999</c:v>
                      </c:pt>
                      <c:pt idx="175">
                        <c:v>148.19999999999999</c:v>
                      </c:pt>
                      <c:pt idx="176">
                        <c:v>148.19999999999999</c:v>
                      </c:pt>
                      <c:pt idx="177">
                        <c:v>148.19999999999999</c:v>
                      </c:pt>
                      <c:pt idx="178">
                        <c:v>148.19999999999999</c:v>
                      </c:pt>
                      <c:pt idx="179">
                        <c:v>148.19999999999999</c:v>
                      </c:pt>
                      <c:pt idx="180">
                        <c:v>148.19999999999999</c:v>
                      </c:pt>
                      <c:pt idx="181">
                        <c:v>148.19999999999999</c:v>
                      </c:pt>
                      <c:pt idx="182">
                        <c:v>148.19999999999999</c:v>
                      </c:pt>
                      <c:pt idx="183">
                        <c:v>154.22399999999999</c:v>
                      </c:pt>
                      <c:pt idx="184">
                        <c:v>154.22399999999999</c:v>
                      </c:pt>
                      <c:pt idx="185">
                        <c:v>146.80799999999999</c:v>
                      </c:pt>
                      <c:pt idx="186">
                        <c:v>146.80799999999999</c:v>
                      </c:pt>
                      <c:pt idx="187">
                        <c:v>146.80799999999999</c:v>
                      </c:pt>
                      <c:pt idx="188">
                        <c:v>146.80799999999999</c:v>
                      </c:pt>
                      <c:pt idx="189">
                        <c:v>146.71199999999999</c:v>
                      </c:pt>
                      <c:pt idx="190">
                        <c:v>146.71199999999999</c:v>
                      </c:pt>
                      <c:pt idx="191">
                        <c:v>146.71199999999999</c:v>
                      </c:pt>
                      <c:pt idx="192">
                        <c:v>146.71199999999999</c:v>
                      </c:pt>
                      <c:pt idx="193">
                        <c:v>146.71199999999999</c:v>
                      </c:pt>
                      <c:pt idx="194">
                        <c:v>146.71199999999999</c:v>
                      </c:pt>
                      <c:pt idx="195">
                        <c:v>146.71199999999999</c:v>
                      </c:pt>
                      <c:pt idx="196">
                        <c:v>146.71199999999999</c:v>
                      </c:pt>
                      <c:pt idx="197">
                        <c:v>146.71199999999999</c:v>
                      </c:pt>
                      <c:pt idx="198">
                        <c:v>146.66399999999999</c:v>
                      </c:pt>
                      <c:pt idx="199">
                        <c:v>156.792</c:v>
                      </c:pt>
                      <c:pt idx="200">
                        <c:v>156.792</c:v>
                      </c:pt>
                      <c:pt idx="201">
                        <c:v>156.792</c:v>
                      </c:pt>
                      <c:pt idx="202">
                        <c:v>156.792</c:v>
                      </c:pt>
                      <c:pt idx="203">
                        <c:v>270</c:v>
                      </c:pt>
                      <c:pt idx="204">
                        <c:v>275</c:v>
                      </c:pt>
                      <c:pt idx="205">
                        <c:v>325</c:v>
                      </c:pt>
                      <c:pt idx="206">
                        <c:v>379</c:v>
                      </c:pt>
                      <c:pt idx="207">
                        <c:v>400</c:v>
                      </c:pt>
                      <c:pt idx="208">
                        <c:v>448</c:v>
                      </c:pt>
                      <c:pt idx="209">
                        <c:v>460</c:v>
                      </c:pt>
                      <c:pt idx="210">
                        <c:v>470</c:v>
                      </c:pt>
                      <c:pt idx="211">
                        <c:v>490</c:v>
                      </c:pt>
                      <c:pt idx="212">
                        <c:v>575</c:v>
                      </c:pt>
                      <c:pt idx="213">
                        <c:v>689</c:v>
                      </c:pt>
                      <c:pt idx="214">
                        <c:v>639</c:v>
                      </c:pt>
                      <c:pt idx="215">
                        <c:v>927</c:v>
                      </c:pt>
                      <c:pt idx="216">
                        <c:v>878</c:v>
                      </c:pt>
                      <c:pt idx="217">
                        <c:v>822</c:v>
                      </c:pt>
                      <c:pt idx="218">
                        <c:v>1157</c:v>
                      </c:pt>
                      <c:pt idx="219">
                        <c:v>1001</c:v>
                      </c:pt>
                      <c:pt idx="220">
                        <c:v>1008</c:v>
                      </c:pt>
                      <c:pt idx="221">
                        <c:v>583.53599999999994</c:v>
                      </c:pt>
                      <c:pt idx="222">
                        <c:v>793.77599999999995</c:v>
                      </c:pt>
                      <c:pt idx="223">
                        <c:v>793.77599999999995</c:v>
                      </c:pt>
                      <c:pt idx="224">
                        <c:v>949</c:v>
                      </c:pt>
                      <c:pt idx="225">
                        <c:v>832</c:v>
                      </c:pt>
                      <c:pt idx="226">
                        <c:v>876</c:v>
                      </c:pt>
                      <c:pt idx="227">
                        <c:v>750</c:v>
                      </c:pt>
                      <c:pt idx="228">
                        <c:v>781.77599999999995</c:v>
                      </c:pt>
                      <c:pt idx="229">
                        <c:v>1045</c:v>
                      </c:pt>
                      <c:pt idx="230">
                        <c:v>996</c:v>
                      </c:pt>
                      <c:pt idx="231">
                        <c:v>781.77599999999995</c:v>
                      </c:pt>
                      <c:pt idx="232">
                        <c:v>840</c:v>
                      </c:pt>
                      <c:pt idx="233">
                        <c:v>860</c:v>
                      </c:pt>
                      <c:pt idx="234">
                        <c:v>1200</c:v>
                      </c:pt>
                      <c:pt idx="235">
                        <c:v>1200</c:v>
                      </c:pt>
                      <c:pt idx="236">
                        <c:v>876.31200000000001</c:v>
                      </c:pt>
                      <c:pt idx="237">
                        <c:v>876.31200000000001</c:v>
                      </c:pt>
                      <c:pt idx="238">
                        <c:v>876.31200000000001</c:v>
                      </c:pt>
                      <c:pt idx="239">
                        <c:v>876.31200000000001</c:v>
                      </c:pt>
                      <c:pt idx="240">
                        <c:v>777.98400000000004</c:v>
                      </c:pt>
                      <c:pt idx="241">
                        <c:v>777.98400000000004</c:v>
                      </c:pt>
                      <c:pt idx="242">
                        <c:v>777.98400000000004</c:v>
                      </c:pt>
                      <c:pt idx="243">
                        <c:v>778.51199999999994</c:v>
                      </c:pt>
                      <c:pt idx="244">
                        <c:v>778.51199999999994</c:v>
                      </c:pt>
                      <c:pt idx="245">
                        <c:v>778.51199999999994</c:v>
                      </c:pt>
                      <c:pt idx="246">
                        <c:v>778.51199999999994</c:v>
                      </c:pt>
                      <c:pt idx="247">
                        <c:v>778.51199999999994</c:v>
                      </c:pt>
                      <c:pt idx="248">
                        <c:v>778.51199999999994</c:v>
                      </c:pt>
                      <c:pt idx="249">
                        <c:v>778.51199999999994</c:v>
                      </c:pt>
                      <c:pt idx="250">
                        <c:v>667.68</c:v>
                      </c:pt>
                      <c:pt idx="251">
                        <c:v>667.68</c:v>
                      </c:pt>
                      <c:pt idx="252">
                        <c:v>667.68</c:v>
                      </c:pt>
                    </c:numCache>
                  </c:numRef>
                </c:yVal>
                <c:smooth val="1"/>
                <c:extLst xmlns:c15="http://schemas.microsoft.com/office/drawing/2012/chart">
                  <c:ext xmlns:c16="http://schemas.microsoft.com/office/drawing/2014/chart" uri="{C3380CC4-5D6E-409C-BE32-E72D297353CC}">
                    <c16:uniqueId val="{00000014-B1BA-4027-B324-9E28FECAA0B8}"/>
                  </c:ext>
                </c:extLst>
              </c15:ser>
            </c15:filteredScatterSeries>
            <c15:filteredScatterSeries>
              <c15:ser>
                <c:idx val="19"/>
                <c:order val="19"/>
                <c:tx>
                  <c:strRef>
                    <c:extLst xmlns:c15="http://schemas.microsoft.com/office/drawing/2012/chart">
                      <c:ext xmlns:c15="http://schemas.microsoft.com/office/drawing/2012/chart" uri="{02D57815-91ED-43cb-92C2-25804820EDAC}">
                        <c15:formulaRef>
                          <c15:sqref>'Combined rate'!$C$24</c15:sqref>
                        </c15:formulaRef>
                      </c:ext>
                    </c:extLst>
                    <c:strCache>
                      <c:ptCount val="1"/>
                      <c:pt idx="0">
                        <c:v>WORCESTER  </c:v>
                      </c:pt>
                    </c:strCache>
                  </c:strRef>
                </c:tx>
                <c:spPr>
                  <a:ln w="19050" cap="rnd">
                    <a:solidFill>
                      <a:schemeClr val="accent2">
                        <a:lumMod val="80000"/>
                      </a:schemeClr>
                    </a:solidFill>
                    <a:round/>
                  </a:ln>
                  <a:effectLst/>
                </c:spPr>
                <c:marker>
                  <c:symbol val="circle"/>
                  <c:size val="5"/>
                  <c:spPr>
                    <a:solidFill>
                      <a:schemeClr val="accent2">
                        <a:lumMod val="80000"/>
                      </a:schemeClr>
                    </a:solidFill>
                    <a:ln w="9525">
                      <a:solidFill>
                        <a:schemeClr val="accent2">
                          <a:lumMod val="80000"/>
                        </a:schemeClr>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D$24:$IY$24</c15:sqref>
                        </c15:formulaRef>
                      </c:ext>
                    </c:extLst>
                    <c:numCache>
                      <c:formatCode>0</c:formatCode>
                      <c:ptCount val="253"/>
                      <c:pt idx="0">
                        <c:v>303.76799999999997</c:v>
                      </c:pt>
                      <c:pt idx="1">
                        <c:v>303.76799999999997</c:v>
                      </c:pt>
                      <c:pt idx="2">
                        <c:v>331.8</c:v>
                      </c:pt>
                      <c:pt idx="3">
                        <c:v>331.8</c:v>
                      </c:pt>
                      <c:pt idx="4">
                        <c:v>331.8</c:v>
                      </c:pt>
                      <c:pt idx="5">
                        <c:v>331.8</c:v>
                      </c:pt>
                      <c:pt idx="6">
                        <c:v>331.8</c:v>
                      </c:pt>
                      <c:pt idx="7">
                        <c:v>331.8</c:v>
                      </c:pt>
                      <c:pt idx="8">
                        <c:v>408.91199999999998</c:v>
                      </c:pt>
                      <c:pt idx="9">
                        <c:v>408.91199999999998</c:v>
                      </c:pt>
                      <c:pt idx="10">
                        <c:v>408.91199999999998</c:v>
                      </c:pt>
                      <c:pt idx="11">
                        <c:v>408.91199999999998</c:v>
                      </c:pt>
                      <c:pt idx="12">
                        <c:v>408.91199999999998</c:v>
                      </c:pt>
                      <c:pt idx="13">
                        <c:v>410.86799999999999</c:v>
                      </c:pt>
                      <c:pt idx="14">
                        <c:v>412.82400000000001</c:v>
                      </c:pt>
                      <c:pt idx="15">
                        <c:v>412.82400000000001</c:v>
                      </c:pt>
                      <c:pt idx="16">
                        <c:v>534.40800000000002</c:v>
                      </c:pt>
                      <c:pt idx="17">
                        <c:v>534.40800000000002</c:v>
                      </c:pt>
                      <c:pt idx="18">
                        <c:v>534.40800000000002</c:v>
                      </c:pt>
                      <c:pt idx="19">
                        <c:v>578.1</c:v>
                      </c:pt>
                      <c:pt idx="20">
                        <c:v>599.94600000000003</c:v>
                      </c:pt>
                      <c:pt idx="21">
                        <c:v>621.79200000000003</c:v>
                      </c:pt>
                      <c:pt idx="22">
                        <c:v>725.56799999999998</c:v>
                      </c:pt>
                      <c:pt idx="23">
                        <c:v>829.34400000000005</c:v>
                      </c:pt>
                      <c:pt idx="24">
                        <c:v>829.34400000000005</c:v>
                      </c:pt>
                      <c:pt idx="25">
                        <c:v>956.41200000000003</c:v>
                      </c:pt>
                      <c:pt idx="26">
                        <c:v>1019.946</c:v>
                      </c:pt>
                      <c:pt idx="27">
                        <c:v>1051.713</c:v>
                      </c:pt>
                      <c:pt idx="28">
                        <c:v>1083.48</c:v>
                      </c:pt>
                      <c:pt idx="29">
                        <c:v>1039.2</c:v>
                      </c:pt>
                      <c:pt idx="30">
                        <c:v>1039.2</c:v>
                      </c:pt>
                      <c:pt idx="31">
                        <c:v>1039.2</c:v>
                      </c:pt>
                      <c:pt idx="32">
                        <c:v>962.80799999999999</c:v>
                      </c:pt>
                      <c:pt idx="33">
                        <c:v>921.26400000000001</c:v>
                      </c:pt>
                      <c:pt idx="34">
                        <c:v>900.49199999999996</c:v>
                      </c:pt>
                      <c:pt idx="35">
                        <c:v>879.72</c:v>
                      </c:pt>
                      <c:pt idx="36">
                        <c:v>879.72</c:v>
                      </c:pt>
                      <c:pt idx="37">
                        <c:v>879.72</c:v>
                      </c:pt>
                      <c:pt idx="38">
                        <c:v>833.952</c:v>
                      </c:pt>
                      <c:pt idx="39">
                        <c:v>833.952</c:v>
                      </c:pt>
                      <c:pt idx="40">
                        <c:v>1099.7280000000001</c:v>
                      </c:pt>
                      <c:pt idx="41">
                        <c:v>1099.7280000000001</c:v>
                      </c:pt>
                      <c:pt idx="42">
                        <c:v>1088.5440000000001</c:v>
                      </c:pt>
                      <c:pt idx="43">
                        <c:v>1088.5440000000001</c:v>
                      </c:pt>
                      <c:pt idx="44">
                        <c:v>1088.5440000000001</c:v>
                      </c:pt>
                      <c:pt idx="45">
                        <c:v>1088.5440000000001</c:v>
                      </c:pt>
                      <c:pt idx="46">
                        <c:v>788.66399999999999</c:v>
                      </c:pt>
                      <c:pt idx="47">
                        <c:v>788.66399999999999</c:v>
                      </c:pt>
                      <c:pt idx="48">
                        <c:v>788.66399999999999</c:v>
                      </c:pt>
                      <c:pt idx="49">
                        <c:v>788.66399999999999</c:v>
                      </c:pt>
                      <c:pt idx="50">
                        <c:v>858.33600000000001</c:v>
                      </c:pt>
                      <c:pt idx="51">
                        <c:v>832.96799999999996</c:v>
                      </c:pt>
                      <c:pt idx="52">
                        <c:v>832.96799999999996</c:v>
                      </c:pt>
                      <c:pt idx="53">
                        <c:v>832.96799999999996</c:v>
                      </c:pt>
                      <c:pt idx="54">
                        <c:v>832.96799999999996</c:v>
                      </c:pt>
                      <c:pt idx="55">
                        <c:v>683.30399999999997</c:v>
                      </c:pt>
                      <c:pt idx="56">
                        <c:v>683.30399999999997</c:v>
                      </c:pt>
                      <c:pt idx="57">
                        <c:v>683.30399999999997</c:v>
                      </c:pt>
                      <c:pt idx="58">
                        <c:v>683.30399999999997</c:v>
                      </c:pt>
                      <c:pt idx="59">
                        <c:v>683.30399999999997</c:v>
                      </c:pt>
                      <c:pt idx="60">
                        <c:v>1013.136</c:v>
                      </c:pt>
                      <c:pt idx="61">
                        <c:v>1041.48</c:v>
                      </c:pt>
                      <c:pt idx="62">
                        <c:v>1041.48</c:v>
                      </c:pt>
                      <c:pt idx="63">
                        <c:v>864.57600000000002</c:v>
                      </c:pt>
                      <c:pt idx="64">
                        <c:v>864.57600000000002</c:v>
                      </c:pt>
                      <c:pt idx="65">
                        <c:v>759.31200000000001</c:v>
                      </c:pt>
                      <c:pt idx="66">
                        <c:v>759.31200000000001</c:v>
                      </c:pt>
                      <c:pt idx="67">
                        <c:v>637.65599999999995</c:v>
                      </c:pt>
                      <c:pt idx="68">
                        <c:v>637.65599999999995</c:v>
                      </c:pt>
                      <c:pt idx="69">
                        <c:v>864.64800000000002</c:v>
                      </c:pt>
                      <c:pt idx="70">
                        <c:v>864.64800000000002</c:v>
                      </c:pt>
                      <c:pt idx="71">
                        <c:v>864.64800000000002</c:v>
                      </c:pt>
                      <c:pt idx="72">
                        <c:v>838.39200000000005</c:v>
                      </c:pt>
                      <c:pt idx="73">
                        <c:v>838.39200000000005</c:v>
                      </c:pt>
                      <c:pt idx="74">
                        <c:v>906</c:v>
                      </c:pt>
                      <c:pt idx="75">
                        <c:v>906</c:v>
                      </c:pt>
                      <c:pt idx="76">
                        <c:v>906</c:v>
                      </c:pt>
                      <c:pt idx="77">
                        <c:v>906</c:v>
                      </c:pt>
                      <c:pt idx="78">
                        <c:v>1076.664</c:v>
                      </c:pt>
                      <c:pt idx="79">
                        <c:v>1076.664</c:v>
                      </c:pt>
                      <c:pt idx="80">
                        <c:v>1000.728</c:v>
                      </c:pt>
                      <c:pt idx="81">
                        <c:v>1000.728</c:v>
                      </c:pt>
                      <c:pt idx="82">
                        <c:v>1000.728</c:v>
                      </c:pt>
                      <c:pt idx="83">
                        <c:v>1017</c:v>
                      </c:pt>
                      <c:pt idx="84">
                        <c:v>1017</c:v>
                      </c:pt>
                      <c:pt idx="85">
                        <c:v>1017</c:v>
                      </c:pt>
                      <c:pt idx="86">
                        <c:v>1017</c:v>
                      </c:pt>
                      <c:pt idx="87">
                        <c:v>1017</c:v>
                      </c:pt>
                      <c:pt idx="88">
                        <c:v>1097.8320000000001</c:v>
                      </c:pt>
                      <c:pt idx="89">
                        <c:v>902.71199999999999</c:v>
                      </c:pt>
                      <c:pt idx="90">
                        <c:v>792.6</c:v>
                      </c:pt>
                      <c:pt idx="91">
                        <c:v>792.6</c:v>
                      </c:pt>
                      <c:pt idx="92">
                        <c:v>792.6</c:v>
                      </c:pt>
                      <c:pt idx="93">
                        <c:v>740.04</c:v>
                      </c:pt>
                      <c:pt idx="94">
                        <c:v>740.04</c:v>
                      </c:pt>
                      <c:pt idx="95">
                        <c:v>740.04</c:v>
                      </c:pt>
                      <c:pt idx="96">
                        <c:v>732.38400000000001</c:v>
                      </c:pt>
                      <c:pt idx="97">
                        <c:v>732.38400000000001</c:v>
                      </c:pt>
                      <c:pt idx="98">
                        <c:v>732.38400000000001</c:v>
                      </c:pt>
                      <c:pt idx="99">
                        <c:v>732.38400000000001</c:v>
                      </c:pt>
                      <c:pt idx="100">
                        <c:v>687.48</c:v>
                      </c:pt>
                      <c:pt idx="101">
                        <c:v>687.48</c:v>
                      </c:pt>
                      <c:pt idx="102">
                        <c:v>687.48</c:v>
                      </c:pt>
                      <c:pt idx="103">
                        <c:v>687.48</c:v>
                      </c:pt>
                      <c:pt idx="104">
                        <c:v>795.6</c:v>
                      </c:pt>
                      <c:pt idx="105">
                        <c:v>795.6</c:v>
                      </c:pt>
                      <c:pt idx="106">
                        <c:v>795.6</c:v>
                      </c:pt>
                      <c:pt idx="107">
                        <c:v>741.21600000000001</c:v>
                      </c:pt>
                      <c:pt idx="108">
                        <c:v>741.21600000000001</c:v>
                      </c:pt>
                      <c:pt idx="109">
                        <c:v>741.21600000000001</c:v>
                      </c:pt>
                      <c:pt idx="110">
                        <c:v>741.21600000000001</c:v>
                      </c:pt>
                      <c:pt idx="111">
                        <c:v>706.8</c:v>
                      </c:pt>
                      <c:pt idx="112">
                        <c:v>706.8</c:v>
                      </c:pt>
                      <c:pt idx="113">
                        <c:v>706.8</c:v>
                      </c:pt>
                      <c:pt idx="114">
                        <c:v>706.8</c:v>
                      </c:pt>
                      <c:pt idx="115">
                        <c:v>784.29600000000005</c:v>
                      </c:pt>
                      <c:pt idx="116">
                        <c:v>784.29600000000005</c:v>
                      </c:pt>
                      <c:pt idx="117">
                        <c:v>784.29600000000005</c:v>
                      </c:pt>
                      <c:pt idx="118">
                        <c:v>784.29600000000005</c:v>
                      </c:pt>
                      <c:pt idx="119">
                        <c:v>709.24800000000005</c:v>
                      </c:pt>
                      <c:pt idx="120">
                        <c:v>709.24800000000005</c:v>
                      </c:pt>
                      <c:pt idx="121">
                        <c:v>583.36800000000005</c:v>
                      </c:pt>
                      <c:pt idx="122">
                        <c:v>583.36800000000005</c:v>
                      </c:pt>
                      <c:pt idx="123">
                        <c:v>583.36800000000005</c:v>
                      </c:pt>
                      <c:pt idx="124">
                        <c:v>469.92</c:v>
                      </c:pt>
                      <c:pt idx="125">
                        <c:v>469.92</c:v>
                      </c:pt>
                      <c:pt idx="126">
                        <c:v>469.92</c:v>
                      </c:pt>
                      <c:pt idx="127">
                        <c:v>469.92</c:v>
                      </c:pt>
                      <c:pt idx="128">
                        <c:v>469.92</c:v>
                      </c:pt>
                      <c:pt idx="129">
                        <c:v>469.92</c:v>
                      </c:pt>
                      <c:pt idx="130">
                        <c:v>433.8</c:v>
                      </c:pt>
                      <c:pt idx="131">
                        <c:v>433.8</c:v>
                      </c:pt>
                      <c:pt idx="132">
                        <c:v>433.8</c:v>
                      </c:pt>
                      <c:pt idx="133">
                        <c:v>433.8</c:v>
                      </c:pt>
                      <c:pt idx="134">
                        <c:v>433.8</c:v>
                      </c:pt>
                      <c:pt idx="135">
                        <c:v>407.25599999999997</c:v>
                      </c:pt>
                      <c:pt idx="136">
                        <c:v>407.25599999999997</c:v>
                      </c:pt>
                      <c:pt idx="137">
                        <c:v>407.25599999999997</c:v>
                      </c:pt>
                      <c:pt idx="138">
                        <c:v>407.25599999999997</c:v>
                      </c:pt>
                      <c:pt idx="139">
                        <c:v>538.20000000000005</c:v>
                      </c:pt>
                      <c:pt idx="140">
                        <c:v>538.20000000000005</c:v>
                      </c:pt>
                      <c:pt idx="141">
                        <c:v>538.20000000000005</c:v>
                      </c:pt>
                      <c:pt idx="142">
                        <c:v>538.20000000000005</c:v>
                      </c:pt>
                      <c:pt idx="143">
                        <c:v>538.20000000000005</c:v>
                      </c:pt>
                      <c:pt idx="144">
                        <c:v>431.4</c:v>
                      </c:pt>
                      <c:pt idx="145">
                        <c:v>431.4</c:v>
                      </c:pt>
                      <c:pt idx="146">
                        <c:v>431.4</c:v>
                      </c:pt>
                      <c:pt idx="147">
                        <c:v>431.4</c:v>
                      </c:pt>
                      <c:pt idx="148">
                        <c:v>431.4</c:v>
                      </c:pt>
                      <c:pt idx="149">
                        <c:v>420.024</c:v>
                      </c:pt>
                      <c:pt idx="150">
                        <c:v>420.024</c:v>
                      </c:pt>
                      <c:pt idx="151">
                        <c:v>420.024</c:v>
                      </c:pt>
                      <c:pt idx="152">
                        <c:v>420.024</c:v>
                      </c:pt>
                      <c:pt idx="153">
                        <c:v>373.84800000000001</c:v>
                      </c:pt>
                      <c:pt idx="154">
                        <c:v>373.84800000000001</c:v>
                      </c:pt>
                      <c:pt idx="155">
                        <c:v>373.84800000000001</c:v>
                      </c:pt>
                      <c:pt idx="156">
                        <c:v>440.32799999999997</c:v>
                      </c:pt>
                      <c:pt idx="157">
                        <c:v>440.32799999999997</c:v>
                      </c:pt>
                      <c:pt idx="158">
                        <c:v>440.32799999999997</c:v>
                      </c:pt>
                      <c:pt idx="159">
                        <c:v>444.48</c:v>
                      </c:pt>
                      <c:pt idx="160">
                        <c:v>444.48</c:v>
                      </c:pt>
                      <c:pt idx="161">
                        <c:v>444.48</c:v>
                      </c:pt>
                      <c:pt idx="162">
                        <c:v>444.48</c:v>
                      </c:pt>
                      <c:pt idx="163">
                        <c:v>444.48</c:v>
                      </c:pt>
                      <c:pt idx="164">
                        <c:v>385.27199999999999</c:v>
                      </c:pt>
                      <c:pt idx="165">
                        <c:v>385.27199999999999</c:v>
                      </c:pt>
                      <c:pt idx="166">
                        <c:v>385.27199999999999</c:v>
                      </c:pt>
                      <c:pt idx="167">
                        <c:v>402.55200000000002</c:v>
                      </c:pt>
                      <c:pt idx="168">
                        <c:v>402.55200000000002</c:v>
                      </c:pt>
                      <c:pt idx="169">
                        <c:v>402.55200000000002</c:v>
                      </c:pt>
                      <c:pt idx="170">
                        <c:v>455.976</c:v>
                      </c:pt>
                      <c:pt idx="171">
                        <c:v>455.976</c:v>
                      </c:pt>
                      <c:pt idx="172">
                        <c:v>455.976</c:v>
                      </c:pt>
                      <c:pt idx="173">
                        <c:v>505.36799999999999</c:v>
                      </c:pt>
                      <c:pt idx="174">
                        <c:v>505.36799999999999</c:v>
                      </c:pt>
                      <c:pt idx="175">
                        <c:v>505.36799999999999</c:v>
                      </c:pt>
                      <c:pt idx="176">
                        <c:v>505.36799999999999</c:v>
                      </c:pt>
                      <c:pt idx="177">
                        <c:v>351.76799999999997</c:v>
                      </c:pt>
                      <c:pt idx="178">
                        <c:v>351.76799999999997</c:v>
                      </c:pt>
                      <c:pt idx="179">
                        <c:v>351.76799999999997</c:v>
                      </c:pt>
                      <c:pt idx="180">
                        <c:v>370.10399999999998</c:v>
                      </c:pt>
                      <c:pt idx="181">
                        <c:v>370.10399999999998</c:v>
                      </c:pt>
                      <c:pt idx="182">
                        <c:v>370.10399999999998</c:v>
                      </c:pt>
                      <c:pt idx="183">
                        <c:v>497.61599999999999</c:v>
                      </c:pt>
                      <c:pt idx="184">
                        <c:v>497.61599999999999</c:v>
                      </c:pt>
                      <c:pt idx="185">
                        <c:v>497.61599999999999</c:v>
                      </c:pt>
                      <c:pt idx="186">
                        <c:v>917.25599999999997</c:v>
                      </c:pt>
                      <c:pt idx="187">
                        <c:v>917.25599999999997</c:v>
                      </c:pt>
                      <c:pt idx="188">
                        <c:v>917.25599999999997</c:v>
                      </c:pt>
                      <c:pt idx="189">
                        <c:v>363.84</c:v>
                      </c:pt>
                      <c:pt idx="190">
                        <c:v>1153.992</c:v>
                      </c:pt>
                      <c:pt idx="191">
                        <c:v>1237.1759999999999</c:v>
                      </c:pt>
                      <c:pt idx="192">
                        <c:v>1237.1759999999999</c:v>
                      </c:pt>
                      <c:pt idx="193">
                        <c:v>1159.7280000000001</c:v>
                      </c:pt>
                      <c:pt idx="194">
                        <c:v>1159.7280000000001</c:v>
                      </c:pt>
                      <c:pt idx="195">
                        <c:v>1062.6959999999999</c:v>
                      </c:pt>
                      <c:pt idx="196">
                        <c:v>1062.6959999999999</c:v>
                      </c:pt>
                      <c:pt idx="197">
                        <c:v>1081.6079999999999</c:v>
                      </c:pt>
                      <c:pt idx="198">
                        <c:v>1081.6079999999999</c:v>
                      </c:pt>
                      <c:pt idx="199">
                        <c:v>1081.6079999999999</c:v>
                      </c:pt>
                      <c:pt idx="200">
                        <c:v>1081.6079999999999</c:v>
                      </c:pt>
                      <c:pt idx="201">
                        <c:v>1277.664</c:v>
                      </c:pt>
                      <c:pt idx="202">
                        <c:v>1277.664</c:v>
                      </c:pt>
                      <c:pt idx="203">
                        <c:v>1277.664</c:v>
                      </c:pt>
                      <c:pt idx="204">
                        <c:v>1277.664</c:v>
                      </c:pt>
                      <c:pt idx="205">
                        <c:v>1371.0239999999999</c:v>
                      </c:pt>
                      <c:pt idx="206">
                        <c:v>1480.6559999999999</c:v>
                      </c:pt>
                      <c:pt idx="207">
                        <c:v>1480.6559999999999</c:v>
                      </c:pt>
                      <c:pt idx="208">
                        <c:v>1909.152</c:v>
                      </c:pt>
                      <c:pt idx="209">
                        <c:v>1820.232</c:v>
                      </c:pt>
                      <c:pt idx="210">
                        <c:v>1732.2339999999999</c:v>
                      </c:pt>
                      <c:pt idx="211">
                        <c:v>1732.8320000000001</c:v>
                      </c:pt>
                      <c:pt idx="212">
                        <c:v>1797</c:v>
                      </c:pt>
                      <c:pt idx="213">
                        <c:v>2018.3520000000001</c:v>
                      </c:pt>
                      <c:pt idx="214">
                        <c:v>2018.3520000000001</c:v>
                      </c:pt>
                      <c:pt idx="215">
                        <c:v>2026.056</c:v>
                      </c:pt>
                      <c:pt idx="216">
                        <c:v>2183.5439999999999</c:v>
                      </c:pt>
                      <c:pt idx="217">
                        <c:v>2183.5439999999999</c:v>
                      </c:pt>
                      <c:pt idx="218">
                        <c:v>2383.5439999999999</c:v>
                      </c:pt>
                      <c:pt idx="219">
                        <c:v>2183.5439999999999</c:v>
                      </c:pt>
                      <c:pt idx="220">
                        <c:v>2623.56</c:v>
                      </c:pt>
                      <c:pt idx="221">
                        <c:v>1947.6959999999999</c:v>
                      </c:pt>
                      <c:pt idx="222">
                        <c:v>1610.16</c:v>
                      </c:pt>
                      <c:pt idx="223">
                        <c:v>1960</c:v>
                      </c:pt>
                      <c:pt idx="224">
                        <c:v>2080</c:v>
                      </c:pt>
                      <c:pt idx="225">
                        <c:v>1964</c:v>
                      </c:pt>
                      <c:pt idx="226">
                        <c:v>1976</c:v>
                      </c:pt>
                      <c:pt idx="227">
                        <c:v>1954.5168539325841</c:v>
                      </c:pt>
                      <c:pt idx="228">
                        <c:v>1792</c:v>
                      </c:pt>
                      <c:pt idx="229">
                        <c:v>2021.3026467203681</c:v>
                      </c:pt>
                      <c:pt idx="230">
                        <c:v>1791.8809579167635</c:v>
                      </c:pt>
                      <c:pt idx="231">
                        <c:v>2188.6010362694301</c:v>
                      </c:pt>
                      <c:pt idx="232">
                        <c:v>2200</c:v>
                      </c:pt>
                      <c:pt idx="233">
                        <c:v>2358</c:v>
                      </c:pt>
                      <c:pt idx="234">
                        <c:v>2000</c:v>
                      </c:pt>
                      <c:pt idx="235">
                        <c:v>1098.6965694633104</c:v>
                      </c:pt>
                      <c:pt idx="236">
                        <c:v>1107.8725877702859</c:v>
                      </c:pt>
                      <c:pt idx="237">
                        <c:v>1100.0954944005557</c:v>
                      </c:pt>
                      <c:pt idx="238">
                        <c:v>1001.4198371533713</c:v>
                      </c:pt>
                      <c:pt idx="239">
                        <c:v>996.56852850428209</c:v>
                      </c:pt>
                      <c:pt idx="240">
                        <c:v>1099.4591780663447</c:v>
                      </c:pt>
                      <c:pt idx="241">
                        <c:v>1200</c:v>
                      </c:pt>
                      <c:pt idx="242">
                        <c:v>1400</c:v>
                      </c:pt>
                      <c:pt idx="243">
                        <c:v>1272</c:v>
                      </c:pt>
                      <c:pt idx="244">
                        <c:v>1143</c:v>
                      </c:pt>
                      <c:pt idx="245">
                        <c:v>1300</c:v>
                      </c:pt>
                      <c:pt idx="246">
                        <c:v>1000</c:v>
                      </c:pt>
                      <c:pt idx="247">
                        <c:v>960</c:v>
                      </c:pt>
                      <c:pt idx="248">
                        <c:v>902</c:v>
                      </c:pt>
                      <c:pt idx="249">
                        <c:v>802</c:v>
                      </c:pt>
                      <c:pt idx="250">
                        <c:v>899</c:v>
                      </c:pt>
                      <c:pt idx="251">
                        <c:v>667.68</c:v>
                      </c:pt>
                      <c:pt idx="252">
                        <c:v>730.89599999999996</c:v>
                      </c:pt>
                    </c:numCache>
                  </c:numRef>
                </c:yVal>
                <c:smooth val="1"/>
                <c:extLst xmlns:c15="http://schemas.microsoft.com/office/drawing/2012/chart">
                  <c:ext xmlns:c16="http://schemas.microsoft.com/office/drawing/2014/chart" uri="{C3380CC4-5D6E-409C-BE32-E72D297353CC}">
                    <c16:uniqueId val="{00000015-B1BA-4027-B324-9E28FECAA0B8}"/>
                  </c:ext>
                </c:extLst>
              </c15:ser>
            </c15:filteredScatterSeries>
            <c15:filteredScatterSeries>
              <c15:ser>
                <c:idx val="22"/>
                <c:order val="22"/>
                <c:tx>
                  <c:strRef>
                    <c:extLst xmlns:c15="http://schemas.microsoft.com/office/drawing/2012/chart">
                      <c:ext xmlns:c15="http://schemas.microsoft.com/office/drawing/2012/chart" uri="{02D57815-91ED-43cb-92C2-25804820EDAC}">
                        <c15:formulaRef>
                          <c15:sqref>'Combined rate'!$C$28</c15:sqref>
                        </c15:formulaRef>
                      </c:ext>
                    </c:extLst>
                    <c:strCache>
                      <c:ptCount val="1"/>
                      <c:pt idx="0">
                        <c:v>THIRD ORDER POLYNOMIAL FIT</c:v>
                      </c:pt>
                    </c:strCache>
                  </c:strRef>
                </c:tx>
                <c:spPr>
                  <a:ln w="19050" cap="rnd">
                    <a:solidFill>
                      <a:schemeClr val="accent5">
                        <a:lumMod val="80000"/>
                      </a:schemeClr>
                    </a:solidFill>
                    <a:round/>
                  </a:ln>
                  <a:effectLst/>
                </c:spPr>
                <c:marker>
                  <c:symbol val="circle"/>
                  <c:size val="5"/>
                  <c:spPr>
                    <a:solidFill>
                      <a:schemeClr val="accent5">
                        <a:lumMod val="80000"/>
                      </a:schemeClr>
                    </a:solidFill>
                    <a:ln w="9525">
                      <a:solidFill>
                        <a:schemeClr val="accent5">
                          <a:lumMod val="80000"/>
                        </a:schemeClr>
                      </a:solidFill>
                    </a:ln>
                    <a:effectLst/>
                  </c:spPr>
                </c:marker>
                <c:xVal>
                  <c:numRef>
                    <c:extLst xmlns:c15="http://schemas.microsoft.com/office/drawing/2012/chart">
                      <c:ext xmlns:c15="http://schemas.microsoft.com/office/drawing/2012/chart" uri="{02D57815-91ED-43cb-92C2-25804820EDAC}">
                        <c15:formulaRef>
                          <c15:sqref>'Combined rate'!$G$1:$IY$1</c15:sqref>
                        </c15:formulaRef>
                      </c:ext>
                    </c:extLst>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numRef>
                </c:xVal>
                <c:yVal>
                  <c:numRef>
                    <c:extLst xmlns:c15="http://schemas.microsoft.com/office/drawing/2012/chart">
                      <c:ext xmlns:c15="http://schemas.microsoft.com/office/drawing/2012/chart" uri="{02D57815-91ED-43cb-92C2-25804820EDAC}">
                        <c15:formulaRef>
                          <c15:sqref>'Combined rate'!$G$28:$IY$28</c15:sqref>
                        </c15:formulaRef>
                      </c:ext>
                    </c:extLst>
                    <c:numCache>
                      <c:formatCode>0.00</c:formatCode>
                      <c:ptCount val="25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formatCode="General">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numCache>
                  </c:numRef>
                </c:yVal>
                <c:smooth val="1"/>
                <c:extLst xmlns:c15="http://schemas.microsoft.com/office/drawing/2012/chart">
                  <c:ext xmlns:c16="http://schemas.microsoft.com/office/drawing/2014/chart" uri="{C3380CC4-5D6E-409C-BE32-E72D297353CC}">
                    <c16:uniqueId val="{00000016-B1BA-4027-B324-9E28FECAA0B8}"/>
                  </c:ext>
                </c:extLst>
              </c15:ser>
            </c15:filteredScatterSeries>
          </c:ext>
        </c:extLst>
      </c:scatterChart>
      <c:scatterChart>
        <c:scatterStyle val="smoothMarker"/>
        <c:ser>
          <c:idx val="21"/>
          <c:order val="1"/>
          <c:tx>
            <c:strRef>
              <c:f>'Combined rate'!$C$26</c:f>
              <c:strCache>
                <c:ptCount val="1"/>
                <c:pt idx="0">
                  <c:v>PERSENTAGE INCREASE (REF AVERAGE CONSUMPTION BEFORE COVID)</c:v>
                </c:pt>
              </c:strCache>
              <c:extLst xmlns:c16r2="http://schemas.microsoft.com/office/drawing/2015/06/chart" xmlns:c15="http://schemas.microsoft.com/office/drawing/2012/chart"/>
            </c:strRef>
          </c:tx>
          <c:spPr>
            <a:ln w="19050" cap="rnd">
              <a:solidFill>
                <a:srgbClr val="FF0000"/>
              </a:solidFill>
              <a:round/>
            </a:ln>
            <a:effectLst/>
          </c:spPr>
          <c:marker>
            <c:symbol val="circle"/>
            <c:size val="5"/>
            <c:spPr>
              <a:solidFill>
                <a:schemeClr val="accent4">
                  <a:lumMod val="80000"/>
                </a:schemeClr>
              </a:solidFill>
              <a:ln w="9525">
                <a:solidFill>
                  <a:schemeClr val="accent4">
                    <a:lumMod val="80000"/>
                  </a:schemeClr>
                </a:solidFill>
              </a:ln>
              <a:effectLst/>
            </c:spPr>
          </c:marker>
          <c:xVal>
            <c:numRef>
              <c:f>'Combined rate'!$G$1:$IY$1</c:f>
              <c:numCache>
                <c:formatCode>dd\ mmm\ yy</c:formatCode>
                <c:ptCount val="253"/>
                <c:pt idx="0">
                  <c:v>43976</c:v>
                </c:pt>
                <c:pt idx="1">
                  <c:v>43977</c:v>
                </c:pt>
                <c:pt idx="2">
                  <c:v>43978</c:v>
                </c:pt>
                <c:pt idx="3">
                  <c:v>43979</c:v>
                </c:pt>
                <c:pt idx="4">
                  <c:v>43980</c:v>
                </c:pt>
                <c:pt idx="5">
                  <c:v>43981</c:v>
                </c:pt>
                <c:pt idx="6">
                  <c:v>43982</c:v>
                </c:pt>
                <c:pt idx="7">
                  <c:v>43983</c:v>
                </c:pt>
                <c:pt idx="8">
                  <c:v>43984</c:v>
                </c:pt>
                <c:pt idx="9">
                  <c:v>43985</c:v>
                </c:pt>
                <c:pt idx="10">
                  <c:v>43986</c:v>
                </c:pt>
                <c:pt idx="11">
                  <c:v>43987</c:v>
                </c:pt>
                <c:pt idx="12">
                  <c:v>43988</c:v>
                </c:pt>
                <c:pt idx="13">
                  <c:v>43989</c:v>
                </c:pt>
                <c:pt idx="14">
                  <c:v>43990</c:v>
                </c:pt>
                <c:pt idx="15">
                  <c:v>43991</c:v>
                </c:pt>
                <c:pt idx="16">
                  <c:v>43992</c:v>
                </c:pt>
                <c:pt idx="17">
                  <c:v>43993</c:v>
                </c:pt>
                <c:pt idx="18">
                  <c:v>43994</c:v>
                </c:pt>
                <c:pt idx="19">
                  <c:v>43995</c:v>
                </c:pt>
                <c:pt idx="20">
                  <c:v>43996</c:v>
                </c:pt>
                <c:pt idx="21">
                  <c:v>43997</c:v>
                </c:pt>
                <c:pt idx="22">
                  <c:v>43998</c:v>
                </c:pt>
                <c:pt idx="23">
                  <c:v>43999</c:v>
                </c:pt>
                <c:pt idx="24">
                  <c:v>44000</c:v>
                </c:pt>
                <c:pt idx="25">
                  <c:v>44001</c:v>
                </c:pt>
                <c:pt idx="26">
                  <c:v>44002</c:v>
                </c:pt>
                <c:pt idx="27">
                  <c:v>44003</c:v>
                </c:pt>
                <c:pt idx="28">
                  <c:v>44004</c:v>
                </c:pt>
                <c:pt idx="29">
                  <c:v>44005</c:v>
                </c:pt>
                <c:pt idx="30">
                  <c:v>44006</c:v>
                </c:pt>
                <c:pt idx="31">
                  <c:v>44007</c:v>
                </c:pt>
                <c:pt idx="32">
                  <c:v>44008</c:v>
                </c:pt>
                <c:pt idx="33">
                  <c:v>44009</c:v>
                </c:pt>
                <c:pt idx="34">
                  <c:v>44010</c:v>
                </c:pt>
                <c:pt idx="35">
                  <c:v>44011</c:v>
                </c:pt>
                <c:pt idx="36">
                  <c:v>44012</c:v>
                </c:pt>
                <c:pt idx="37">
                  <c:v>44013</c:v>
                </c:pt>
                <c:pt idx="38">
                  <c:v>44014</c:v>
                </c:pt>
                <c:pt idx="39">
                  <c:v>44015</c:v>
                </c:pt>
                <c:pt idx="40">
                  <c:v>44016</c:v>
                </c:pt>
                <c:pt idx="41">
                  <c:v>44017</c:v>
                </c:pt>
                <c:pt idx="42">
                  <c:v>44018</c:v>
                </c:pt>
                <c:pt idx="43">
                  <c:v>44019</c:v>
                </c:pt>
                <c:pt idx="44">
                  <c:v>44020</c:v>
                </c:pt>
                <c:pt idx="45">
                  <c:v>44021</c:v>
                </c:pt>
                <c:pt idx="46">
                  <c:v>44022</c:v>
                </c:pt>
                <c:pt idx="47">
                  <c:v>44023</c:v>
                </c:pt>
                <c:pt idx="48">
                  <c:v>44024</c:v>
                </c:pt>
                <c:pt idx="49">
                  <c:v>44025</c:v>
                </c:pt>
                <c:pt idx="50">
                  <c:v>44026</c:v>
                </c:pt>
                <c:pt idx="51">
                  <c:v>44027</c:v>
                </c:pt>
                <c:pt idx="52">
                  <c:v>44028</c:v>
                </c:pt>
                <c:pt idx="53">
                  <c:v>44029</c:v>
                </c:pt>
                <c:pt idx="54">
                  <c:v>44030</c:v>
                </c:pt>
                <c:pt idx="55">
                  <c:v>44031</c:v>
                </c:pt>
                <c:pt idx="56">
                  <c:v>44032</c:v>
                </c:pt>
                <c:pt idx="57">
                  <c:v>44033</c:v>
                </c:pt>
                <c:pt idx="58">
                  <c:v>44034</c:v>
                </c:pt>
                <c:pt idx="59">
                  <c:v>44035</c:v>
                </c:pt>
                <c:pt idx="60">
                  <c:v>44036</c:v>
                </c:pt>
                <c:pt idx="61">
                  <c:v>44037</c:v>
                </c:pt>
                <c:pt idx="62">
                  <c:v>44038</c:v>
                </c:pt>
                <c:pt idx="63">
                  <c:v>44039</c:v>
                </c:pt>
                <c:pt idx="64">
                  <c:v>44040</c:v>
                </c:pt>
                <c:pt idx="65">
                  <c:v>44041</c:v>
                </c:pt>
                <c:pt idx="66">
                  <c:v>44042</c:v>
                </c:pt>
                <c:pt idx="67">
                  <c:v>44043</c:v>
                </c:pt>
                <c:pt idx="68">
                  <c:v>44044</c:v>
                </c:pt>
                <c:pt idx="69">
                  <c:v>44045</c:v>
                </c:pt>
                <c:pt idx="70">
                  <c:v>44046</c:v>
                </c:pt>
                <c:pt idx="71">
                  <c:v>44047</c:v>
                </c:pt>
                <c:pt idx="72">
                  <c:v>44048</c:v>
                </c:pt>
                <c:pt idx="73">
                  <c:v>44049</c:v>
                </c:pt>
                <c:pt idx="74">
                  <c:v>44050</c:v>
                </c:pt>
                <c:pt idx="75">
                  <c:v>44051</c:v>
                </c:pt>
                <c:pt idx="76">
                  <c:v>44052</c:v>
                </c:pt>
                <c:pt idx="77">
                  <c:v>44053</c:v>
                </c:pt>
                <c:pt idx="78">
                  <c:v>44054</c:v>
                </c:pt>
                <c:pt idx="79">
                  <c:v>44055</c:v>
                </c:pt>
                <c:pt idx="80">
                  <c:v>44056</c:v>
                </c:pt>
                <c:pt idx="81">
                  <c:v>44057</c:v>
                </c:pt>
                <c:pt idx="82">
                  <c:v>44058</c:v>
                </c:pt>
                <c:pt idx="83">
                  <c:v>44059</c:v>
                </c:pt>
                <c:pt idx="84">
                  <c:v>44060</c:v>
                </c:pt>
                <c:pt idx="85">
                  <c:v>44061</c:v>
                </c:pt>
                <c:pt idx="86">
                  <c:v>44062</c:v>
                </c:pt>
                <c:pt idx="87">
                  <c:v>44063</c:v>
                </c:pt>
                <c:pt idx="88">
                  <c:v>44064</c:v>
                </c:pt>
                <c:pt idx="89">
                  <c:v>44065</c:v>
                </c:pt>
                <c:pt idx="90">
                  <c:v>44066</c:v>
                </c:pt>
                <c:pt idx="91">
                  <c:v>44067</c:v>
                </c:pt>
                <c:pt idx="92">
                  <c:v>44068</c:v>
                </c:pt>
                <c:pt idx="93">
                  <c:v>44069</c:v>
                </c:pt>
                <c:pt idx="94">
                  <c:v>44070</c:v>
                </c:pt>
                <c:pt idx="95">
                  <c:v>44071</c:v>
                </c:pt>
                <c:pt idx="96">
                  <c:v>44072</c:v>
                </c:pt>
                <c:pt idx="97">
                  <c:v>44073</c:v>
                </c:pt>
                <c:pt idx="98">
                  <c:v>44074</c:v>
                </c:pt>
                <c:pt idx="99">
                  <c:v>44075</c:v>
                </c:pt>
                <c:pt idx="100">
                  <c:v>44076</c:v>
                </c:pt>
                <c:pt idx="101">
                  <c:v>44077</c:v>
                </c:pt>
                <c:pt idx="102">
                  <c:v>44078</c:v>
                </c:pt>
                <c:pt idx="103">
                  <c:v>44079</c:v>
                </c:pt>
                <c:pt idx="104">
                  <c:v>44080</c:v>
                </c:pt>
                <c:pt idx="105">
                  <c:v>44081</c:v>
                </c:pt>
                <c:pt idx="106">
                  <c:v>44082</c:v>
                </c:pt>
                <c:pt idx="107">
                  <c:v>44083</c:v>
                </c:pt>
                <c:pt idx="108">
                  <c:v>44084</c:v>
                </c:pt>
                <c:pt idx="109">
                  <c:v>44085</c:v>
                </c:pt>
                <c:pt idx="110">
                  <c:v>44086</c:v>
                </c:pt>
                <c:pt idx="111">
                  <c:v>44087</c:v>
                </c:pt>
                <c:pt idx="112">
                  <c:v>44088</c:v>
                </c:pt>
                <c:pt idx="113">
                  <c:v>44089</c:v>
                </c:pt>
                <c:pt idx="114">
                  <c:v>44090</c:v>
                </c:pt>
                <c:pt idx="115">
                  <c:v>44091</c:v>
                </c:pt>
                <c:pt idx="116">
                  <c:v>44092</c:v>
                </c:pt>
                <c:pt idx="117">
                  <c:v>44093</c:v>
                </c:pt>
                <c:pt idx="118">
                  <c:v>44094</c:v>
                </c:pt>
                <c:pt idx="119">
                  <c:v>44095</c:v>
                </c:pt>
                <c:pt idx="120">
                  <c:v>44096</c:v>
                </c:pt>
                <c:pt idx="121">
                  <c:v>44097</c:v>
                </c:pt>
                <c:pt idx="122">
                  <c:v>44098</c:v>
                </c:pt>
                <c:pt idx="123">
                  <c:v>44099</c:v>
                </c:pt>
                <c:pt idx="124">
                  <c:v>44100</c:v>
                </c:pt>
                <c:pt idx="125">
                  <c:v>44101</c:v>
                </c:pt>
                <c:pt idx="126">
                  <c:v>44102</c:v>
                </c:pt>
                <c:pt idx="127">
                  <c:v>44103</c:v>
                </c:pt>
                <c:pt idx="128">
                  <c:v>44104</c:v>
                </c:pt>
                <c:pt idx="129">
                  <c:v>44105</c:v>
                </c:pt>
                <c:pt idx="130">
                  <c:v>44106</c:v>
                </c:pt>
                <c:pt idx="131">
                  <c:v>44107</c:v>
                </c:pt>
                <c:pt idx="132">
                  <c:v>44108</c:v>
                </c:pt>
                <c:pt idx="133">
                  <c:v>44109</c:v>
                </c:pt>
                <c:pt idx="134">
                  <c:v>44110</c:v>
                </c:pt>
                <c:pt idx="135">
                  <c:v>44111</c:v>
                </c:pt>
                <c:pt idx="136">
                  <c:v>44112</c:v>
                </c:pt>
                <c:pt idx="137">
                  <c:v>44113</c:v>
                </c:pt>
                <c:pt idx="138">
                  <c:v>44114</c:v>
                </c:pt>
                <c:pt idx="139">
                  <c:v>44115</c:v>
                </c:pt>
                <c:pt idx="140">
                  <c:v>44116</c:v>
                </c:pt>
                <c:pt idx="141">
                  <c:v>44117</c:v>
                </c:pt>
                <c:pt idx="142">
                  <c:v>44118</c:v>
                </c:pt>
                <c:pt idx="143">
                  <c:v>44119</c:v>
                </c:pt>
                <c:pt idx="144">
                  <c:v>44120</c:v>
                </c:pt>
                <c:pt idx="145">
                  <c:v>44121</c:v>
                </c:pt>
                <c:pt idx="146">
                  <c:v>44122</c:v>
                </c:pt>
                <c:pt idx="147">
                  <c:v>44123</c:v>
                </c:pt>
                <c:pt idx="148">
                  <c:v>44124</c:v>
                </c:pt>
                <c:pt idx="149">
                  <c:v>44125</c:v>
                </c:pt>
                <c:pt idx="150">
                  <c:v>44126</c:v>
                </c:pt>
                <c:pt idx="151">
                  <c:v>44127</c:v>
                </c:pt>
                <c:pt idx="152">
                  <c:v>44128</c:v>
                </c:pt>
                <c:pt idx="153">
                  <c:v>44129</c:v>
                </c:pt>
                <c:pt idx="154">
                  <c:v>44130</c:v>
                </c:pt>
                <c:pt idx="155">
                  <c:v>44131</c:v>
                </c:pt>
                <c:pt idx="156">
                  <c:v>44132</c:v>
                </c:pt>
                <c:pt idx="157">
                  <c:v>44133</c:v>
                </c:pt>
                <c:pt idx="158">
                  <c:v>44134</c:v>
                </c:pt>
                <c:pt idx="159">
                  <c:v>44135</c:v>
                </c:pt>
                <c:pt idx="160">
                  <c:v>44136</c:v>
                </c:pt>
                <c:pt idx="161">
                  <c:v>44137</c:v>
                </c:pt>
                <c:pt idx="162">
                  <c:v>44138</c:v>
                </c:pt>
                <c:pt idx="163">
                  <c:v>44139</c:v>
                </c:pt>
                <c:pt idx="164">
                  <c:v>44140</c:v>
                </c:pt>
                <c:pt idx="165">
                  <c:v>44141</c:v>
                </c:pt>
                <c:pt idx="166">
                  <c:v>44142</c:v>
                </c:pt>
                <c:pt idx="167">
                  <c:v>44143</c:v>
                </c:pt>
                <c:pt idx="168">
                  <c:v>44144</c:v>
                </c:pt>
                <c:pt idx="169">
                  <c:v>44145</c:v>
                </c:pt>
                <c:pt idx="170">
                  <c:v>44146</c:v>
                </c:pt>
                <c:pt idx="171">
                  <c:v>44147</c:v>
                </c:pt>
                <c:pt idx="172">
                  <c:v>44148</c:v>
                </c:pt>
                <c:pt idx="173">
                  <c:v>44149</c:v>
                </c:pt>
                <c:pt idx="174">
                  <c:v>44150</c:v>
                </c:pt>
                <c:pt idx="175">
                  <c:v>44151</c:v>
                </c:pt>
                <c:pt idx="176">
                  <c:v>44152</c:v>
                </c:pt>
                <c:pt idx="177">
                  <c:v>44153</c:v>
                </c:pt>
                <c:pt idx="178">
                  <c:v>44154</c:v>
                </c:pt>
                <c:pt idx="179">
                  <c:v>44155</c:v>
                </c:pt>
                <c:pt idx="180">
                  <c:v>44156</c:v>
                </c:pt>
                <c:pt idx="181">
                  <c:v>44157</c:v>
                </c:pt>
                <c:pt idx="182">
                  <c:v>44158</c:v>
                </c:pt>
                <c:pt idx="183">
                  <c:v>44159</c:v>
                </c:pt>
                <c:pt idx="184">
                  <c:v>44160</c:v>
                </c:pt>
                <c:pt idx="185">
                  <c:v>44161</c:v>
                </c:pt>
                <c:pt idx="186">
                  <c:v>44162</c:v>
                </c:pt>
                <c:pt idx="187">
                  <c:v>44163</c:v>
                </c:pt>
                <c:pt idx="188">
                  <c:v>44164</c:v>
                </c:pt>
                <c:pt idx="189">
                  <c:v>44165</c:v>
                </c:pt>
                <c:pt idx="190">
                  <c:v>44166</c:v>
                </c:pt>
                <c:pt idx="191">
                  <c:v>44167</c:v>
                </c:pt>
                <c:pt idx="192">
                  <c:v>44168</c:v>
                </c:pt>
                <c:pt idx="193">
                  <c:v>44169</c:v>
                </c:pt>
                <c:pt idx="194">
                  <c:v>44170</c:v>
                </c:pt>
                <c:pt idx="195">
                  <c:v>44171</c:v>
                </c:pt>
                <c:pt idx="196">
                  <c:v>44172</c:v>
                </c:pt>
                <c:pt idx="197">
                  <c:v>44173</c:v>
                </c:pt>
                <c:pt idx="198">
                  <c:v>44174</c:v>
                </c:pt>
                <c:pt idx="199">
                  <c:v>44175</c:v>
                </c:pt>
                <c:pt idx="200">
                  <c:v>44176</c:v>
                </c:pt>
                <c:pt idx="201">
                  <c:v>44177</c:v>
                </c:pt>
                <c:pt idx="202">
                  <c:v>44178</c:v>
                </c:pt>
                <c:pt idx="203">
                  <c:v>44179</c:v>
                </c:pt>
                <c:pt idx="204">
                  <c:v>44180</c:v>
                </c:pt>
                <c:pt idx="205">
                  <c:v>44181</c:v>
                </c:pt>
                <c:pt idx="206">
                  <c:v>44182</c:v>
                </c:pt>
                <c:pt idx="207">
                  <c:v>44183</c:v>
                </c:pt>
                <c:pt idx="208">
                  <c:v>44184</c:v>
                </c:pt>
                <c:pt idx="209">
                  <c:v>44185</c:v>
                </c:pt>
                <c:pt idx="210">
                  <c:v>44186</c:v>
                </c:pt>
                <c:pt idx="211">
                  <c:v>44187</c:v>
                </c:pt>
                <c:pt idx="212">
                  <c:v>44188</c:v>
                </c:pt>
                <c:pt idx="213">
                  <c:v>44189</c:v>
                </c:pt>
                <c:pt idx="214">
                  <c:v>44190</c:v>
                </c:pt>
                <c:pt idx="215">
                  <c:v>44191</c:v>
                </c:pt>
                <c:pt idx="216">
                  <c:v>44192</c:v>
                </c:pt>
                <c:pt idx="217">
                  <c:v>44193</c:v>
                </c:pt>
                <c:pt idx="218">
                  <c:v>44194</c:v>
                </c:pt>
                <c:pt idx="219">
                  <c:v>44195</c:v>
                </c:pt>
                <c:pt idx="220">
                  <c:v>44196</c:v>
                </c:pt>
                <c:pt idx="221">
                  <c:v>44197</c:v>
                </c:pt>
                <c:pt idx="222">
                  <c:v>44198</c:v>
                </c:pt>
                <c:pt idx="223">
                  <c:v>44199</c:v>
                </c:pt>
                <c:pt idx="224">
                  <c:v>44200</c:v>
                </c:pt>
                <c:pt idx="225">
                  <c:v>44201</c:v>
                </c:pt>
                <c:pt idx="226">
                  <c:v>44202</c:v>
                </c:pt>
                <c:pt idx="227">
                  <c:v>44203</c:v>
                </c:pt>
                <c:pt idx="228">
                  <c:v>44204</c:v>
                </c:pt>
                <c:pt idx="229">
                  <c:v>44205</c:v>
                </c:pt>
                <c:pt idx="230">
                  <c:v>44206</c:v>
                </c:pt>
                <c:pt idx="231">
                  <c:v>44207</c:v>
                </c:pt>
                <c:pt idx="232">
                  <c:v>44208</c:v>
                </c:pt>
                <c:pt idx="233">
                  <c:v>44209</c:v>
                </c:pt>
                <c:pt idx="234">
                  <c:v>44210</c:v>
                </c:pt>
                <c:pt idx="235">
                  <c:v>44211</c:v>
                </c:pt>
                <c:pt idx="236">
                  <c:v>44212</c:v>
                </c:pt>
                <c:pt idx="237">
                  <c:v>44213</c:v>
                </c:pt>
                <c:pt idx="238">
                  <c:v>44214</c:v>
                </c:pt>
                <c:pt idx="239">
                  <c:v>44215</c:v>
                </c:pt>
                <c:pt idx="240">
                  <c:v>44216</c:v>
                </c:pt>
                <c:pt idx="241">
                  <c:v>44217</c:v>
                </c:pt>
                <c:pt idx="242">
                  <c:v>44218</c:v>
                </c:pt>
                <c:pt idx="243">
                  <c:v>44219</c:v>
                </c:pt>
                <c:pt idx="244">
                  <c:v>44220</c:v>
                </c:pt>
                <c:pt idx="245">
                  <c:v>44221</c:v>
                </c:pt>
                <c:pt idx="246">
                  <c:v>44222</c:v>
                </c:pt>
                <c:pt idx="247">
                  <c:v>44223</c:v>
                </c:pt>
                <c:pt idx="248">
                  <c:v>44224</c:v>
                </c:pt>
                <c:pt idx="249">
                  <c:v>44225</c:v>
                </c:pt>
                <c:pt idx="250">
                  <c:v>44226</c:v>
                </c:pt>
                <c:pt idx="251">
                  <c:v>44227</c:v>
                </c:pt>
                <c:pt idx="252">
                  <c:v>44228</c:v>
                </c:pt>
              </c:numCache>
              <c:extLst xmlns:c16r2="http://schemas.microsoft.com/office/drawing/2015/06/chart" xmlns:c15="http://schemas.microsoft.com/office/drawing/2012/chart"/>
            </c:numRef>
          </c:xVal>
          <c:yVal>
            <c:numRef>
              <c:f>'Combined rate'!$G$26:$IY$26</c:f>
              <c:numCache>
                <c:formatCode>0.00%</c:formatCode>
                <c:ptCount val="253"/>
                <c:pt idx="0">
                  <c:v>0.32438372623865364</c:v>
                </c:pt>
                <c:pt idx="1">
                  <c:v>0.40312231388911951</c:v>
                </c:pt>
                <c:pt idx="2">
                  <c:v>0.41143564201111166</c:v>
                </c:pt>
                <c:pt idx="3">
                  <c:v>0.36611561047432495</c:v>
                </c:pt>
                <c:pt idx="4">
                  <c:v>0.41733359356445338</c:v>
                </c:pt>
                <c:pt idx="5">
                  <c:v>0.44294258510951684</c:v>
                </c:pt>
                <c:pt idx="6">
                  <c:v>0.45574708088204918</c:v>
                </c:pt>
                <c:pt idx="7">
                  <c:v>0.4685515766545808</c:v>
                </c:pt>
                <c:pt idx="8">
                  <c:v>0.6173534616057762</c:v>
                </c:pt>
                <c:pt idx="9">
                  <c:v>0.70738959857110284</c:v>
                </c:pt>
                <c:pt idx="10">
                  <c:v>0.71712651364315416</c:v>
                </c:pt>
                <c:pt idx="11">
                  <c:v>0.73276564250492404</c:v>
                </c:pt>
                <c:pt idx="12">
                  <c:v>0.73276564250492404</c:v>
                </c:pt>
                <c:pt idx="13">
                  <c:v>0.73254203902727755</c:v>
                </c:pt>
                <c:pt idx="14">
                  <c:v>0.73231843554963161</c:v>
                </c:pt>
                <c:pt idx="15">
                  <c:v>0.73231843554963161</c:v>
                </c:pt>
                <c:pt idx="16">
                  <c:v>0.79818179069691653</c:v>
                </c:pt>
                <c:pt idx="17">
                  <c:v>0.9652883415674528</c:v>
                </c:pt>
                <c:pt idx="18">
                  <c:v>0.96299263548170677</c:v>
                </c:pt>
                <c:pt idx="19">
                  <c:v>0.90559670469467424</c:v>
                </c:pt>
                <c:pt idx="20">
                  <c:v>0.87689873930115814</c:v>
                </c:pt>
                <c:pt idx="21">
                  <c:v>0.84820077390764181</c:v>
                </c:pt>
                <c:pt idx="22">
                  <c:v>0.8958355276617056</c:v>
                </c:pt>
                <c:pt idx="23">
                  <c:v>0.9434702814157695</c:v>
                </c:pt>
                <c:pt idx="24">
                  <c:v>0.94108605195910688</c:v>
                </c:pt>
                <c:pt idx="25">
                  <c:v>0.95288523370915679</c:v>
                </c:pt>
                <c:pt idx="26">
                  <c:v>0.95878482458418224</c:v>
                </c:pt>
                <c:pt idx="27">
                  <c:v>0.96173462002169385</c:v>
                </c:pt>
                <c:pt idx="28">
                  <c:v>0.96468441545920636</c:v>
                </c:pt>
                <c:pt idx="29">
                  <c:v>1.1011572898922048</c:v>
                </c:pt>
                <c:pt idx="30">
                  <c:v>1.099396658403992</c:v>
                </c:pt>
                <c:pt idx="31">
                  <c:v>1.1185557387848395</c:v>
                </c:pt>
                <c:pt idx="32">
                  <c:v>1.091912827053914</c:v>
                </c:pt>
                <c:pt idx="33">
                  <c:v>1.108538171840552</c:v>
                </c:pt>
                <c:pt idx="34">
                  <c:v>1.1168508442338705</c:v>
                </c:pt>
                <c:pt idx="35">
                  <c:v>1.1251635166271898</c:v>
                </c:pt>
                <c:pt idx="36">
                  <c:v>1.2182592835828314</c:v>
                </c:pt>
                <c:pt idx="37">
                  <c:v>1.2235451124195078</c:v>
                </c:pt>
                <c:pt idx="38">
                  <c:v>1.1840322140147896</c:v>
                </c:pt>
                <c:pt idx="39">
                  <c:v>1.2035040769728711</c:v>
                </c:pt>
                <c:pt idx="40">
                  <c:v>1.2365567364867662</c:v>
                </c:pt>
                <c:pt idx="41">
                  <c:v>1.2435363124869616</c:v>
                </c:pt>
                <c:pt idx="42">
                  <c:v>1.2401488181599218</c:v>
                </c:pt>
                <c:pt idx="43">
                  <c:v>1.2601013302356425</c:v>
                </c:pt>
                <c:pt idx="44">
                  <c:v>1.2669156626101297</c:v>
                </c:pt>
                <c:pt idx="45">
                  <c:v>1.2669176297961502</c:v>
                </c:pt>
                <c:pt idx="46">
                  <c:v>1.2423540336887324</c:v>
                </c:pt>
                <c:pt idx="47">
                  <c:v>1.2057348659199463</c:v>
                </c:pt>
                <c:pt idx="48">
                  <c:v>1.2253713167750642</c:v>
                </c:pt>
                <c:pt idx="49">
                  <c:v>1.2253713167750642</c:v>
                </c:pt>
                <c:pt idx="50">
                  <c:v>1.1535244374825526</c:v>
                </c:pt>
                <c:pt idx="51">
                  <c:v>1.1696120847569624</c:v>
                </c:pt>
                <c:pt idx="52">
                  <c:v>1.1658527922720758</c:v>
                </c:pt>
                <c:pt idx="53">
                  <c:v>1.2513073529960113</c:v>
                </c:pt>
                <c:pt idx="54">
                  <c:v>1.1425658998918657</c:v>
                </c:pt>
                <c:pt idx="55">
                  <c:v>1.1321253879532027</c:v>
                </c:pt>
                <c:pt idx="56">
                  <c:v>1.1403521598903004</c:v>
                </c:pt>
                <c:pt idx="57">
                  <c:v>1.130804750404875</c:v>
                </c:pt>
                <c:pt idx="58">
                  <c:v>1.0974432426857863</c:v>
                </c:pt>
                <c:pt idx="59">
                  <c:v>1.0720121175433956</c:v>
                </c:pt>
                <c:pt idx="60">
                  <c:v>1.1164901934634728</c:v>
                </c:pt>
                <c:pt idx="61">
                  <c:v>1.1384020228154612</c:v>
                </c:pt>
                <c:pt idx="62">
                  <c:v>1.1605112264981567</c:v>
                </c:pt>
                <c:pt idx="63">
                  <c:v>1.1349417426056683</c:v>
                </c:pt>
                <c:pt idx="64">
                  <c:v>1.137158761250602</c:v>
                </c:pt>
                <c:pt idx="65">
                  <c:v>1.1457179876251371</c:v>
                </c:pt>
                <c:pt idx="66">
                  <c:v>1.125214007735045</c:v>
                </c:pt>
                <c:pt idx="67">
                  <c:v>1.1449914402549544</c:v>
                </c:pt>
                <c:pt idx="68">
                  <c:v>1.143854406735193</c:v>
                </c:pt>
                <c:pt idx="69">
                  <c:v>1.022296736708477</c:v>
                </c:pt>
                <c:pt idx="70">
                  <c:v>1.015832563445612</c:v>
                </c:pt>
                <c:pt idx="71">
                  <c:v>1.0162502626105998</c:v>
                </c:pt>
                <c:pt idx="72">
                  <c:v>1.1288572362447307</c:v>
                </c:pt>
                <c:pt idx="73">
                  <c:v>1.1676311284344714</c:v>
                </c:pt>
                <c:pt idx="74">
                  <c:v>1.2208356415408146</c:v>
                </c:pt>
                <c:pt idx="75">
                  <c:v>1.1929193047260502</c:v>
                </c:pt>
                <c:pt idx="76">
                  <c:v>1.1392905351679852</c:v>
                </c:pt>
                <c:pt idx="77">
                  <c:v>1.1467087936507192</c:v>
                </c:pt>
                <c:pt idx="78">
                  <c:v>1.1337161857149911</c:v>
                </c:pt>
                <c:pt idx="79">
                  <c:v>1.1530162477606298</c:v>
                </c:pt>
                <c:pt idx="80">
                  <c:v>1.1251058125039264</c:v>
                </c:pt>
                <c:pt idx="81">
                  <c:v>1.1242750042746661</c:v>
                </c:pt>
                <c:pt idx="82">
                  <c:v>1.1246323764016961</c:v>
                </c:pt>
                <c:pt idx="83">
                  <c:v>1.0839811330198688</c:v>
                </c:pt>
                <c:pt idx="84">
                  <c:v>1.0800211875609076</c:v>
                </c:pt>
                <c:pt idx="85">
                  <c:v>1.1181229578603631</c:v>
                </c:pt>
                <c:pt idx="86">
                  <c:v>1.0946544286376063</c:v>
                </c:pt>
                <c:pt idx="87">
                  <c:v>1.086834864206722</c:v>
                </c:pt>
                <c:pt idx="88">
                  <c:v>1.163968883793256</c:v>
                </c:pt>
                <c:pt idx="89">
                  <c:v>1.1224802748954343</c:v>
                </c:pt>
                <c:pt idx="90">
                  <c:v>1.1198960481933702</c:v>
                </c:pt>
                <c:pt idx="91">
                  <c:v>1.1311450735863959</c:v>
                </c:pt>
                <c:pt idx="92">
                  <c:v>0.92107321284542909</c:v>
                </c:pt>
                <c:pt idx="93">
                  <c:v>0.91210087740661983</c:v>
                </c:pt>
                <c:pt idx="94">
                  <c:v>0.83139248082111217</c:v>
                </c:pt>
                <c:pt idx="95">
                  <c:v>0.81859790294476553</c:v>
                </c:pt>
                <c:pt idx="96">
                  <c:v>0.79859948986190377</c:v>
                </c:pt>
                <c:pt idx="97">
                  <c:v>0.74048160180540401</c:v>
                </c:pt>
                <c:pt idx="98">
                  <c:v>0.74181141955515961</c:v>
                </c:pt>
                <c:pt idx="99">
                  <c:v>0.77226739352219331</c:v>
                </c:pt>
                <c:pt idx="100">
                  <c:v>0.75140735296241867</c:v>
                </c:pt>
                <c:pt idx="101">
                  <c:v>0.74447433369803762</c:v>
                </c:pt>
                <c:pt idx="102">
                  <c:v>0.7277670228272185</c:v>
                </c:pt>
                <c:pt idx="103">
                  <c:v>0.78844225271017121</c:v>
                </c:pt>
                <c:pt idx="104">
                  <c:v>0.71815666338914252</c:v>
                </c:pt>
                <c:pt idx="105">
                  <c:v>0.57041771461760893</c:v>
                </c:pt>
                <c:pt idx="106">
                  <c:v>0.61812131988238495</c:v>
                </c:pt>
                <c:pt idx="107">
                  <c:v>0.60665393684110092</c:v>
                </c:pt>
                <c:pt idx="108">
                  <c:v>0.57489240708522882</c:v>
                </c:pt>
                <c:pt idx="109">
                  <c:v>0.52861107731316548</c:v>
                </c:pt>
                <c:pt idx="110">
                  <c:v>0.52242493300784287</c:v>
                </c:pt>
                <c:pt idx="111">
                  <c:v>0.51846367609153443</c:v>
                </c:pt>
                <c:pt idx="112">
                  <c:v>0.52703470558219268</c:v>
                </c:pt>
                <c:pt idx="113">
                  <c:v>0.52280853428181084</c:v>
                </c:pt>
                <c:pt idx="114">
                  <c:v>0.5395624018884444</c:v>
                </c:pt>
                <c:pt idx="115">
                  <c:v>0.84948469065025634</c:v>
                </c:pt>
                <c:pt idx="116">
                  <c:v>0.77244771890739217</c:v>
                </c:pt>
                <c:pt idx="117">
                  <c:v>0.78442722604264004</c:v>
                </c:pt>
                <c:pt idx="118">
                  <c:v>0.81522155600517476</c:v>
                </c:pt>
                <c:pt idx="119">
                  <c:v>0.80489579658436583</c:v>
                </c:pt>
                <c:pt idx="120">
                  <c:v>0.85963733770127437</c:v>
                </c:pt>
                <c:pt idx="121">
                  <c:v>0.66252595419103655</c:v>
                </c:pt>
                <c:pt idx="122">
                  <c:v>0.70515618670933355</c:v>
                </c:pt>
                <c:pt idx="123">
                  <c:v>0.63798006275780239</c:v>
                </c:pt>
                <c:pt idx="124">
                  <c:v>0.60070713350158733</c:v>
                </c:pt>
                <c:pt idx="125">
                  <c:v>0.59604883700540245</c:v>
                </c:pt>
                <c:pt idx="126">
                  <c:v>0.59745799792464482</c:v>
                </c:pt>
                <c:pt idx="127">
                  <c:v>0.62240191666266342</c:v>
                </c:pt>
                <c:pt idx="128">
                  <c:v>0.62232650786521626</c:v>
                </c:pt>
                <c:pt idx="129">
                  <c:v>0.62114029469494658</c:v>
                </c:pt>
                <c:pt idx="130">
                  <c:v>0.52188133393755298</c:v>
                </c:pt>
                <c:pt idx="131">
                  <c:v>0.52173182780000682</c:v>
                </c:pt>
                <c:pt idx="132">
                  <c:v>0.52261640578049007</c:v>
                </c:pt>
                <c:pt idx="133">
                  <c:v>0.52016135762709514</c:v>
                </c:pt>
                <c:pt idx="134">
                  <c:v>0.48585101051752522</c:v>
                </c:pt>
                <c:pt idx="135">
                  <c:v>0.44590598691700384</c:v>
                </c:pt>
                <c:pt idx="136">
                  <c:v>0.4423630848943565</c:v>
                </c:pt>
                <c:pt idx="137">
                  <c:v>0.44037425982778405</c:v>
                </c:pt>
                <c:pt idx="138">
                  <c:v>0.39488767320794155</c:v>
                </c:pt>
                <c:pt idx="139">
                  <c:v>0.38435732644101583</c:v>
                </c:pt>
                <c:pt idx="140">
                  <c:v>0.38188391788476422</c:v>
                </c:pt>
                <c:pt idx="141">
                  <c:v>0.34599719904422149</c:v>
                </c:pt>
                <c:pt idx="142">
                  <c:v>0.45818188341265131</c:v>
                </c:pt>
                <c:pt idx="143">
                  <c:v>0.45974579629882811</c:v>
                </c:pt>
                <c:pt idx="144">
                  <c:v>0.46867616510253701</c:v>
                </c:pt>
                <c:pt idx="145">
                  <c:v>0.3214008165031319</c:v>
                </c:pt>
                <c:pt idx="146">
                  <c:v>0.32043689535316139</c:v>
                </c:pt>
                <c:pt idx="147">
                  <c:v>0.29990668631613165</c:v>
                </c:pt>
                <c:pt idx="148">
                  <c:v>0.29695525155693564</c:v>
                </c:pt>
                <c:pt idx="149">
                  <c:v>0.44534665035855159</c:v>
                </c:pt>
                <c:pt idx="150">
                  <c:v>0.4714380942751058</c:v>
                </c:pt>
                <c:pt idx="151">
                  <c:v>0.43083275190042114</c:v>
                </c:pt>
                <c:pt idx="152">
                  <c:v>0.42833639284059882</c:v>
                </c:pt>
                <c:pt idx="153">
                  <c:v>0.3388635268057647</c:v>
                </c:pt>
                <c:pt idx="154">
                  <c:v>0.48499069449795956</c:v>
                </c:pt>
                <c:pt idx="155">
                  <c:v>0.44081556522501525</c:v>
                </c:pt>
                <c:pt idx="156">
                  <c:v>0.50898511811682245</c:v>
                </c:pt>
                <c:pt idx="157">
                  <c:v>0.45821598130367047</c:v>
                </c:pt>
                <c:pt idx="158">
                  <c:v>0.47236529461936339</c:v>
                </c:pt>
                <c:pt idx="159">
                  <c:v>0.41360020236216838</c:v>
                </c:pt>
                <c:pt idx="160">
                  <c:v>0.4250957817364111</c:v>
                </c:pt>
                <c:pt idx="161">
                  <c:v>0.4291776927286336</c:v>
                </c:pt>
                <c:pt idx="162">
                  <c:v>0.41824997438559858</c:v>
                </c:pt>
                <c:pt idx="163">
                  <c:v>0.42083879118837703</c:v>
                </c:pt>
                <c:pt idx="164">
                  <c:v>0.4256708557830266</c:v>
                </c:pt>
                <c:pt idx="165">
                  <c:v>0.40158004004916625</c:v>
                </c:pt>
                <c:pt idx="166">
                  <c:v>0.40449737691734305</c:v>
                </c:pt>
                <c:pt idx="167">
                  <c:v>0.34947911830023859</c:v>
                </c:pt>
                <c:pt idx="168">
                  <c:v>0.35054205447989989</c:v>
                </c:pt>
                <c:pt idx="169">
                  <c:v>0.38405175687918847</c:v>
                </c:pt>
                <c:pt idx="170">
                  <c:v>0.4251429942008994</c:v>
                </c:pt>
                <c:pt idx="171">
                  <c:v>0.43665299960595771</c:v>
                </c:pt>
                <c:pt idx="172">
                  <c:v>0.37027489745001491</c:v>
                </c:pt>
                <c:pt idx="173">
                  <c:v>0.37252470252861997</c:v>
                </c:pt>
                <c:pt idx="174">
                  <c:v>0.38037377474981016</c:v>
                </c:pt>
                <c:pt idx="175">
                  <c:v>0.40733799353072597</c:v>
                </c:pt>
                <c:pt idx="176">
                  <c:v>0.41853783927324301</c:v>
                </c:pt>
                <c:pt idx="177">
                  <c:v>0.46548145500549098</c:v>
                </c:pt>
                <c:pt idx="178">
                  <c:v>0.45058395527339246</c:v>
                </c:pt>
                <c:pt idx="179">
                  <c:v>0.4684925610739703</c:v>
                </c:pt>
                <c:pt idx="180">
                  <c:v>0.51783089792165549</c:v>
                </c:pt>
                <c:pt idx="181">
                  <c:v>0.57676385671925368</c:v>
                </c:pt>
                <c:pt idx="182">
                  <c:v>0.57788384129350578</c:v>
                </c:pt>
                <c:pt idx="183">
                  <c:v>0.60274644967601554</c:v>
                </c:pt>
                <c:pt idx="184">
                  <c:v>0.59309150068814542</c:v>
                </c:pt>
                <c:pt idx="185">
                  <c:v>0.70782828105363993</c:v>
                </c:pt>
                <c:pt idx="186">
                  <c:v>0.75385125372836526</c:v>
                </c:pt>
                <c:pt idx="187">
                  <c:v>0.65109922632750661</c:v>
                </c:pt>
                <c:pt idx="188">
                  <c:v>0.67216254277604992</c:v>
                </c:pt>
                <c:pt idx="189">
                  <c:v>0.73683706183837172</c:v>
                </c:pt>
                <c:pt idx="190">
                  <c:v>0.80942098015984032</c:v>
                </c:pt>
                <c:pt idx="191">
                  <c:v>0.86295598051760269</c:v>
                </c:pt>
                <c:pt idx="192">
                  <c:v>0.87607711127332644</c:v>
                </c:pt>
                <c:pt idx="193">
                  <c:v>0.91935323653497092</c:v>
                </c:pt>
                <c:pt idx="194">
                  <c:v>1.1231451837703121</c:v>
                </c:pt>
                <c:pt idx="195">
                  <c:v>0.92333154239678861</c:v>
                </c:pt>
                <c:pt idx="196">
                  <c:v>1.0286455017248151</c:v>
                </c:pt>
                <c:pt idx="197">
                  <c:v>1.0458931330225558</c:v>
                </c:pt>
                <c:pt idx="198">
                  <c:v>0.99042438880679184</c:v>
                </c:pt>
                <c:pt idx="199">
                  <c:v>1.0770756543597726</c:v>
                </c:pt>
                <c:pt idx="200">
                  <c:v>1.0955291706879875</c:v>
                </c:pt>
                <c:pt idx="201">
                  <c:v>1.1481402493448596</c:v>
                </c:pt>
                <c:pt idx="202">
                  <c:v>1.2737673715190028</c:v>
                </c:pt>
                <c:pt idx="203">
                  <c:v>1.3721129022342815</c:v>
                </c:pt>
                <c:pt idx="204">
                  <c:v>1.3673542792510585</c:v>
                </c:pt>
                <c:pt idx="205">
                  <c:v>1.443376183007423</c:v>
                </c:pt>
                <c:pt idx="206">
                  <c:v>1.7069128811380923</c:v>
                </c:pt>
                <c:pt idx="207">
                  <c:v>1.7199743405845322</c:v>
                </c:pt>
                <c:pt idx="208">
                  <c:v>1.9412867022457705</c:v>
                </c:pt>
                <c:pt idx="209">
                  <c:v>1.9210869804601596</c:v>
                </c:pt>
                <c:pt idx="210">
                  <c:v>1.9450612404223133</c:v>
                </c:pt>
                <c:pt idx="211">
                  <c:v>1.9721059498978959</c:v>
                </c:pt>
                <c:pt idx="212">
                  <c:v>2.2136852455337719</c:v>
                </c:pt>
                <c:pt idx="213">
                  <c:v>2.049457671404014</c:v>
                </c:pt>
                <c:pt idx="214">
                  <c:v>2.0783097330357907</c:v>
                </c:pt>
                <c:pt idx="215">
                  <c:v>2.0999409105155427</c:v>
                </c:pt>
                <c:pt idx="216">
                  <c:v>2.5571142859158411</c:v>
                </c:pt>
                <c:pt idx="217">
                  <c:v>2.449591176686964</c:v>
                </c:pt>
                <c:pt idx="218">
                  <c:v>2.7864488321680598</c:v>
                </c:pt>
                <c:pt idx="219">
                  <c:v>2.6961077813695797</c:v>
                </c:pt>
                <c:pt idx="220">
                  <c:v>3.0055808959900787</c:v>
                </c:pt>
                <c:pt idx="221">
                  <c:v>2.9154191170731396</c:v>
                </c:pt>
                <c:pt idx="222">
                  <c:v>3.0241853868831492</c:v>
                </c:pt>
                <c:pt idx="223">
                  <c:v>3.0566652080071721</c:v>
                </c:pt>
                <c:pt idx="224">
                  <c:v>3.2420252258288147</c:v>
                </c:pt>
                <c:pt idx="225">
                  <c:v>3.1730228052393219</c:v>
                </c:pt>
                <c:pt idx="226">
                  <c:v>3.1747998426600663</c:v>
                </c:pt>
                <c:pt idx="227">
                  <c:v>3.1980117098505736</c:v>
                </c:pt>
                <c:pt idx="228">
                  <c:v>3.0822561701742384</c:v>
                </c:pt>
                <c:pt idx="229">
                  <c:v>3.1007509160285975</c:v>
                </c:pt>
                <c:pt idx="230">
                  <c:v>3.1559689949283269</c:v>
                </c:pt>
                <c:pt idx="231">
                  <c:v>2.7510143972220922</c:v>
                </c:pt>
                <c:pt idx="232">
                  <c:v>3.0015204877035515</c:v>
                </c:pt>
                <c:pt idx="233">
                  <c:v>3.0195924618290286</c:v>
                </c:pt>
                <c:pt idx="234">
                  <c:v>2.9817663650762678</c:v>
                </c:pt>
                <c:pt idx="235">
                  <c:v>2.7840563067818813</c:v>
                </c:pt>
                <c:pt idx="236">
                  <c:v>2.5762135496701704</c:v>
                </c:pt>
                <c:pt idx="237">
                  <c:v>2.7737361455015472</c:v>
                </c:pt>
                <c:pt idx="238">
                  <c:v>2.7198807905419611</c:v>
                </c:pt>
                <c:pt idx="239">
                  <c:v>2.3753910225436532</c:v>
                </c:pt>
                <c:pt idx="240">
                  <c:v>2.4088911765191749</c:v>
                </c:pt>
                <c:pt idx="241">
                  <c:v>2.4458491631484249</c:v>
                </c:pt>
                <c:pt idx="242">
                  <c:v>2.3674918855082279</c:v>
                </c:pt>
                <c:pt idx="243">
                  <c:v>2.4458804081239141</c:v>
                </c:pt>
                <c:pt idx="244">
                  <c:v>2.4090612431097269</c:v>
                </c:pt>
                <c:pt idx="245">
                  <c:v>2.4378569120755866</c:v>
                </c:pt>
                <c:pt idx="246">
                  <c:v>1.8936952265841538</c:v>
                </c:pt>
                <c:pt idx="247">
                  <c:v>1.8714312709345238</c:v>
                </c:pt>
                <c:pt idx="248">
                  <c:v>1.8557757488559179</c:v>
                </c:pt>
                <c:pt idx="249">
                  <c:v>1.7532689639789292</c:v>
                </c:pt>
                <c:pt idx="250">
                  <c:v>1.7083207305999875</c:v>
                </c:pt>
                <c:pt idx="251">
                  <c:v>1.5778005610645645</c:v>
                </c:pt>
                <c:pt idx="252">
                  <c:v>1.5747907664534313</c:v>
                </c:pt>
              </c:numCache>
            </c:numRef>
          </c:yVal>
          <c:smooth val="1"/>
          <c:extLst xmlns:c16r2="http://schemas.microsoft.com/office/drawing/2015/06/chart" xmlns:c15="http://schemas.microsoft.com/office/drawing/2012/chart">
            <c:ext xmlns:c16="http://schemas.microsoft.com/office/drawing/2014/chart" uri="{C3380CC4-5D6E-409C-BE32-E72D297353CC}">
              <c16:uniqueId val="{00000001-B1BA-4027-B324-9E28FECAA0B8}"/>
            </c:ext>
          </c:extLst>
        </c:ser>
        <c:dLbls/>
        <c:axId val="126186240"/>
        <c:axId val="126069760"/>
      </c:scatterChart>
      <c:valAx>
        <c:axId val="125271040"/>
        <c:scaling>
          <c:orientation val="minMax"/>
          <c:max val="44240"/>
          <c:min val="43973"/>
        </c:scaling>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sz="2000">
                    <a:solidFill>
                      <a:schemeClr val="tx1"/>
                    </a:solidFill>
                  </a:rPr>
                  <a:t>Total Bulk O</a:t>
                </a:r>
                <a:r>
                  <a:rPr lang="en-GB" sz="2000" baseline="-25000">
                    <a:solidFill>
                      <a:schemeClr val="tx1"/>
                    </a:solidFill>
                  </a:rPr>
                  <a:t>2</a:t>
                </a:r>
                <a:r>
                  <a:rPr lang="en-GB" sz="2000">
                    <a:solidFill>
                      <a:schemeClr val="tx1"/>
                    </a:solidFill>
                  </a:rPr>
                  <a:t> Consumption /day</a:t>
                </a:r>
              </a:p>
            </c:rich>
          </c:tx>
          <c:layout>
            <c:manualLayout>
              <c:xMode val="edge"/>
              <c:yMode val="edge"/>
              <c:x val="0.36963556749023307"/>
              <c:y val="6.6641528761434227E-2"/>
            </c:manualLayout>
          </c:layout>
          <c:spPr>
            <a:noFill/>
            <a:ln>
              <a:noFill/>
            </a:ln>
            <a:effectLst/>
          </c:spPr>
        </c:title>
        <c:numFmt formatCode="dd\ mmm\ yy" sourceLinked="1"/>
        <c:tickLblPos val="nextTo"/>
        <c:spPr>
          <a:noFill/>
          <a:ln w="9525" cap="flat" cmpd="sng" algn="ctr">
            <a:solidFill>
              <a:schemeClr val="tx1">
                <a:lumMod val="25000"/>
                <a:lumOff val="7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6067840"/>
        <c:crosses val="autoZero"/>
        <c:crossBetween val="midCat"/>
      </c:valAx>
      <c:valAx>
        <c:axId val="126067840"/>
        <c:scaling>
          <c:orientation val="minMax"/>
          <c:max val="61"/>
          <c:min val="12.2"/>
        </c:scaling>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800">
                    <a:solidFill>
                      <a:srgbClr val="002060"/>
                    </a:solidFill>
                  </a:rPr>
                  <a:t>Tons of Oxygen/day</a:t>
                </a:r>
              </a:p>
            </c:rich>
          </c:tx>
          <c:layout>
            <c:manualLayout>
              <c:xMode val="edge"/>
              <c:yMode val="edge"/>
              <c:x val="2.2089397240066068E-2"/>
              <c:y val="0.3060562252636273"/>
            </c:manualLayout>
          </c:layout>
          <c:spPr>
            <a:noFill/>
            <a:ln>
              <a:solidFill>
                <a:srgbClr val="002060"/>
              </a:solidFill>
            </a:ln>
            <a:effectLst/>
          </c:spPr>
        </c:title>
        <c:numFmt formatCode="0" sourceLinked="0"/>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rgbClr val="002060"/>
                </a:solidFill>
                <a:latin typeface="+mn-lt"/>
                <a:ea typeface="+mn-ea"/>
                <a:cs typeface="+mn-cs"/>
              </a:defRPr>
            </a:pPr>
            <a:endParaRPr lang="en-US"/>
          </a:p>
        </c:txPr>
        <c:crossAx val="125271040"/>
        <c:crosses val="autoZero"/>
        <c:crossBetween val="midCat"/>
      </c:valAx>
      <c:valAx>
        <c:axId val="126069760"/>
        <c:scaling>
          <c:orientation val="minMax"/>
          <c:max val="4"/>
          <c:min val="0"/>
        </c:scaling>
        <c:axPos val="r"/>
        <c:numFmt formatCode="0%" sourceLinked="0"/>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6186240"/>
        <c:crosses val="max"/>
        <c:crossBetween val="midCat"/>
      </c:valAx>
      <c:valAx>
        <c:axId val="126186240"/>
        <c:scaling>
          <c:orientation val="minMax"/>
        </c:scaling>
        <c:delete val="1"/>
        <c:axPos val="b"/>
        <c:numFmt formatCode="dd\ mmm\ yy" sourceLinked="1"/>
        <c:tickLblPos val="none"/>
        <c:crossAx val="126069760"/>
        <c:crosses val="autoZero"/>
        <c:crossBetween val="midCat"/>
      </c:valAx>
      <c:spPr>
        <a:noFill/>
        <a:ln>
          <a:noFill/>
        </a:ln>
        <a:effectLst/>
      </c:spPr>
    </c:plotArea>
    <c:legend>
      <c:legendPos val="r"/>
      <c:legendEntry>
        <c:idx val="1"/>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66342948964475745"/>
          <c:y val="0.15404458656032688"/>
          <c:w val="0.15749364998730003"/>
          <c:h val="0.17253544111827171"/>
        </c:manualLayout>
      </c:layout>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2"/>
  <c:userShapes r:id="rId3"/>
</c:chartSpace>
</file>

<file path=ppt/charts/chart3.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layout/>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Century Gothic" panose="020B0502020202020204" pitchFamily="34" charset="0"/>
              <a:ea typeface="+mn-ea"/>
              <a:cs typeface="+mn-cs"/>
            </a:defRPr>
          </a:pPr>
          <a:endParaRPr lang="en-US"/>
        </a:p>
      </c:txPr>
    </c:title>
    <c:plotArea>
      <c:layout/>
      <c:lineChart>
        <c:grouping val="standard"/>
        <c:ser>
          <c:idx val="0"/>
          <c:order val="0"/>
          <c:tx>
            <c:strRef>
              <c:f>'Applicants per day'!$B$1</c:f>
              <c:strCache>
                <c:ptCount val="1"/>
                <c:pt idx="0">
                  <c:v>Number of new entries on the Recruitment Drive</c:v>
                </c:pt>
              </c:strCache>
            </c:strRef>
          </c:tx>
          <c:spPr>
            <a:ln w="31750" cap="rnd">
              <a:solidFill>
                <a:schemeClr val="accent1"/>
              </a:solidFill>
              <a:round/>
            </a:ln>
            <a:effectLst/>
          </c:spPr>
          <c:marker>
            <c:symbol val="circle"/>
            <c:size val="17"/>
            <c:spPr>
              <a:solidFill>
                <a:schemeClr val="accent1"/>
              </a:solidFill>
              <a:ln>
                <a:noFill/>
              </a:ln>
              <a:effectLst/>
            </c:spPr>
          </c:marker>
          <c:dLbls>
            <c:spPr>
              <a:noFill/>
              <a:ln>
                <a:noFill/>
              </a:ln>
              <a:effectLst/>
            </c:spPr>
            <c:txPr>
              <a:bodyPr rot="0" spcFirstLastPara="1" vertOverflow="ellipsis" vert="horz" wrap="square" anchor="ctr" anchorCtr="1"/>
              <a:lstStyle/>
              <a:p>
                <a:pPr>
                  <a:defRPr sz="900" b="1" i="0" u="none" strike="noStrike" kern="1200" baseline="0">
                    <a:solidFill>
                      <a:schemeClr val="lt1"/>
                    </a:solidFill>
                    <a:latin typeface="Century Gothic" panose="020B0502020202020204" pitchFamily="34" charset="0"/>
                    <a:ea typeface="+mn-ea"/>
                    <a:cs typeface="+mn-cs"/>
                  </a:defRPr>
                </a:pPr>
                <a:endParaRPr lang="en-US"/>
              </a:p>
            </c:txPr>
            <c:dLblPos val="ctr"/>
            <c:showVal val="1"/>
            <c:extLst xmlns:c16r2="http://schemas.microsoft.com/office/drawing/2015/06/char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Applicants per day'!$A$2:$A$31</c:f>
              <c:numCache>
                <c:formatCode>yyyy\/mm\/dd</c:formatCode>
                <c:ptCount val="30"/>
                <c:pt idx="0">
                  <c:v>44187</c:v>
                </c:pt>
                <c:pt idx="1">
                  <c:v>44188</c:v>
                </c:pt>
                <c:pt idx="2">
                  <c:v>44189</c:v>
                </c:pt>
                <c:pt idx="3">
                  <c:v>44190</c:v>
                </c:pt>
                <c:pt idx="4">
                  <c:v>44192</c:v>
                </c:pt>
                <c:pt idx="5">
                  <c:v>44193</c:v>
                </c:pt>
                <c:pt idx="6">
                  <c:v>44194</c:v>
                </c:pt>
                <c:pt idx="7">
                  <c:v>44195</c:v>
                </c:pt>
                <c:pt idx="8">
                  <c:v>44199</c:v>
                </c:pt>
                <c:pt idx="9">
                  <c:v>44200</c:v>
                </c:pt>
                <c:pt idx="10">
                  <c:v>44201</c:v>
                </c:pt>
                <c:pt idx="11">
                  <c:v>44202</c:v>
                </c:pt>
                <c:pt idx="12">
                  <c:v>44203</c:v>
                </c:pt>
                <c:pt idx="13">
                  <c:v>44206</c:v>
                </c:pt>
                <c:pt idx="14">
                  <c:v>44207</c:v>
                </c:pt>
                <c:pt idx="15">
                  <c:v>44208</c:v>
                </c:pt>
                <c:pt idx="16">
                  <c:v>44209</c:v>
                </c:pt>
                <c:pt idx="17">
                  <c:v>44210</c:v>
                </c:pt>
                <c:pt idx="18">
                  <c:v>44213</c:v>
                </c:pt>
                <c:pt idx="19">
                  <c:v>44214</c:v>
                </c:pt>
                <c:pt idx="20">
                  <c:v>44215</c:v>
                </c:pt>
                <c:pt idx="21">
                  <c:v>44216</c:v>
                </c:pt>
                <c:pt idx="22">
                  <c:v>44217</c:v>
                </c:pt>
                <c:pt idx="23">
                  <c:v>44220</c:v>
                </c:pt>
                <c:pt idx="24">
                  <c:v>44221</c:v>
                </c:pt>
                <c:pt idx="25">
                  <c:v>44222</c:v>
                </c:pt>
                <c:pt idx="26">
                  <c:v>44223</c:v>
                </c:pt>
                <c:pt idx="27">
                  <c:v>44224</c:v>
                </c:pt>
                <c:pt idx="28">
                  <c:v>44227</c:v>
                </c:pt>
                <c:pt idx="29">
                  <c:v>44228</c:v>
                </c:pt>
              </c:numCache>
            </c:numRef>
          </c:cat>
          <c:val>
            <c:numRef>
              <c:f>'Applicants per day'!$B$2:$B$31</c:f>
              <c:numCache>
                <c:formatCode>General</c:formatCode>
                <c:ptCount val="30"/>
                <c:pt idx="0">
                  <c:v>1</c:v>
                </c:pt>
                <c:pt idx="1">
                  <c:v>0</c:v>
                </c:pt>
                <c:pt idx="2">
                  <c:v>8</c:v>
                </c:pt>
                <c:pt idx="3">
                  <c:v>13</c:v>
                </c:pt>
                <c:pt idx="4">
                  <c:v>31</c:v>
                </c:pt>
                <c:pt idx="5">
                  <c:v>9</c:v>
                </c:pt>
                <c:pt idx="6">
                  <c:v>27</c:v>
                </c:pt>
                <c:pt idx="7">
                  <c:v>11</c:v>
                </c:pt>
                <c:pt idx="8">
                  <c:v>20</c:v>
                </c:pt>
                <c:pt idx="9">
                  <c:v>7</c:v>
                </c:pt>
                <c:pt idx="10">
                  <c:v>5</c:v>
                </c:pt>
                <c:pt idx="11">
                  <c:v>7</c:v>
                </c:pt>
                <c:pt idx="12">
                  <c:v>8</c:v>
                </c:pt>
                <c:pt idx="13">
                  <c:v>12</c:v>
                </c:pt>
                <c:pt idx="14">
                  <c:v>5</c:v>
                </c:pt>
                <c:pt idx="15">
                  <c:v>8</c:v>
                </c:pt>
                <c:pt idx="16">
                  <c:v>5</c:v>
                </c:pt>
                <c:pt idx="17">
                  <c:v>3</c:v>
                </c:pt>
                <c:pt idx="18">
                  <c:v>7</c:v>
                </c:pt>
                <c:pt idx="19">
                  <c:v>3</c:v>
                </c:pt>
                <c:pt idx="20">
                  <c:v>4</c:v>
                </c:pt>
                <c:pt idx="21">
                  <c:v>5</c:v>
                </c:pt>
                <c:pt idx="22">
                  <c:v>3</c:v>
                </c:pt>
                <c:pt idx="23">
                  <c:v>7</c:v>
                </c:pt>
                <c:pt idx="24">
                  <c:v>5</c:v>
                </c:pt>
                <c:pt idx="25">
                  <c:v>4</c:v>
                </c:pt>
                <c:pt idx="26">
                  <c:v>1</c:v>
                </c:pt>
                <c:pt idx="27">
                  <c:v>2</c:v>
                </c:pt>
                <c:pt idx="28">
                  <c:v>5</c:v>
                </c:pt>
                <c:pt idx="29">
                  <c:v>1</c:v>
                </c:pt>
              </c:numCache>
            </c:numRef>
          </c:val>
          <c:extLst xmlns:c16r2="http://schemas.microsoft.com/office/drawing/2015/06/chart">
            <c:ext xmlns:c16="http://schemas.microsoft.com/office/drawing/2014/chart" uri="{C3380CC4-5D6E-409C-BE32-E72D297353CC}">
              <c16:uniqueId val="{00000000-708B-4F65-A0B6-BA7F78A451D6}"/>
            </c:ext>
          </c:extLst>
        </c:ser>
        <c:dLbls>
          <c:showVal val="1"/>
        </c:dLbls>
        <c:marker val="1"/>
        <c:axId val="126303616"/>
        <c:axId val="126305408"/>
      </c:lineChart>
      <c:dateAx>
        <c:axId val="126303616"/>
        <c:scaling>
          <c:orientation val="minMax"/>
        </c:scaling>
        <c:axPos val="b"/>
        <c:numFmt formatCode="yyyy\/mm\/dd" sourceLinked="1"/>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800" b="1" i="0" u="none" strike="noStrike" kern="1200" cap="all" baseline="0">
                <a:solidFill>
                  <a:schemeClr val="dk1">
                    <a:lumMod val="75000"/>
                    <a:lumOff val="25000"/>
                  </a:schemeClr>
                </a:solidFill>
                <a:latin typeface="Century Gothic" panose="020B0502020202020204" pitchFamily="34" charset="0"/>
                <a:ea typeface="+mn-ea"/>
                <a:cs typeface="+mn-cs"/>
              </a:defRPr>
            </a:pPr>
            <a:endParaRPr lang="en-US"/>
          </a:p>
        </c:txPr>
        <c:crossAx val="126305408"/>
        <c:crosses val="autoZero"/>
        <c:auto val="1"/>
        <c:lblOffset val="100"/>
        <c:baseTimeUnit val="days"/>
      </c:dateAx>
      <c:valAx>
        <c:axId val="126305408"/>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tickLblPos val="none"/>
        <c:crossAx val="126303616"/>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latin typeface="Century Gothic" panose="020B0502020202020204" pitchFamily="34" charset="0"/>
        </a:defRPr>
      </a:pPr>
      <a:endParaRPr lang="en-US"/>
    </a:p>
  </c:txPr>
  <c:externalData r:id="rId2"/>
  <c:userShapes r:id="rId3"/>
</c:chartSpace>
</file>

<file path=ppt/charts/chart4.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autoTitleDeleted val="1"/>
    <c:plotArea>
      <c:layout/>
      <c:ofPieChart>
        <c:ofPieType val="pie"/>
        <c:varyColors val="1"/>
        <c:ser>
          <c:idx val="0"/>
          <c:order val="0"/>
          <c:dPt>
            <c:idx val="0"/>
            <c:spPr>
              <a:solidFill>
                <a:schemeClr val="accent1"/>
              </a:solidFill>
              <a:ln>
                <a:noFill/>
              </a:ln>
              <a:effectLst>
                <a:outerShdw blurRad="635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1-C012-4334-B62A-6CD9E1633769}"/>
              </c:ext>
            </c:extLst>
          </c:dPt>
          <c:dPt>
            <c:idx val="1"/>
            <c:spPr>
              <a:solidFill>
                <a:schemeClr val="accent2"/>
              </a:solidFill>
              <a:ln>
                <a:noFill/>
              </a:ln>
              <a:effectLst>
                <a:outerShdw blurRad="635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3-C012-4334-B62A-6CD9E1633769}"/>
              </c:ext>
            </c:extLst>
          </c:dPt>
          <c:dPt>
            <c:idx val="2"/>
            <c:spPr>
              <a:solidFill>
                <a:schemeClr val="accent3"/>
              </a:solidFill>
              <a:ln>
                <a:noFill/>
              </a:ln>
              <a:effectLst>
                <a:outerShdw blurRad="635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5-C012-4334-B62A-6CD9E1633769}"/>
              </c:ext>
            </c:extLst>
          </c:dPt>
          <c:dPt>
            <c:idx val="3"/>
            <c:spPr>
              <a:solidFill>
                <a:schemeClr val="accent4"/>
              </a:solidFill>
              <a:ln>
                <a:noFill/>
              </a:ln>
              <a:effectLst>
                <a:outerShdw blurRad="635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7-C012-4334-B62A-6CD9E1633769}"/>
              </c:ext>
            </c:extLst>
          </c:dPt>
          <c:dPt>
            <c:idx val="4"/>
            <c:spPr>
              <a:solidFill>
                <a:schemeClr val="accent5"/>
              </a:solidFill>
              <a:ln>
                <a:noFill/>
              </a:ln>
              <a:effectLst>
                <a:outerShdw blurRad="635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9-C012-4334-B62A-6CD9E1633769}"/>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solidFill>
                      <a:latin typeface="+mn-lt"/>
                      <a:ea typeface="+mn-ea"/>
                      <a:cs typeface="+mn-cs"/>
                    </a:defRPr>
                  </a:pPr>
                  <a:endParaRPr lang="en-US"/>
                </a:p>
              </c:txPr>
            </c:dLbl>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solidFill>
                      <a:latin typeface="+mn-lt"/>
                      <a:ea typeface="+mn-ea"/>
                      <a:cs typeface="+mn-cs"/>
                    </a:defRPr>
                  </a:pPr>
                  <a:endParaRPr lang="en-US"/>
                </a:p>
              </c:txPr>
            </c:dLbl>
            <c:dLbl>
              <c:idx val="2"/>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solidFill>
                      <a:latin typeface="+mn-lt"/>
                      <a:ea typeface="+mn-ea"/>
                      <a:cs typeface="+mn-cs"/>
                    </a:defRPr>
                  </a:pPr>
                  <a:endParaRPr lang="en-US"/>
                </a:p>
              </c:txPr>
            </c:dLbl>
            <c:dLbl>
              <c:idx val="3"/>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solidFill>
                      <a:latin typeface="+mn-lt"/>
                      <a:ea typeface="+mn-ea"/>
                      <a:cs typeface="+mn-cs"/>
                    </a:defRPr>
                  </a:pPr>
                  <a:endParaRPr lang="en-US"/>
                </a:p>
              </c:txPr>
            </c:dLbl>
            <c:dLbl>
              <c:idx val="4"/>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5"/>
                      </a:solidFill>
                      <a:latin typeface="+mn-lt"/>
                      <a:ea typeface="+mn-ea"/>
                      <a:cs typeface="+mn-cs"/>
                    </a:defRPr>
                  </a:pPr>
                  <a:endParaRPr lang="en-US"/>
                </a:p>
              </c:txPr>
            </c:dLbl>
            <c:spPr>
              <a:noFill/>
              <a:ln>
                <a:noFill/>
              </a:ln>
              <a:effectLst/>
            </c:spPr>
            <c:dLblPos val="outEnd"/>
            <c:showVal val="1"/>
            <c:showCatName val="1"/>
            <c:showPercent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2!$A$2:$A$5</c:f>
              <c:strCache>
                <c:ptCount val="4"/>
                <c:pt idx="0">
                  <c:v>Yes (WCGH)</c:v>
                </c:pt>
                <c:pt idx="1">
                  <c:v>No (WCGH)</c:v>
                </c:pt>
                <c:pt idx="2">
                  <c:v>Yes (CoCT)</c:v>
                </c:pt>
                <c:pt idx="3">
                  <c:v>No(CoCT)</c:v>
                </c:pt>
              </c:strCache>
            </c:strRef>
          </c:cat>
          <c:val>
            <c:numRef>
              <c:f>Sheet2!$B$2:$B$5</c:f>
              <c:numCache>
                <c:formatCode>General</c:formatCode>
                <c:ptCount val="4"/>
                <c:pt idx="0">
                  <c:v>2284</c:v>
                </c:pt>
                <c:pt idx="1">
                  <c:v>729</c:v>
                </c:pt>
                <c:pt idx="2">
                  <c:v>11</c:v>
                </c:pt>
                <c:pt idx="3">
                  <c:v>3</c:v>
                </c:pt>
              </c:numCache>
            </c:numRef>
          </c:val>
          <c:extLst xmlns:c16r2="http://schemas.microsoft.com/office/drawing/2015/06/chart">
            <c:ext xmlns:c16="http://schemas.microsoft.com/office/drawing/2014/chart" uri="{C3380CC4-5D6E-409C-BE32-E72D297353CC}">
              <c16:uniqueId val="{0000000A-C012-4334-B62A-6CD9E1633769}"/>
            </c:ext>
          </c:extLst>
        </c:ser>
        <c:dLbls>
          <c:showVal val="1"/>
        </c:dLbls>
        <c:gapWidth val="150"/>
        <c:secondPieSize val="75"/>
        <c:serLines>
          <c:spPr>
            <a:ln w="9525" cap="flat" cmpd="sng" algn="ctr">
              <a:solidFill>
                <a:schemeClr val="tx1">
                  <a:lumMod val="35000"/>
                  <a:lumOff val="65000"/>
                </a:schemeClr>
              </a:solidFill>
              <a:round/>
            </a:ln>
            <a:effectLst/>
          </c:spPr>
        </c:serLines>
      </c:ofPieChart>
      <c:spPr>
        <a:noFill/>
        <a:ln>
          <a:noFill/>
        </a:ln>
        <a:effectLst/>
      </c:spPr>
    </c:plotArea>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styleClr val="auto"/>
    </cs:fillRef>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17"/>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B0B4C2-F3FD-49D6-810D-79B735E939DE}" type="doc">
      <dgm:prSet loTypeId="urn:microsoft.com/office/officeart/2005/8/layout/bProcess3" loCatId="process" qsTypeId="urn:microsoft.com/office/officeart/2005/8/quickstyle/simple1" qsCatId="simple" csTypeId="urn:microsoft.com/office/officeart/2005/8/colors/accent1_3" csCatId="accent1" phldr="1"/>
      <dgm:spPr/>
      <dgm:t>
        <a:bodyPr/>
        <a:lstStyle/>
        <a:p>
          <a:endParaRPr lang="en-US"/>
        </a:p>
      </dgm:t>
    </dgm:pt>
    <dgm:pt modelId="{2A3A5A40-08BD-46B5-B31B-6E3B14CBA37A}">
      <dgm:prSet phldrT="[Text]" custT="1"/>
      <dgm:spPr/>
      <dgm:t>
        <a:bodyPr/>
        <a:lstStyle/>
        <a:p>
          <a:r>
            <a:rPr lang="en-GB" sz="1800" b="1" dirty="0"/>
            <a:t>Pre- registration &amp; Accreditation</a:t>
          </a:r>
          <a:endParaRPr lang="en-US" sz="1800" dirty="0"/>
        </a:p>
      </dgm:t>
    </dgm:pt>
    <dgm:pt modelId="{7E060A0A-C301-4A9E-B9AD-D48983AB1807}" type="parTrans" cxnId="{A2C15C06-8C7F-471B-B815-E13FC253B80B}">
      <dgm:prSet/>
      <dgm:spPr/>
      <dgm:t>
        <a:bodyPr/>
        <a:lstStyle/>
        <a:p>
          <a:endParaRPr lang="en-US"/>
        </a:p>
      </dgm:t>
    </dgm:pt>
    <dgm:pt modelId="{7999D3E0-1F8C-456C-8495-1D67949CE2EA}" type="sibTrans" cxnId="{A2C15C06-8C7F-471B-B815-E13FC253B80B}">
      <dgm:prSet/>
      <dgm:spPr/>
      <dgm:t>
        <a:bodyPr/>
        <a:lstStyle/>
        <a:p>
          <a:endParaRPr lang="en-US"/>
        </a:p>
      </dgm:t>
    </dgm:pt>
    <dgm:pt modelId="{4320C4F9-FCD6-4416-B4F5-076AEAD0B756}">
      <dgm:prSet phldrT="[Text]" custT="1"/>
      <dgm:spPr/>
      <dgm:t>
        <a:bodyPr/>
        <a:lstStyle/>
        <a:p>
          <a:r>
            <a:rPr lang="en-GB" sz="1800" b="1" dirty="0"/>
            <a:t>Registration </a:t>
          </a:r>
          <a:endParaRPr lang="en-US" sz="1800" dirty="0"/>
        </a:p>
      </dgm:t>
    </dgm:pt>
    <dgm:pt modelId="{823EC562-33A5-4857-8E76-B4B4FCB8AE8B}" type="parTrans" cxnId="{C6A0AC41-BD83-41E3-BB8D-C80A268061E6}">
      <dgm:prSet/>
      <dgm:spPr/>
      <dgm:t>
        <a:bodyPr/>
        <a:lstStyle/>
        <a:p>
          <a:endParaRPr lang="en-US"/>
        </a:p>
      </dgm:t>
    </dgm:pt>
    <dgm:pt modelId="{8BAEC331-0D58-43A6-974B-8BEBDC4D04A8}" type="sibTrans" cxnId="{C6A0AC41-BD83-41E3-BB8D-C80A268061E6}">
      <dgm:prSet/>
      <dgm:spPr/>
      <dgm:t>
        <a:bodyPr/>
        <a:lstStyle/>
        <a:p>
          <a:endParaRPr lang="en-US"/>
        </a:p>
      </dgm:t>
    </dgm:pt>
    <dgm:pt modelId="{44738FC0-BD3C-4D32-AE50-D0DA7CF879AA}">
      <dgm:prSet phldrT="[Text]" custT="1"/>
      <dgm:spPr/>
      <dgm:t>
        <a:bodyPr/>
        <a:lstStyle/>
        <a:p>
          <a:r>
            <a:rPr lang="en-GB" sz="1800" b="1" dirty="0"/>
            <a:t>Appointment Process</a:t>
          </a:r>
          <a:endParaRPr lang="en-US" sz="1800" dirty="0"/>
        </a:p>
      </dgm:t>
    </dgm:pt>
    <dgm:pt modelId="{0224F777-3FF4-474F-8461-56A1287586AC}" type="parTrans" cxnId="{6475BBE0-9C99-40A5-BA4C-BFDB2B0C62AC}">
      <dgm:prSet/>
      <dgm:spPr/>
      <dgm:t>
        <a:bodyPr/>
        <a:lstStyle/>
        <a:p>
          <a:endParaRPr lang="en-US"/>
        </a:p>
      </dgm:t>
    </dgm:pt>
    <dgm:pt modelId="{49D33161-6F33-4E6F-9AED-E0A9819A5276}" type="sibTrans" cxnId="{6475BBE0-9C99-40A5-BA4C-BFDB2B0C62AC}">
      <dgm:prSet/>
      <dgm:spPr/>
      <dgm:t>
        <a:bodyPr/>
        <a:lstStyle/>
        <a:p>
          <a:endParaRPr lang="en-US"/>
        </a:p>
      </dgm:t>
    </dgm:pt>
    <dgm:pt modelId="{2C04B6D9-35EB-4151-B5C8-4787E8EDCC7E}">
      <dgm:prSet phldrT="[Text]" custT="1"/>
      <dgm:spPr/>
      <dgm:t>
        <a:bodyPr/>
        <a:lstStyle/>
        <a:p>
          <a:pPr>
            <a:buFont typeface="Arial" panose="020B0604020202020204" pitchFamily="34" charset="0"/>
            <a:buChar char="•"/>
          </a:pPr>
          <a:r>
            <a:rPr lang="en-GB" sz="1800" b="1" dirty="0"/>
            <a:t>Vaccine Administration</a:t>
          </a:r>
          <a:endParaRPr lang="en-US" sz="1400" dirty="0"/>
        </a:p>
      </dgm:t>
    </dgm:pt>
    <dgm:pt modelId="{AE77B005-97C1-40BB-8DED-1DA694F117A2}" type="parTrans" cxnId="{71B17598-7E82-4E56-A37F-1133177E13D8}">
      <dgm:prSet/>
      <dgm:spPr/>
      <dgm:t>
        <a:bodyPr/>
        <a:lstStyle/>
        <a:p>
          <a:endParaRPr lang="en-US"/>
        </a:p>
      </dgm:t>
    </dgm:pt>
    <dgm:pt modelId="{72BD6900-733B-4641-9B7D-1B1B767E5561}" type="sibTrans" cxnId="{71B17598-7E82-4E56-A37F-1133177E13D8}">
      <dgm:prSet/>
      <dgm:spPr/>
      <dgm:t>
        <a:bodyPr/>
        <a:lstStyle/>
        <a:p>
          <a:endParaRPr lang="en-US"/>
        </a:p>
      </dgm:t>
    </dgm:pt>
    <dgm:pt modelId="{CB48BF55-1461-42EB-B339-DF72CC74648E}">
      <dgm:prSet phldrT="[Text]" custT="1"/>
      <dgm:spPr/>
      <dgm:t>
        <a:bodyPr/>
        <a:lstStyle/>
        <a:p>
          <a:r>
            <a:rPr lang="en-GB" sz="1800" b="1" dirty="0"/>
            <a:t>Vaccine Administration</a:t>
          </a:r>
          <a:endParaRPr lang="en-US" sz="1800" dirty="0"/>
        </a:p>
      </dgm:t>
    </dgm:pt>
    <dgm:pt modelId="{E6AF3430-8E55-446B-8BFC-3ED27F9C41E5}" type="parTrans" cxnId="{239909E8-A28E-4DB8-9D1A-A530851AB9A0}">
      <dgm:prSet/>
      <dgm:spPr/>
      <dgm:t>
        <a:bodyPr/>
        <a:lstStyle/>
        <a:p>
          <a:endParaRPr lang="en-US"/>
        </a:p>
      </dgm:t>
    </dgm:pt>
    <dgm:pt modelId="{7281C907-F9D6-4F3F-9054-340ADCA14694}" type="sibTrans" cxnId="{239909E8-A28E-4DB8-9D1A-A530851AB9A0}">
      <dgm:prSet/>
      <dgm:spPr/>
      <dgm:t>
        <a:bodyPr/>
        <a:lstStyle/>
        <a:p>
          <a:endParaRPr lang="en-US"/>
        </a:p>
      </dgm:t>
    </dgm:pt>
    <dgm:pt modelId="{53804631-842C-4403-BB90-14757554F1C7}">
      <dgm:prSet custT="1"/>
      <dgm:spPr/>
      <dgm:t>
        <a:bodyPr/>
        <a:lstStyle/>
        <a:p>
          <a:r>
            <a:rPr lang="en-GB" sz="1200" b="1" dirty="0"/>
            <a:t>Facilities </a:t>
          </a:r>
        </a:p>
      </dgm:t>
    </dgm:pt>
    <dgm:pt modelId="{86AB8AE4-9A6D-4862-9B7F-D70D9DC4F6A2}" type="parTrans" cxnId="{D13789E1-3466-414E-AD08-74F826C5E090}">
      <dgm:prSet/>
      <dgm:spPr/>
      <dgm:t>
        <a:bodyPr/>
        <a:lstStyle/>
        <a:p>
          <a:endParaRPr lang="en-US"/>
        </a:p>
      </dgm:t>
    </dgm:pt>
    <dgm:pt modelId="{09DFDF33-7B29-4611-BED0-FF750CD2B56E}" type="sibTrans" cxnId="{D13789E1-3466-414E-AD08-74F826C5E090}">
      <dgm:prSet/>
      <dgm:spPr/>
      <dgm:t>
        <a:bodyPr/>
        <a:lstStyle/>
        <a:p>
          <a:endParaRPr lang="en-US"/>
        </a:p>
      </dgm:t>
    </dgm:pt>
    <dgm:pt modelId="{5E0E0D95-5746-4BD0-A219-DFE66B7C1A36}">
      <dgm:prSet custT="1"/>
      <dgm:spPr/>
      <dgm:t>
        <a:bodyPr/>
        <a:lstStyle/>
        <a:p>
          <a:r>
            <a:rPr lang="en-GB" sz="1200" b="1" dirty="0"/>
            <a:t>Vaccinators </a:t>
          </a:r>
          <a:endParaRPr lang="en-US" sz="1200" dirty="0"/>
        </a:p>
      </dgm:t>
    </dgm:pt>
    <dgm:pt modelId="{E7BEB9EF-F49C-4A87-90C1-89F339C52D11}" type="parTrans" cxnId="{EF10E121-024F-46D7-A49D-83D1187115A8}">
      <dgm:prSet/>
      <dgm:spPr/>
      <dgm:t>
        <a:bodyPr/>
        <a:lstStyle/>
        <a:p>
          <a:endParaRPr lang="en-US"/>
        </a:p>
      </dgm:t>
    </dgm:pt>
    <dgm:pt modelId="{349E393C-43C5-487E-8555-E1BC527435E2}" type="sibTrans" cxnId="{EF10E121-024F-46D7-A49D-83D1187115A8}">
      <dgm:prSet/>
      <dgm:spPr/>
      <dgm:t>
        <a:bodyPr/>
        <a:lstStyle/>
        <a:p>
          <a:endParaRPr lang="en-US"/>
        </a:p>
      </dgm:t>
    </dgm:pt>
    <dgm:pt modelId="{F7499FDB-76B3-43E0-86CE-9EBD46C2778E}">
      <dgm:prSet custT="1"/>
      <dgm:spPr/>
      <dgm:t>
        <a:bodyPr/>
        <a:lstStyle/>
        <a:p>
          <a:r>
            <a:rPr lang="en-GB" sz="1200" b="1" dirty="0"/>
            <a:t>(“ voters roll ”) </a:t>
          </a:r>
        </a:p>
      </dgm:t>
    </dgm:pt>
    <dgm:pt modelId="{8A0DEADC-1D94-4D2A-877F-5BC40C8027A8}" type="parTrans" cxnId="{B9D1FDD4-50EE-4D32-92FE-D30F419ACC3C}">
      <dgm:prSet/>
      <dgm:spPr/>
      <dgm:t>
        <a:bodyPr/>
        <a:lstStyle/>
        <a:p>
          <a:endParaRPr lang="en-US"/>
        </a:p>
      </dgm:t>
    </dgm:pt>
    <dgm:pt modelId="{C68A96F2-A709-430B-B944-F24E3A729936}" type="sibTrans" cxnId="{B9D1FDD4-50EE-4D32-92FE-D30F419ACC3C}">
      <dgm:prSet/>
      <dgm:spPr/>
      <dgm:t>
        <a:bodyPr/>
        <a:lstStyle/>
        <a:p>
          <a:endParaRPr lang="en-US"/>
        </a:p>
      </dgm:t>
    </dgm:pt>
    <dgm:pt modelId="{614D80FB-7AC6-4BB8-B01E-70E97FCEB963}">
      <dgm:prSet custT="1"/>
      <dgm:spPr/>
      <dgm:t>
        <a:bodyPr/>
        <a:lstStyle/>
        <a:p>
          <a:r>
            <a:rPr lang="en-GB" sz="1200" b="1" dirty="0"/>
            <a:t>Clients </a:t>
          </a:r>
        </a:p>
      </dgm:t>
    </dgm:pt>
    <dgm:pt modelId="{77308BAF-A65A-4B0A-907B-1D5B7D82B57D}" type="parTrans" cxnId="{2F1DBD1D-7881-474A-82F6-4220A49C0CAA}">
      <dgm:prSet/>
      <dgm:spPr/>
      <dgm:t>
        <a:bodyPr/>
        <a:lstStyle/>
        <a:p>
          <a:endParaRPr lang="en-US"/>
        </a:p>
      </dgm:t>
    </dgm:pt>
    <dgm:pt modelId="{AD8CF100-D292-49DE-B9F2-171412CBF259}" type="sibTrans" cxnId="{2F1DBD1D-7881-474A-82F6-4220A49C0CAA}">
      <dgm:prSet/>
      <dgm:spPr/>
      <dgm:t>
        <a:bodyPr/>
        <a:lstStyle/>
        <a:p>
          <a:endParaRPr lang="en-US"/>
        </a:p>
      </dgm:t>
    </dgm:pt>
    <dgm:pt modelId="{F934B899-594D-4355-817C-4D0A0331E0D1}">
      <dgm:prSet custT="1"/>
      <dgm:spPr/>
      <dgm:t>
        <a:bodyPr/>
        <a:lstStyle/>
        <a:p>
          <a:r>
            <a:rPr lang="en-GB" sz="1600" b="1" dirty="0"/>
            <a:t>2</a:t>
          </a:r>
          <a:r>
            <a:rPr lang="en-GB" sz="1600" b="1" baseline="30000" dirty="0"/>
            <a:t>nd</a:t>
          </a:r>
          <a:r>
            <a:rPr lang="en-GB" sz="1600" b="1" dirty="0"/>
            <a:t> dose </a:t>
          </a:r>
        </a:p>
      </dgm:t>
    </dgm:pt>
    <dgm:pt modelId="{912AC3A8-036A-4481-A56C-5344CBD41C20}" type="parTrans" cxnId="{F5B0A571-3A79-4106-B09A-BA3CF4C7AE20}">
      <dgm:prSet/>
      <dgm:spPr/>
      <dgm:t>
        <a:bodyPr/>
        <a:lstStyle/>
        <a:p>
          <a:endParaRPr lang="en-US"/>
        </a:p>
      </dgm:t>
    </dgm:pt>
    <dgm:pt modelId="{9B2694BC-6AA1-4543-9C23-AB0888C00E84}" type="sibTrans" cxnId="{F5B0A571-3A79-4106-B09A-BA3CF4C7AE20}">
      <dgm:prSet/>
      <dgm:spPr/>
      <dgm:t>
        <a:bodyPr/>
        <a:lstStyle/>
        <a:p>
          <a:endParaRPr lang="en-US"/>
        </a:p>
      </dgm:t>
    </dgm:pt>
    <dgm:pt modelId="{757F3D19-682A-4CFE-A63F-ADC56A63EC83}">
      <dgm:prSet phldrT="[Text]" custT="1"/>
      <dgm:spPr/>
      <dgm:t>
        <a:bodyPr/>
        <a:lstStyle/>
        <a:p>
          <a:pPr>
            <a:buFont typeface="Arial" panose="020B0604020202020204" pitchFamily="34" charset="0"/>
            <a:buChar char="•"/>
          </a:pPr>
          <a:r>
            <a:rPr lang="en-GB" sz="1600" b="1" dirty="0"/>
            <a:t>Consent</a:t>
          </a:r>
          <a:endParaRPr lang="en-US" sz="1400" dirty="0"/>
        </a:p>
      </dgm:t>
    </dgm:pt>
    <dgm:pt modelId="{720D2667-826E-4A2A-8135-1975530DC78D}" type="parTrans" cxnId="{48BE6721-B7A0-4283-9AFB-2F614EB1A7F8}">
      <dgm:prSet/>
      <dgm:spPr/>
      <dgm:t>
        <a:bodyPr/>
        <a:lstStyle/>
        <a:p>
          <a:endParaRPr lang="en-US"/>
        </a:p>
      </dgm:t>
    </dgm:pt>
    <dgm:pt modelId="{BD6EBE52-72FD-478B-BAB8-45CACA1B84D8}" type="sibTrans" cxnId="{48BE6721-B7A0-4283-9AFB-2F614EB1A7F8}">
      <dgm:prSet/>
      <dgm:spPr/>
      <dgm:t>
        <a:bodyPr/>
        <a:lstStyle/>
        <a:p>
          <a:endParaRPr lang="en-US"/>
        </a:p>
      </dgm:t>
    </dgm:pt>
    <dgm:pt modelId="{7C6B6525-D4BC-4051-A6B0-C1EACFE64BC4}">
      <dgm:prSet phldrT="[Text]" custT="1"/>
      <dgm:spPr/>
      <dgm:t>
        <a:bodyPr/>
        <a:lstStyle/>
        <a:p>
          <a:pPr>
            <a:buFont typeface="Arial" panose="020B0604020202020204" pitchFamily="34" charset="0"/>
            <a:buChar char="•"/>
          </a:pPr>
          <a:r>
            <a:rPr lang="en-GB" sz="1600" b="1" dirty="0"/>
            <a:t>Vaccination – First dose</a:t>
          </a:r>
          <a:endParaRPr lang="en-US" sz="1400" dirty="0"/>
        </a:p>
      </dgm:t>
    </dgm:pt>
    <dgm:pt modelId="{743904A5-B7DB-4AF4-9D96-9FB010BE7DAB}" type="parTrans" cxnId="{FCE1D25D-9469-4B4F-9FC5-EE538AC52DC1}">
      <dgm:prSet/>
      <dgm:spPr/>
      <dgm:t>
        <a:bodyPr/>
        <a:lstStyle/>
        <a:p>
          <a:endParaRPr lang="en-US"/>
        </a:p>
      </dgm:t>
    </dgm:pt>
    <dgm:pt modelId="{A0BA09DF-8260-446A-9C15-DD4CF5C81E65}" type="sibTrans" cxnId="{FCE1D25D-9469-4B4F-9FC5-EE538AC52DC1}">
      <dgm:prSet/>
      <dgm:spPr/>
      <dgm:t>
        <a:bodyPr/>
        <a:lstStyle/>
        <a:p>
          <a:endParaRPr lang="en-US"/>
        </a:p>
      </dgm:t>
    </dgm:pt>
    <dgm:pt modelId="{8B1B6896-CD0D-41E6-8C96-BF8F704BED1A}">
      <dgm:prSet phldrT="[Text]" custT="1"/>
      <dgm:spPr/>
      <dgm:t>
        <a:bodyPr/>
        <a:lstStyle/>
        <a:p>
          <a:pPr>
            <a:buFont typeface="Arial" panose="020B0604020202020204" pitchFamily="34" charset="0"/>
            <a:buChar char="•"/>
          </a:pPr>
          <a:r>
            <a:rPr lang="en-GB" sz="1600" b="1" dirty="0"/>
            <a:t>Appointment for 2</a:t>
          </a:r>
          <a:r>
            <a:rPr lang="en-GB" sz="1600" b="1" baseline="30000" dirty="0"/>
            <a:t>nd</a:t>
          </a:r>
          <a:r>
            <a:rPr lang="en-GB" sz="1600" b="1" dirty="0"/>
            <a:t> dose</a:t>
          </a:r>
          <a:endParaRPr lang="en-US" sz="1400" dirty="0"/>
        </a:p>
      </dgm:t>
    </dgm:pt>
    <dgm:pt modelId="{25D561E4-B890-4B09-9CF9-9CE2BF1205B1}" type="parTrans" cxnId="{36761F9C-9663-499B-9F93-D5FD03024BA5}">
      <dgm:prSet/>
      <dgm:spPr/>
      <dgm:t>
        <a:bodyPr/>
        <a:lstStyle/>
        <a:p>
          <a:endParaRPr lang="en-US"/>
        </a:p>
      </dgm:t>
    </dgm:pt>
    <dgm:pt modelId="{65DF0428-3AC3-4930-8C1E-86EF6D69B36C}" type="sibTrans" cxnId="{36761F9C-9663-499B-9F93-D5FD03024BA5}">
      <dgm:prSet/>
      <dgm:spPr/>
      <dgm:t>
        <a:bodyPr/>
        <a:lstStyle/>
        <a:p>
          <a:endParaRPr lang="en-US"/>
        </a:p>
      </dgm:t>
    </dgm:pt>
    <dgm:pt modelId="{531E5A52-CE63-4C92-9B92-4A921D91A92F}">
      <dgm:prSet phldrT="[Text]" custT="1"/>
      <dgm:spPr/>
      <dgm:t>
        <a:bodyPr/>
        <a:lstStyle/>
        <a:p>
          <a:pPr>
            <a:buFont typeface="Arial" panose="020B0604020202020204" pitchFamily="34" charset="0"/>
            <a:buChar char="•"/>
          </a:pPr>
          <a:r>
            <a:rPr lang="en-GB" sz="1600" b="1"/>
            <a:t>Issue </a:t>
          </a:r>
          <a:r>
            <a:rPr lang="en-GB" sz="1600" b="1" dirty="0"/>
            <a:t>proof of vaccination</a:t>
          </a:r>
          <a:r>
            <a:rPr lang="en-GB" sz="1400" b="1" dirty="0"/>
            <a:t> </a:t>
          </a:r>
          <a:endParaRPr lang="en-US" sz="1400" dirty="0"/>
        </a:p>
      </dgm:t>
    </dgm:pt>
    <dgm:pt modelId="{C462690B-4907-4E0D-A601-0D57E36C7BAF}" type="parTrans" cxnId="{159C2428-C98C-448E-94E3-37F2B1B22E1C}">
      <dgm:prSet/>
      <dgm:spPr/>
      <dgm:t>
        <a:bodyPr/>
        <a:lstStyle/>
        <a:p>
          <a:endParaRPr lang="en-US"/>
        </a:p>
      </dgm:t>
    </dgm:pt>
    <dgm:pt modelId="{252A0047-7D48-4C7F-91D4-3B7E87701647}" type="sibTrans" cxnId="{159C2428-C98C-448E-94E3-37F2B1B22E1C}">
      <dgm:prSet/>
      <dgm:spPr/>
      <dgm:t>
        <a:bodyPr/>
        <a:lstStyle/>
        <a:p>
          <a:endParaRPr lang="en-US"/>
        </a:p>
      </dgm:t>
    </dgm:pt>
    <dgm:pt modelId="{895357FC-0E1D-4568-AA20-CE35686FCC47}" type="pres">
      <dgm:prSet presAssocID="{BCB0B4C2-F3FD-49D6-810D-79B735E939DE}" presName="Name0" presStyleCnt="0">
        <dgm:presLayoutVars>
          <dgm:dir/>
          <dgm:resizeHandles val="exact"/>
        </dgm:presLayoutVars>
      </dgm:prSet>
      <dgm:spPr/>
      <dgm:t>
        <a:bodyPr/>
        <a:lstStyle/>
        <a:p>
          <a:endParaRPr lang="en-ZA"/>
        </a:p>
      </dgm:t>
    </dgm:pt>
    <dgm:pt modelId="{1F58083D-7D25-4BF1-9E07-17D5848C7280}" type="pres">
      <dgm:prSet presAssocID="{2A3A5A40-08BD-46B5-B31B-6E3B14CBA37A}" presName="node" presStyleLbl="node1" presStyleIdx="0" presStyleCnt="5">
        <dgm:presLayoutVars>
          <dgm:bulletEnabled val="1"/>
        </dgm:presLayoutVars>
      </dgm:prSet>
      <dgm:spPr/>
      <dgm:t>
        <a:bodyPr/>
        <a:lstStyle/>
        <a:p>
          <a:endParaRPr lang="en-ZA"/>
        </a:p>
      </dgm:t>
    </dgm:pt>
    <dgm:pt modelId="{72D4EF94-134C-415A-93E6-4D964A438AE8}" type="pres">
      <dgm:prSet presAssocID="{7999D3E0-1F8C-456C-8495-1D67949CE2EA}" presName="sibTrans" presStyleLbl="sibTrans1D1" presStyleIdx="0" presStyleCnt="4"/>
      <dgm:spPr/>
      <dgm:t>
        <a:bodyPr/>
        <a:lstStyle/>
        <a:p>
          <a:endParaRPr lang="en-ZA"/>
        </a:p>
      </dgm:t>
    </dgm:pt>
    <dgm:pt modelId="{0CBBC483-6758-49BC-9144-0BA676FFCE49}" type="pres">
      <dgm:prSet presAssocID="{7999D3E0-1F8C-456C-8495-1D67949CE2EA}" presName="connectorText" presStyleLbl="sibTrans1D1" presStyleIdx="0" presStyleCnt="4"/>
      <dgm:spPr/>
      <dgm:t>
        <a:bodyPr/>
        <a:lstStyle/>
        <a:p>
          <a:endParaRPr lang="en-ZA"/>
        </a:p>
      </dgm:t>
    </dgm:pt>
    <dgm:pt modelId="{30BD584B-D05E-4643-B799-7D0CAD9896AC}" type="pres">
      <dgm:prSet presAssocID="{4320C4F9-FCD6-4416-B4F5-076AEAD0B756}" presName="node" presStyleLbl="node1" presStyleIdx="1" presStyleCnt="5">
        <dgm:presLayoutVars>
          <dgm:bulletEnabled val="1"/>
        </dgm:presLayoutVars>
      </dgm:prSet>
      <dgm:spPr/>
      <dgm:t>
        <a:bodyPr/>
        <a:lstStyle/>
        <a:p>
          <a:endParaRPr lang="en-ZA"/>
        </a:p>
      </dgm:t>
    </dgm:pt>
    <dgm:pt modelId="{4300F1C8-412B-4F0B-9C2E-343C45AD35A4}" type="pres">
      <dgm:prSet presAssocID="{8BAEC331-0D58-43A6-974B-8BEBDC4D04A8}" presName="sibTrans" presStyleLbl="sibTrans1D1" presStyleIdx="1" presStyleCnt="4"/>
      <dgm:spPr/>
      <dgm:t>
        <a:bodyPr/>
        <a:lstStyle/>
        <a:p>
          <a:endParaRPr lang="en-ZA"/>
        </a:p>
      </dgm:t>
    </dgm:pt>
    <dgm:pt modelId="{EB2FB9D7-876E-4EF0-9FD7-C4C30184F1FF}" type="pres">
      <dgm:prSet presAssocID="{8BAEC331-0D58-43A6-974B-8BEBDC4D04A8}" presName="connectorText" presStyleLbl="sibTrans1D1" presStyleIdx="1" presStyleCnt="4"/>
      <dgm:spPr/>
      <dgm:t>
        <a:bodyPr/>
        <a:lstStyle/>
        <a:p>
          <a:endParaRPr lang="en-ZA"/>
        </a:p>
      </dgm:t>
    </dgm:pt>
    <dgm:pt modelId="{F4CD87D4-9247-4C2A-B634-C2E64EF7BD3C}" type="pres">
      <dgm:prSet presAssocID="{44738FC0-BD3C-4D32-AE50-D0DA7CF879AA}" presName="node" presStyleLbl="node1" presStyleIdx="2" presStyleCnt="5">
        <dgm:presLayoutVars>
          <dgm:bulletEnabled val="1"/>
        </dgm:presLayoutVars>
      </dgm:prSet>
      <dgm:spPr/>
      <dgm:t>
        <a:bodyPr/>
        <a:lstStyle/>
        <a:p>
          <a:endParaRPr lang="en-ZA"/>
        </a:p>
      </dgm:t>
    </dgm:pt>
    <dgm:pt modelId="{ECDF613A-7CB9-48CE-BC90-3D5A1F56164D}" type="pres">
      <dgm:prSet presAssocID="{49D33161-6F33-4E6F-9AED-E0A9819A5276}" presName="sibTrans" presStyleLbl="sibTrans1D1" presStyleIdx="2" presStyleCnt="4"/>
      <dgm:spPr/>
      <dgm:t>
        <a:bodyPr/>
        <a:lstStyle/>
        <a:p>
          <a:endParaRPr lang="en-ZA"/>
        </a:p>
      </dgm:t>
    </dgm:pt>
    <dgm:pt modelId="{BE66FB24-9E05-4DE7-9726-AA6B92BE0179}" type="pres">
      <dgm:prSet presAssocID="{49D33161-6F33-4E6F-9AED-E0A9819A5276}" presName="connectorText" presStyleLbl="sibTrans1D1" presStyleIdx="2" presStyleCnt="4"/>
      <dgm:spPr/>
      <dgm:t>
        <a:bodyPr/>
        <a:lstStyle/>
        <a:p>
          <a:endParaRPr lang="en-ZA"/>
        </a:p>
      </dgm:t>
    </dgm:pt>
    <dgm:pt modelId="{175066B0-9212-4238-B0B4-C41C333E8928}" type="pres">
      <dgm:prSet presAssocID="{2C04B6D9-35EB-4151-B5C8-4787E8EDCC7E}" presName="node" presStyleLbl="node1" presStyleIdx="3" presStyleCnt="5" custScaleX="161192" custScaleY="125801">
        <dgm:presLayoutVars>
          <dgm:bulletEnabled val="1"/>
        </dgm:presLayoutVars>
      </dgm:prSet>
      <dgm:spPr/>
      <dgm:t>
        <a:bodyPr/>
        <a:lstStyle/>
        <a:p>
          <a:endParaRPr lang="en-ZA"/>
        </a:p>
      </dgm:t>
    </dgm:pt>
    <dgm:pt modelId="{0D53613A-6C9F-43D9-AAC2-9AB2BE8EEEF6}" type="pres">
      <dgm:prSet presAssocID="{72BD6900-733B-4641-9B7D-1B1B767E5561}" presName="sibTrans" presStyleLbl="sibTrans1D1" presStyleIdx="3" presStyleCnt="4"/>
      <dgm:spPr/>
      <dgm:t>
        <a:bodyPr/>
        <a:lstStyle/>
        <a:p>
          <a:endParaRPr lang="en-ZA"/>
        </a:p>
      </dgm:t>
    </dgm:pt>
    <dgm:pt modelId="{416A6A85-CA00-471B-B475-94F9E370F3F4}" type="pres">
      <dgm:prSet presAssocID="{72BD6900-733B-4641-9B7D-1B1B767E5561}" presName="connectorText" presStyleLbl="sibTrans1D1" presStyleIdx="3" presStyleCnt="4"/>
      <dgm:spPr/>
      <dgm:t>
        <a:bodyPr/>
        <a:lstStyle/>
        <a:p>
          <a:endParaRPr lang="en-ZA"/>
        </a:p>
      </dgm:t>
    </dgm:pt>
    <dgm:pt modelId="{976ED44C-9C55-4717-9675-629AD2D49692}" type="pres">
      <dgm:prSet presAssocID="{CB48BF55-1461-42EB-B339-DF72CC74648E}" presName="node" presStyleLbl="node1" presStyleIdx="4" presStyleCnt="5" custScaleX="140397" custScaleY="127527">
        <dgm:presLayoutVars>
          <dgm:bulletEnabled val="1"/>
        </dgm:presLayoutVars>
      </dgm:prSet>
      <dgm:spPr/>
      <dgm:t>
        <a:bodyPr/>
        <a:lstStyle/>
        <a:p>
          <a:endParaRPr lang="en-ZA"/>
        </a:p>
      </dgm:t>
    </dgm:pt>
  </dgm:ptLst>
  <dgm:cxnLst>
    <dgm:cxn modelId="{A4A03D4D-86AB-493D-BB53-EF0F70D01599}" type="presOf" srcId="{2C04B6D9-35EB-4151-B5C8-4787E8EDCC7E}" destId="{175066B0-9212-4238-B0B4-C41C333E8928}" srcOrd="0" destOrd="0" presId="urn:microsoft.com/office/officeart/2005/8/layout/bProcess3"/>
    <dgm:cxn modelId="{E4673609-F9BD-495E-ACF4-BE3118D8EE68}" type="presOf" srcId="{8B1B6896-CD0D-41E6-8C96-BF8F704BED1A}" destId="{175066B0-9212-4238-B0B4-C41C333E8928}" srcOrd="0" destOrd="3" presId="urn:microsoft.com/office/officeart/2005/8/layout/bProcess3"/>
    <dgm:cxn modelId="{239909E8-A28E-4DB8-9D1A-A530851AB9A0}" srcId="{BCB0B4C2-F3FD-49D6-810D-79B735E939DE}" destId="{CB48BF55-1461-42EB-B339-DF72CC74648E}" srcOrd="4" destOrd="0" parTransId="{E6AF3430-8E55-446B-8BFC-3ED27F9C41E5}" sibTransId="{7281C907-F9D6-4F3F-9054-340ADCA14694}"/>
    <dgm:cxn modelId="{B9D1FDD4-50EE-4D32-92FE-D30F419ACC3C}" srcId="{4320C4F9-FCD6-4416-B4F5-076AEAD0B756}" destId="{F7499FDB-76B3-43E0-86CE-9EBD46C2778E}" srcOrd="0" destOrd="0" parTransId="{8A0DEADC-1D94-4D2A-877F-5BC40C8027A8}" sibTransId="{C68A96F2-A709-430B-B944-F24E3A729936}"/>
    <dgm:cxn modelId="{2F1DBD1D-7881-474A-82F6-4220A49C0CAA}" srcId="{4320C4F9-FCD6-4416-B4F5-076AEAD0B756}" destId="{614D80FB-7AC6-4BB8-B01E-70E97FCEB963}" srcOrd="1" destOrd="0" parTransId="{77308BAF-A65A-4B0A-907B-1D5B7D82B57D}" sibTransId="{AD8CF100-D292-49DE-B9F2-171412CBF259}"/>
    <dgm:cxn modelId="{EF10E121-024F-46D7-A49D-83D1187115A8}" srcId="{2A3A5A40-08BD-46B5-B31B-6E3B14CBA37A}" destId="{5E0E0D95-5746-4BD0-A219-DFE66B7C1A36}" srcOrd="1" destOrd="0" parTransId="{E7BEB9EF-F49C-4A87-90C1-89F339C52D11}" sibTransId="{349E393C-43C5-487E-8555-E1BC527435E2}"/>
    <dgm:cxn modelId="{D13789E1-3466-414E-AD08-74F826C5E090}" srcId="{2A3A5A40-08BD-46B5-B31B-6E3B14CBA37A}" destId="{53804631-842C-4403-BB90-14757554F1C7}" srcOrd="0" destOrd="0" parTransId="{86AB8AE4-9A6D-4862-9B7F-D70D9DC4F6A2}" sibTransId="{09DFDF33-7B29-4611-BED0-FF750CD2B56E}"/>
    <dgm:cxn modelId="{354635BA-1311-4E02-9917-5C7017B3F5DB}" type="presOf" srcId="{44738FC0-BD3C-4D32-AE50-D0DA7CF879AA}" destId="{F4CD87D4-9247-4C2A-B634-C2E64EF7BD3C}" srcOrd="0" destOrd="0" presId="urn:microsoft.com/office/officeart/2005/8/layout/bProcess3"/>
    <dgm:cxn modelId="{85AF9675-9D12-4B34-9196-A5AD61962C69}" type="presOf" srcId="{F7499FDB-76B3-43E0-86CE-9EBD46C2778E}" destId="{30BD584B-D05E-4643-B799-7D0CAD9896AC}" srcOrd="0" destOrd="1" presId="urn:microsoft.com/office/officeart/2005/8/layout/bProcess3"/>
    <dgm:cxn modelId="{45285934-E470-4A36-83BB-25FB2AD79E85}" type="presOf" srcId="{53804631-842C-4403-BB90-14757554F1C7}" destId="{1F58083D-7D25-4BF1-9E07-17D5848C7280}" srcOrd="0" destOrd="1" presId="urn:microsoft.com/office/officeart/2005/8/layout/bProcess3"/>
    <dgm:cxn modelId="{36761F9C-9663-499B-9F93-D5FD03024BA5}" srcId="{2C04B6D9-35EB-4151-B5C8-4787E8EDCC7E}" destId="{8B1B6896-CD0D-41E6-8C96-BF8F704BED1A}" srcOrd="2" destOrd="0" parTransId="{25D561E4-B890-4B09-9CF9-9CE2BF1205B1}" sibTransId="{65DF0428-3AC3-4930-8C1E-86EF6D69B36C}"/>
    <dgm:cxn modelId="{1DD366E7-E1AB-4E61-85A3-8EEBAAC5BA5F}" type="presOf" srcId="{72BD6900-733B-4641-9B7D-1B1B767E5561}" destId="{416A6A85-CA00-471B-B475-94F9E370F3F4}" srcOrd="1" destOrd="0" presId="urn:microsoft.com/office/officeart/2005/8/layout/bProcess3"/>
    <dgm:cxn modelId="{881287DE-287A-4017-BF8A-7CDD15C78638}" type="presOf" srcId="{531E5A52-CE63-4C92-9B92-4A921D91A92F}" destId="{175066B0-9212-4238-B0B4-C41C333E8928}" srcOrd="0" destOrd="4" presId="urn:microsoft.com/office/officeart/2005/8/layout/bProcess3"/>
    <dgm:cxn modelId="{AA87BCC9-DC42-474C-895E-B444DED56B51}" type="presOf" srcId="{4320C4F9-FCD6-4416-B4F5-076AEAD0B756}" destId="{30BD584B-D05E-4643-B799-7D0CAD9896AC}" srcOrd="0" destOrd="0" presId="urn:microsoft.com/office/officeart/2005/8/layout/bProcess3"/>
    <dgm:cxn modelId="{71B17598-7E82-4E56-A37F-1133177E13D8}" srcId="{BCB0B4C2-F3FD-49D6-810D-79B735E939DE}" destId="{2C04B6D9-35EB-4151-B5C8-4787E8EDCC7E}" srcOrd="3" destOrd="0" parTransId="{AE77B005-97C1-40BB-8DED-1DA694F117A2}" sibTransId="{72BD6900-733B-4641-9B7D-1B1B767E5561}"/>
    <dgm:cxn modelId="{44790FD1-7571-4ED0-AE10-4EF2EDCF6537}" type="presOf" srcId="{72BD6900-733B-4641-9B7D-1B1B767E5561}" destId="{0D53613A-6C9F-43D9-AAC2-9AB2BE8EEEF6}" srcOrd="0" destOrd="0" presId="urn:microsoft.com/office/officeart/2005/8/layout/bProcess3"/>
    <dgm:cxn modelId="{0F4DA4E0-3C1E-40CF-A512-B5A523C6BA11}" type="presOf" srcId="{614D80FB-7AC6-4BB8-B01E-70E97FCEB963}" destId="{30BD584B-D05E-4643-B799-7D0CAD9896AC}" srcOrd="0" destOrd="2" presId="urn:microsoft.com/office/officeart/2005/8/layout/bProcess3"/>
    <dgm:cxn modelId="{48BE6721-B7A0-4283-9AFB-2F614EB1A7F8}" srcId="{2C04B6D9-35EB-4151-B5C8-4787E8EDCC7E}" destId="{757F3D19-682A-4CFE-A63F-ADC56A63EC83}" srcOrd="0" destOrd="0" parTransId="{720D2667-826E-4A2A-8135-1975530DC78D}" sibTransId="{BD6EBE52-72FD-478B-BAB8-45CACA1B84D8}"/>
    <dgm:cxn modelId="{F301D6AA-E0B8-448F-A4E7-E81DF50C6F21}" type="presOf" srcId="{757F3D19-682A-4CFE-A63F-ADC56A63EC83}" destId="{175066B0-9212-4238-B0B4-C41C333E8928}" srcOrd="0" destOrd="1" presId="urn:microsoft.com/office/officeart/2005/8/layout/bProcess3"/>
    <dgm:cxn modelId="{D1BD4C4A-97F9-4105-806A-7A1DCB2773E9}" type="presOf" srcId="{5E0E0D95-5746-4BD0-A219-DFE66B7C1A36}" destId="{1F58083D-7D25-4BF1-9E07-17D5848C7280}" srcOrd="0" destOrd="2" presId="urn:microsoft.com/office/officeart/2005/8/layout/bProcess3"/>
    <dgm:cxn modelId="{771E6F2F-D887-4567-B676-3C031D353C41}" type="presOf" srcId="{49D33161-6F33-4E6F-9AED-E0A9819A5276}" destId="{ECDF613A-7CB9-48CE-BC90-3D5A1F56164D}" srcOrd="0" destOrd="0" presId="urn:microsoft.com/office/officeart/2005/8/layout/bProcess3"/>
    <dgm:cxn modelId="{F5B0A571-3A79-4106-B09A-BA3CF4C7AE20}" srcId="{CB48BF55-1461-42EB-B339-DF72CC74648E}" destId="{F934B899-594D-4355-817C-4D0A0331E0D1}" srcOrd="0" destOrd="0" parTransId="{912AC3A8-036A-4481-A56C-5344CBD41C20}" sibTransId="{9B2694BC-6AA1-4543-9C23-AB0888C00E84}"/>
    <dgm:cxn modelId="{9C1311C4-10C7-4EF0-AE69-B2F7F31D96F8}" type="presOf" srcId="{49D33161-6F33-4E6F-9AED-E0A9819A5276}" destId="{BE66FB24-9E05-4DE7-9726-AA6B92BE0179}" srcOrd="1" destOrd="0" presId="urn:microsoft.com/office/officeart/2005/8/layout/bProcess3"/>
    <dgm:cxn modelId="{5D389BBC-ADAC-495E-87CE-FA18A246ACEC}" type="presOf" srcId="{8BAEC331-0D58-43A6-974B-8BEBDC4D04A8}" destId="{EB2FB9D7-876E-4EF0-9FD7-C4C30184F1FF}" srcOrd="1" destOrd="0" presId="urn:microsoft.com/office/officeart/2005/8/layout/bProcess3"/>
    <dgm:cxn modelId="{C6A0AC41-BD83-41E3-BB8D-C80A268061E6}" srcId="{BCB0B4C2-F3FD-49D6-810D-79B735E939DE}" destId="{4320C4F9-FCD6-4416-B4F5-076AEAD0B756}" srcOrd="1" destOrd="0" parTransId="{823EC562-33A5-4857-8E76-B4B4FCB8AE8B}" sibTransId="{8BAEC331-0D58-43A6-974B-8BEBDC4D04A8}"/>
    <dgm:cxn modelId="{FCE1D25D-9469-4B4F-9FC5-EE538AC52DC1}" srcId="{2C04B6D9-35EB-4151-B5C8-4787E8EDCC7E}" destId="{7C6B6525-D4BC-4051-A6B0-C1EACFE64BC4}" srcOrd="1" destOrd="0" parTransId="{743904A5-B7DB-4AF4-9D96-9FB010BE7DAB}" sibTransId="{A0BA09DF-8260-446A-9C15-DD4CF5C81E65}"/>
    <dgm:cxn modelId="{0856B648-0B38-482B-A274-671B4A307736}" type="presOf" srcId="{7999D3E0-1F8C-456C-8495-1D67949CE2EA}" destId="{72D4EF94-134C-415A-93E6-4D964A438AE8}" srcOrd="0" destOrd="0" presId="urn:microsoft.com/office/officeart/2005/8/layout/bProcess3"/>
    <dgm:cxn modelId="{6475BBE0-9C99-40A5-BA4C-BFDB2B0C62AC}" srcId="{BCB0B4C2-F3FD-49D6-810D-79B735E939DE}" destId="{44738FC0-BD3C-4D32-AE50-D0DA7CF879AA}" srcOrd="2" destOrd="0" parTransId="{0224F777-3FF4-474F-8461-56A1287586AC}" sibTransId="{49D33161-6F33-4E6F-9AED-E0A9819A5276}"/>
    <dgm:cxn modelId="{73710E2B-8FCD-4024-8F95-5D709EE5E3F0}" type="presOf" srcId="{8BAEC331-0D58-43A6-974B-8BEBDC4D04A8}" destId="{4300F1C8-412B-4F0B-9C2E-343C45AD35A4}" srcOrd="0" destOrd="0" presId="urn:microsoft.com/office/officeart/2005/8/layout/bProcess3"/>
    <dgm:cxn modelId="{A2C15C06-8C7F-471B-B815-E13FC253B80B}" srcId="{BCB0B4C2-F3FD-49D6-810D-79B735E939DE}" destId="{2A3A5A40-08BD-46B5-B31B-6E3B14CBA37A}" srcOrd="0" destOrd="0" parTransId="{7E060A0A-C301-4A9E-B9AD-D48983AB1807}" sibTransId="{7999D3E0-1F8C-456C-8495-1D67949CE2EA}"/>
    <dgm:cxn modelId="{621EBC9C-2E3C-44CC-9A8A-CFC60AC857A1}" type="presOf" srcId="{BCB0B4C2-F3FD-49D6-810D-79B735E939DE}" destId="{895357FC-0E1D-4568-AA20-CE35686FCC47}" srcOrd="0" destOrd="0" presId="urn:microsoft.com/office/officeart/2005/8/layout/bProcess3"/>
    <dgm:cxn modelId="{82335635-05D9-4B25-9110-7F1A8B9E28F9}" type="presOf" srcId="{7C6B6525-D4BC-4051-A6B0-C1EACFE64BC4}" destId="{175066B0-9212-4238-B0B4-C41C333E8928}" srcOrd="0" destOrd="2" presId="urn:microsoft.com/office/officeart/2005/8/layout/bProcess3"/>
    <dgm:cxn modelId="{0824B01B-D5B9-46CA-8FB3-C6655E4BCB9B}" type="presOf" srcId="{2A3A5A40-08BD-46B5-B31B-6E3B14CBA37A}" destId="{1F58083D-7D25-4BF1-9E07-17D5848C7280}" srcOrd="0" destOrd="0" presId="urn:microsoft.com/office/officeart/2005/8/layout/bProcess3"/>
    <dgm:cxn modelId="{33177A8F-8549-4E29-B1A6-7CACC2343EEA}" type="presOf" srcId="{7999D3E0-1F8C-456C-8495-1D67949CE2EA}" destId="{0CBBC483-6758-49BC-9144-0BA676FFCE49}" srcOrd="1" destOrd="0" presId="urn:microsoft.com/office/officeart/2005/8/layout/bProcess3"/>
    <dgm:cxn modelId="{159C2428-C98C-448E-94E3-37F2B1B22E1C}" srcId="{2C04B6D9-35EB-4151-B5C8-4787E8EDCC7E}" destId="{531E5A52-CE63-4C92-9B92-4A921D91A92F}" srcOrd="3" destOrd="0" parTransId="{C462690B-4907-4E0D-A601-0D57E36C7BAF}" sibTransId="{252A0047-7D48-4C7F-91D4-3B7E87701647}"/>
    <dgm:cxn modelId="{859F80DC-561F-4CE7-BFDD-E1E8467E4A6F}" type="presOf" srcId="{F934B899-594D-4355-817C-4D0A0331E0D1}" destId="{976ED44C-9C55-4717-9675-629AD2D49692}" srcOrd="0" destOrd="1" presId="urn:microsoft.com/office/officeart/2005/8/layout/bProcess3"/>
    <dgm:cxn modelId="{D04B93C2-FBF4-4574-952A-BED8B514DC1B}" type="presOf" srcId="{CB48BF55-1461-42EB-B339-DF72CC74648E}" destId="{976ED44C-9C55-4717-9675-629AD2D49692}" srcOrd="0" destOrd="0" presId="urn:microsoft.com/office/officeart/2005/8/layout/bProcess3"/>
    <dgm:cxn modelId="{9A4F8E26-3A55-4BC9-8C83-98C08030899E}" type="presParOf" srcId="{895357FC-0E1D-4568-AA20-CE35686FCC47}" destId="{1F58083D-7D25-4BF1-9E07-17D5848C7280}" srcOrd="0" destOrd="0" presId="urn:microsoft.com/office/officeart/2005/8/layout/bProcess3"/>
    <dgm:cxn modelId="{2C952A92-169F-4736-95E5-E3780E115D9E}" type="presParOf" srcId="{895357FC-0E1D-4568-AA20-CE35686FCC47}" destId="{72D4EF94-134C-415A-93E6-4D964A438AE8}" srcOrd="1" destOrd="0" presId="urn:microsoft.com/office/officeart/2005/8/layout/bProcess3"/>
    <dgm:cxn modelId="{D3C3D1D7-2912-4F5C-BBBB-9269AB784B0E}" type="presParOf" srcId="{72D4EF94-134C-415A-93E6-4D964A438AE8}" destId="{0CBBC483-6758-49BC-9144-0BA676FFCE49}" srcOrd="0" destOrd="0" presId="urn:microsoft.com/office/officeart/2005/8/layout/bProcess3"/>
    <dgm:cxn modelId="{E614E746-B1C4-4F31-A6E9-1BF74AD59DBD}" type="presParOf" srcId="{895357FC-0E1D-4568-AA20-CE35686FCC47}" destId="{30BD584B-D05E-4643-B799-7D0CAD9896AC}" srcOrd="2" destOrd="0" presId="urn:microsoft.com/office/officeart/2005/8/layout/bProcess3"/>
    <dgm:cxn modelId="{C98944EE-EA82-45A3-B055-F148B348092F}" type="presParOf" srcId="{895357FC-0E1D-4568-AA20-CE35686FCC47}" destId="{4300F1C8-412B-4F0B-9C2E-343C45AD35A4}" srcOrd="3" destOrd="0" presId="urn:microsoft.com/office/officeart/2005/8/layout/bProcess3"/>
    <dgm:cxn modelId="{0F296767-1F6D-4B51-AC2A-6D5542FC47A7}" type="presParOf" srcId="{4300F1C8-412B-4F0B-9C2E-343C45AD35A4}" destId="{EB2FB9D7-876E-4EF0-9FD7-C4C30184F1FF}" srcOrd="0" destOrd="0" presId="urn:microsoft.com/office/officeart/2005/8/layout/bProcess3"/>
    <dgm:cxn modelId="{FCC0D76B-FDD4-4641-9394-95FA42462BFA}" type="presParOf" srcId="{895357FC-0E1D-4568-AA20-CE35686FCC47}" destId="{F4CD87D4-9247-4C2A-B634-C2E64EF7BD3C}" srcOrd="4" destOrd="0" presId="urn:microsoft.com/office/officeart/2005/8/layout/bProcess3"/>
    <dgm:cxn modelId="{4777469D-96EC-4CBE-BF99-EF2E196581DA}" type="presParOf" srcId="{895357FC-0E1D-4568-AA20-CE35686FCC47}" destId="{ECDF613A-7CB9-48CE-BC90-3D5A1F56164D}" srcOrd="5" destOrd="0" presId="urn:microsoft.com/office/officeart/2005/8/layout/bProcess3"/>
    <dgm:cxn modelId="{A91B48F7-2E20-4C2F-ACB6-0A1DE6FCBBEA}" type="presParOf" srcId="{ECDF613A-7CB9-48CE-BC90-3D5A1F56164D}" destId="{BE66FB24-9E05-4DE7-9726-AA6B92BE0179}" srcOrd="0" destOrd="0" presId="urn:microsoft.com/office/officeart/2005/8/layout/bProcess3"/>
    <dgm:cxn modelId="{2160765B-9A8E-4549-B3C6-F5D3C3B56FF9}" type="presParOf" srcId="{895357FC-0E1D-4568-AA20-CE35686FCC47}" destId="{175066B0-9212-4238-B0B4-C41C333E8928}" srcOrd="6" destOrd="0" presId="urn:microsoft.com/office/officeart/2005/8/layout/bProcess3"/>
    <dgm:cxn modelId="{C2950324-EDC8-4553-9A60-E18A5CF56911}" type="presParOf" srcId="{895357FC-0E1D-4568-AA20-CE35686FCC47}" destId="{0D53613A-6C9F-43D9-AAC2-9AB2BE8EEEF6}" srcOrd="7" destOrd="0" presId="urn:microsoft.com/office/officeart/2005/8/layout/bProcess3"/>
    <dgm:cxn modelId="{C7ED54C6-B9D7-4C45-8D30-C1ECC7EB374B}" type="presParOf" srcId="{0D53613A-6C9F-43D9-AAC2-9AB2BE8EEEF6}" destId="{416A6A85-CA00-471B-B475-94F9E370F3F4}" srcOrd="0" destOrd="0" presId="urn:microsoft.com/office/officeart/2005/8/layout/bProcess3"/>
    <dgm:cxn modelId="{4E2250B5-890C-45F9-9616-ED838A8FD64A}" type="presParOf" srcId="{895357FC-0E1D-4568-AA20-CE35686FCC47}" destId="{976ED44C-9C55-4717-9675-629AD2D49692}" srcOrd="8" destOrd="0" presId="urn:microsoft.com/office/officeart/2005/8/layout/bProcess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AD9171F-48BF-4F61-B54F-D61AC835F989}" type="doc">
      <dgm:prSet loTypeId="urn:microsoft.com/office/officeart/2005/8/layout/hChevron3" loCatId="process" qsTypeId="urn:microsoft.com/office/officeart/2005/8/quickstyle/simple1" qsCatId="simple" csTypeId="urn:microsoft.com/office/officeart/2005/8/colors/colorful4" csCatId="colorful" phldr="1"/>
      <dgm:spPr/>
      <dgm:t>
        <a:bodyPr/>
        <a:lstStyle/>
        <a:p>
          <a:endParaRPr lang="en-US"/>
        </a:p>
      </dgm:t>
    </dgm:pt>
    <dgm:pt modelId="{1042A5B3-050F-468B-8D72-010CE33F6A19}">
      <dgm:prSet phldrT="[Text]"/>
      <dgm:spPr/>
      <dgm:t>
        <a:bodyPr/>
        <a:lstStyle/>
        <a:p>
          <a:r>
            <a:rPr lang="en-US" b="1" dirty="0"/>
            <a:t>Phase I</a:t>
          </a:r>
        </a:p>
      </dgm:t>
    </dgm:pt>
    <dgm:pt modelId="{39CD347C-3CE5-4391-84C5-E4B0F7D5FF90}" type="parTrans" cxnId="{C8ADC553-BE08-4CAF-ABD4-59AB7F83B06C}">
      <dgm:prSet/>
      <dgm:spPr/>
      <dgm:t>
        <a:bodyPr/>
        <a:lstStyle/>
        <a:p>
          <a:endParaRPr lang="en-US"/>
        </a:p>
      </dgm:t>
    </dgm:pt>
    <dgm:pt modelId="{DDC4F37D-3CDF-4B54-91F8-234AB3C5B720}" type="sibTrans" cxnId="{C8ADC553-BE08-4CAF-ABD4-59AB7F83B06C}">
      <dgm:prSet/>
      <dgm:spPr/>
      <dgm:t>
        <a:bodyPr/>
        <a:lstStyle/>
        <a:p>
          <a:endParaRPr lang="en-US"/>
        </a:p>
      </dgm:t>
    </dgm:pt>
    <dgm:pt modelId="{7CF72C71-5875-42BE-9836-650664FE561F}">
      <dgm:prSet phldrT="[Text]"/>
      <dgm:spPr/>
      <dgm:t>
        <a:bodyPr/>
        <a:lstStyle/>
        <a:p>
          <a:r>
            <a:rPr lang="en-GB" b="1" dirty="0"/>
            <a:t>Health Care Workers :</a:t>
          </a:r>
          <a:endParaRPr lang="en-US" dirty="0"/>
        </a:p>
      </dgm:t>
    </dgm:pt>
    <dgm:pt modelId="{D7D0BC0E-0015-461E-B427-998AD13C7495}" type="parTrans" cxnId="{F50C29FE-072E-4C6F-A5AD-5569BBA38209}">
      <dgm:prSet/>
      <dgm:spPr/>
      <dgm:t>
        <a:bodyPr/>
        <a:lstStyle/>
        <a:p>
          <a:endParaRPr lang="en-US"/>
        </a:p>
      </dgm:t>
    </dgm:pt>
    <dgm:pt modelId="{2DCD8263-A7BB-46D9-93A6-500B46DE013C}" type="sibTrans" cxnId="{F50C29FE-072E-4C6F-A5AD-5569BBA38209}">
      <dgm:prSet/>
      <dgm:spPr/>
      <dgm:t>
        <a:bodyPr/>
        <a:lstStyle/>
        <a:p>
          <a:endParaRPr lang="en-US"/>
        </a:p>
      </dgm:t>
    </dgm:pt>
    <dgm:pt modelId="{233E85F4-14F5-4892-99A1-362EA02975DE}">
      <dgm:prSet phldrT="[Text]"/>
      <dgm:spPr/>
      <dgm:t>
        <a:bodyPr/>
        <a:lstStyle/>
        <a:p>
          <a:r>
            <a:rPr lang="en-US" b="1" dirty="0"/>
            <a:t>Phase II</a:t>
          </a:r>
        </a:p>
      </dgm:t>
    </dgm:pt>
    <dgm:pt modelId="{DD69FD31-659D-4BA1-9F73-56AAAB21912E}" type="parTrans" cxnId="{482FE862-A6A4-4823-A3C4-F4EC3A9C42B6}">
      <dgm:prSet/>
      <dgm:spPr/>
      <dgm:t>
        <a:bodyPr/>
        <a:lstStyle/>
        <a:p>
          <a:endParaRPr lang="en-US"/>
        </a:p>
      </dgm:t>
    </dgm:pt>
    <dgm:pt modelId="{62B1F71E-411F-4C71-B0AB-4506AA51A0D2}" type="sibTrans" cxnId="{482FE862-A6A4-4823-A3C4-F4EC3A9C42B6}">
      <dgm:prSet/>
      <dgm:spPr/>
      <dgm:t>
        <a:bodyPr/>
        <a:lstStyle/>
        <a:p>
          <a:endParaRPr lang="en-US"/>
        </a:p>
      </dgm:t>
    </dgm:pt>
    <dgm:pt modelId="{83E4CB06-37CB-4E7B-970E-66D8AF058981}">
      <dgm:prSet phldrT="[Text]"/>
      <dgm:spPr/>
      <dgm:t>
        <a:bodyPr/>
        <a:lstStyle/>
        <a:p>
          <a:pPr>
            <a:buFont typeface="Arial" panose="020B0604020202020204" pitchFamily="34" charset="0"/>
            <a:buChar char="•"/>
          </a:pPr>
          <a:r>
            <a:rPr lang="en-GB" dirty="0">
              <a:solidFill>
                <a:schemeClr val="bg1"/>
              </a:solidFill>
            </a:rPr>
            <a:t>Essential Workers</a:t>
          </a:r>
          <a:endParaRPr lang="en-US" dirty="0"/>
        </a:p>
      </dgm:t>
    </dgm:pt>
    <dgm:pt modelId="{B7DFA632-E752-4321-93E4-0EDC28E07692}" type="parTrans" cxnId="{9FC755D7-1055-45FA-B9C2-9BDEA0EF7DEA}">
      <dgm:prSet/>
      <dgm:spPr/>
      <dgm:t>
        <a:bodyPr/>
        <a:lstStyle/>
        <a:p>
          <a:endParaRPr lang="en-US"/>
        </a:p>
      </dgm:t>
    </dgm:pt>
    <dgm:pt modelId="{8750867F-4E2A-4592-88D1-88E198BDE706}" type="sibTrans" cxnId="{9FC755D7-1055-45FA-B9C2-9BDEA0EF7DEA}">
      <dgm:prSet/>
      <dgm:spPr/>
      <dgm:t>
        <a:bodyPr/>
        <a:lstStyle/>
        <a:p>
          <a:endParaRPr lang="en-US"/>
        </a:p>
      </dgm:t>
    </dgm:pt>
    <dgm:pt modelId="{F7F88DA7-CD02-45A3-AD02-DE2FBA0AE1A4}">
      <dgm:prSet phldrT="[Text]"/>
      <dgm:spPr/>
      <dgm:t>
        <a:bodyPr/>
        <a:lstStyle/>
        <a:p>
          <a:r>
            <a:rPr lang="en-US" b="1" dirty="0"/>
            <a:t>Phase III</a:t>
          </a:r>
        </a:p>
      </dgm:t>
    </dgm:pt>
    <dgm:pt modelId="{20B9B143-EB12-40FD-AD35-E3B80E763A02}" type="parTrans" cxnId="{B197F0E8-AD21-447A-9ED3-1AB87D07456D}">
      <dgm:prSet/>
      <dgm:spPr/>
      <dgm:t>
        <a:bodyPr/>
        <a:lstStyle/>
        <a:p>
          <a:endParaRPr lang="en-US"/>
        </a:p>
      </dgm:t>
    </dgm:pt>
    <dgm:pt modelId="{80E22888-85F3-417D-A76A-4B0FB5A7BED9}" type="sibTrans" cxnId="{B197F0E8-AD21-447A-9ED3-1AB87D07456D}">
      <dgm:prSet/>
      <dgm:spPr/>
      <dgm:t>
        <a:bodyPr/>
        <a:lstStyle/>
        <a:p>
          <a:endParaRPr lang="en-US"/>
        </a:p>
      </dgm:t>
    </dgm:pt>
    <dgm:pt modelId="{03072D59-A2B4-4062-8E82-C74ABDDF5304}">
      <dgm:prSet phldrT="[Text]"/>
      <dgm:spPr/>
      <dgm:t>
        <a:bodyPr/>
        <a:lstStyle/>
        <a:p>
          <a:r>
            <a:rPr lang="en-GB" dirty="0"/>
            <a:t>Older than 18 years</a:t>
          </a:r>
          <a:endParaRPr lang="en-US" dirty="0"/>
        </a:p>
      </dgm:t>
    </dgm:pt>
    <dgm:pt modelId="{B699CE97-58A6-4DD3-BAA9-63AC7A2C32BE}" type="parTrans" cxnId="{48AE23C4-CE90-4696-8974-E44F4ABD9A21}">
      <dgm:prSet/>
      <dgm:spPr/>
      <dgm:t>
        <a:bodyPr/>
        <a:lstStyle/>
        <a:p>
          <a:endParaRPr lang="en-US"/>
        </a:p>
      </dgm:t>
    </dgm:pt>
    <dgm:pt modelId="{D21ACF59-E01F-403B-81B9-C81C3134DFF8}" type="sibTrans" cxnId="{48AE23C4-CE90-4696-8974-E44F4ABD9A21}">
      <dgm:prSet/>
      <dgm:spPr/>
      <dgm:t>
        <a:bodyPr/>
        <a:lstStyle/>
        <a:p>
          <a:endParaRPr lang="en-US"/>
        </a:p>
      </dgm:t>
    </dgm:pt>
    <dgm:pt modelId="{92BFFA1A-4CE7-40E4-945B-741BC933D006}">
      <dgm:prSet/>
      <dgm:spPr/>
      <dgm:t>
        <a:bodyPr/>
        <a:lstStyle/>
        <a:p>
          <a:r>
            <a:rPr lang="en-GB" dirty="0"/>
            <a:t>Care Workers</a:t>
          </a:r>
        </a:p>
      </dgm:t>
    </dgm:pt>
    <dgm:pt modelId="{5C1143C0-7B71-4A75-B1A1-B60E8E47463C}" type="parTrans" cxnId="{EB83350E-AD7E-44D9-8E1D-F83738283EA5}">
      <dgm:prSet/>
      <dgm:spPr/>
      <dgm:t>
        <a:bodyPr/>
        <a:lstStyle/>
        <a:p>
          <a:endParaRPr lang="en-US"/>
        </a:p>
      </dgm:t>
    </dgm:pt>
    <dgm:pt modelId="{09B40DC3-2600-4CCA-928C-C91717A90DDE}" type="sibTrans" cxnId="{EB83350E-AD7E-44D9-8E1D-F83738283EA5}">
      <dgm:prSet/>
      <dgm:spPr/>
      <dgm:t>
        <a:bodyPr/>
        <a:lstStyle/>
        <a:p>
          <a:endParaRPr lang="en-US"/>
        </a:p>
      </dgm:t>
    </dgm:pt>
    <dgm:pt modelId="{B37BD7CA-9B74-4FF7-A6BC-BFAC59FD881F}">
      <dgm:prSet/>
      <dgm:spPr/>
      <dgm:t>
        <a:bodyPr/>
        <a:lstStyle/>
        <a:p>
          <a:r>
            <a:rPr lang="en-GB" dirty="0"/>
            <a:t>CHWs</a:t>
          </a:r>
        </a:p>
      </dgm:t>
    </dgm:pt>
    <dgm:pt modelId="{5EDB3B95-E94C-416A-BE30-B9A6CCA77115}" type="parTrans" cxnId="{AF18D314-8F48-4326-859D-27C3CE39E12C}">
      <dgm:prSet/>
      <dgm:spPr/>
      <dgm:t>
        <a:bodyPr/>
        <a:lstStyle/>
        <a:p>
          <a:endParaRPr lang="en-US"/>
        </a:p>
      </dgm:t>
    </dgm:pt>
    <dgm:pt modelId="{1F493C56-A292-46BB-BF04-A5AAA860B186}" type="sibTrans" cxnId="{AF18D314-8F48-4326-859D-27C3CE39E12C}">
      <dgm:prSet/>
      <dgm:spPr/>
      <dgm:t>
        <a:bodyPr/>
        <a:lstStyle/>
        <a:p>
          <a:endParaRPr lang="en-US"/>
        </a:p>
      </dgm:t>
    </dgm:pt>
    <dgm:pt modelId="{FC50C516-1D7E-4BDD-8B86-50D009A20C37}">
      <dgm:prSet/>
      <dgm:spPr/>
      <dgm:t>
        <a:bodyPr/>
        <a:lstStyle/>
        <a:p>
          <a:r>
            <a:rPr lang="en-GB" dirty="0"/>
            <a:t>Health Science students</a:t>
          </a:r>
        </a:p>
      </dgm:t>
    </dgm:pt>
    <dgm:pt modelId="{F1A2896B-F689-4E3F-8603-F8AAC434C709}" type="parTrans" cxnId="{BBF5A401-27A3-49F5-BBA9-C4C7E90BE080}">
      <dgm:prSet/>
      <dgm:spPr/>
      <dgm:t>
        <a:bodyPr/>
        <a:lstStyle/>
        <a:p>
          <a:endParaRPr lang="en-US"/>
        </a:p>
      </dgm:t>
    </dgm:pt>
    <dgm:pt modelId="{5C722018-E37F-43B2-AC51-85B5F02AF3A3}" type="sibTrans" cxnId="{BBF5A401-27A3-49F5-BBA9-C4C7E90BE080}">
      <dgm:prSet/>
      <dgm:spPr/>
      <dgm:t>
        <a:bodyPr/>
        <a:lstStyle/>
        <a:p>
          <a:endParaRPr lang="en-US"/>
        </a:p>
      </dgm:t>
    </dgm:pt>
    <dgm:pt modelId="{854AB0CC-CC75-4E56-9232-32E8A2CBB161}">
      <dgm:prSet/>
      <dgm:spPr/>
      <dgm:t>
        <a:bodyPr/>
        <a:lstStyle/>
        <a:p>
          <a:r>
            <a:rPr lang="en-GB" b="1" dirty="0">
              <a:solidFill>
                <a:schemeClr val="tx1"/>
              </a:solidFill>
            </a:rPr>
            <a:t>Estimated target:</a:t>
          </a:r>
          <a:endParaRPr lang="en-GB" dirty="0"/>
        </a:p>
      </dgm:t>
    </dgm:pt>
    <dgm:pt modelId="{2A9F03D8-0617-44CA-863B-0093CD3FC703}" type="parTrans" cxnId="{11E3C683-3BEA-42BA-8E39-4E564CDF735F}">
      <dgm:prSet/>
      <dgm:spPr/>
      <dgm:t>
        <a:bodyPr/>
        <a:lstStyle/>
        <a:p>
          <a:endParaRPr lang="en-US"/>
        </a:p>
      </dgm:t>
    </dgm:pt>
    <dgm:pt modelId="{80EDB310-DBC6-4029-8999-47CE3A5743CE}" type="sibTrans" cxnId="{11E3C683-3BEA-42BA-8E39-4E564CDF735F}">
      <dgm:prSet/>
      <dgm:spPr/>
      <dgm:t>
        <a:bodyPr/>
        <a:lstStyle/>
        <a:p>
          <a:endParaRPr lang="en-US"/>
        </a:p>
      </dgm:t>
    </dgm:pt>
    <dgm:pt modelId="{A0894EB5-D21C-43E0-8DDB-60DC901B7365}">
      <dgm:prSet/>
      <dgm:spPr/>
      <dgm:t>
        <a:bodyPr/>
        <a:lstStyle/>
        <a:p>
          <a:r>
            <a:rPr lang="en-GB" dirty="0"/>
            <a:t>Public &amp; Private Health Sectors</a:t>
          </a:r>
        </a:p>
      </dgm:t>
    </dgm:pt>
    <dgm:pt modelId="{F6738176-BFFD-4A37-A8B7-F640DA642ACA}" type="parTrans" cxnId="{BEE6E80F-2202-4FCD-93BF-D41A94B9BF21}">
      <dgm:prSet/>
      <dgm:spPr/>
      <dgm:t>
        <a:bodyPr/>
        <a:lstStyle/>
        <a:p>
          <a:endParaRPr lang="en-US"/>
        </a:p>
      </dgm:t>
    </dgm:pt>
    <dgm:pt modelId="{C8D49290-724F-428A-86F8-A4EA27C2CE4C}" type="sibTrans" cxnId="{BEE6E80F-2202-4FCD-93BF-D41A94B9BF21}">
      <dgm:prSet/>
      <dgm:spPr/>
      <dgm:t>
        <a:bodyPr/>
        <a:lstStyle/>
        <a:p>
          <a:endParaRPr lang="en-US"/>
        </a:p>
      </dgm:t>
    </dgm:pt>
    <dgm:pt modelId="{548245D7-C204-4D65-A822-030CDC6166FD}">
      <dgm:prSet/>
      <dgm:spPr/>
      <dgm:t>
        <a:bodyPr/>
        <a:lstStyle/>
        <a:p>
          <a:r>
            <a:rPr lang="en-GB" b="1" dirty="0">
              <a:solidFill>
                <a:schemeClr val="tx1"/>
              </a:solidFill>
            </a:rPr>
            <a:t> 133 000</a:t>
          </a:r>
          <a:endParaRPr lang="en-GB" dirty="0"/>
        </a:p>
      </dgm:t>
    </dgm:pt>
    <dgm:pt modelId="{EB309A0F-59C3-4C5B-975B-643681C91D87}" type="parTrans" cxnId="{1FE17E93-8022-4361-844E-4AF474A2685B}">
      <dgm:prSet/>
      <dgm:spPr/>
      <dgm:t>
        <a:bodyPr/>
        <a:lstStyle/>
        <a:p>
          <a:endParaRPr lang="en-US"/>
        </a:p>
      </dgm:t>
    </dgm:pt>
    <dgm:pt modelId="{9F04AB99-9158-4B26-8EB5-15A09B955C85}" type="sibTrans" cxnId="{1FE17E93-8022-4361-844E-4AF474A2685B}">
      <dgm:prSet/>
      <dgm:spPr/>
      <dgm:t>
        <a:bodyPr/>
        <a:lstStyle/>
        <a:p>
          <a:endParaRPr lang="en-US"/>
        </a:p>
      </dgm:t>
    </dgm:pt>
    <dgm:pt modelId="{4A7DAF2A-3C8B-4966-99A5-527C22FA6A37}">
      <dgm:prSet/>
      <dgm:spPr/>
      <dgm:t>
        <a:bodyPr/>
        <a:lstStyle/>
        <a:p>
          <a:r>
            <a:rPr lang="en-GB" dirty="0">
              <a:solidFill>
                <a:schemeClr val="bg1"/>
              </a:solidFill>
            </a:rPr>
            <a:t>Clients in congregate settings </a:t>
          </a:r>
        </a:p>
      </dgm:t>
    </dgm:pt>
    <dgm:pt modelId="{01E8F7BC-059D-4022-B5E7-6619D5596D86}" type="parTrans" cxnId="{2743BF26-1BEA-4D1D-B09B-E2FEB430DF12}">
      <dgm:prSet/>
      <dgm:spPr/>
      <dgm:t>
        <a:bodyPr/>
        <a:lstStyle/>
        <a:p>
          <a:endParaRPr lang="en-US"/>
        </a:p>
      </dgm:t>
    </dgm:pt>
    <dgm:pt modelId="{8E3064C2-F7EF-414F-9B6A-FD146C1E7325}" type="sibTrans" cxnId="{2743BF26-1BEA-4D1D-B09B-E2FEB430DF12}">
      <dgm:prSet/>
      <dgm:spPr/>
      <dgm:t>
        <a:bodyPr/>
        <a:lstStyle/>
        <a:p>
          <a:endParaRPr lang="en-US"/>
        </a:p>
      </dgm:t>
    </dgm:pt>
    <dgm:pt modelId="{35689CB1-2E0B-4C00-894B-A8A3B84A3280}">
      <dgm:prSet/>
      <dgm:spPr/>
      <dgm:t>
        <a:bodyPr/>
        <a:lstStyle/>
        <a:p>
          <a:r>
            <a:rPr lang="en-GB" dirty="0">
              <a:solidFill>
                <a:schemeClr val="bg1"/>
              </a:solidFill>
            </a:rPr>
            <a:t>Older than 60 Years</a:t>
          </a:r>
        </a:p>
      </dgm:t>
    </dgm:pt>
    <dgm:pt modelId="{665D4414-CC3D-4F16-9410-5C3769AB6685}" type="parTrans" cxnId="{84D47656-9B04-40B3-A222-8DC822544597}">
      <dgm:prSet/>
      <dgm:spPr/>
      <dgm:t>
        <a:bodyPr/>
        <a:lstStyle/>
        <a:p>
          <a:endParaRPr lang="en-US"/>
        </a:p>
      </dgm:t>
    </dgm:pt>
    <dgm:pt modelId="{032C1D5A-4059-432A-8B75-BC60B1602EC5}" type="sibTrans" cxnId="{84D47656-9B04-40B3-A222-8DC822544597}">
      <dgm:prSet/>
      <dgm:spPr/>
      <dgm:t>
        <a:bodyPr/>
        <a:lstStyle/>
        <a:p>
          <a:endParaRPr lang="en-US"/>
        </a:p>
      </dgm:t>
    </dgm:pt>
    <dgm:pt modelId="{61432FD0-2494-4434-9ECD-5DBF1076A56E}">
      <dgm:prSet/>
      <dgm:spPr/>
      <dgm:t>
        <a:bodyPr/>
        <a:lstStyle/>
        <a:p>
          <a:r>
            <a:rPr lang="en-GB" dirty="0">
              <a:solidFill>
                <a:schemeClr val="bg1"/>
              </a:solidFill>
            </a:rPr>
            <a:t>Older than 18 </a:t>
          </a:r>
          <a:r>
            <a:rPr lang="en-GB" dirty="0" err="1">
              <a:solidFill>
                <a:schemeClr val="bg1"/>
              </a:solidFill>
            </a:rPr>
            <a:t>yrs</a:t>
          </a:r>
          <a:r>
            <a:rPr lang="en-GB" dirty="0">
              <a:solidFill>
                <a:schemeClr val="bg1"/>
              </a:solidFill>
            </a:rPr>
            <a:t> with Co-morbidities</a:t>
          </a:r>
        </a:p>
      </dgm:t>
    </dgm:pt>
    <dgm:pt modelId="{D1FFBB08-B336-469E-95D0-9D573F10DF93}" type="parTrans" cxnId="{68296562-4522-4769-9571-306D390B06B9}">
      <dgm:prSet/>
      <dgm:spPr/>
      <dgm:t>
        <a:bodyPr/>
        <a:lstStyle/>
        <a:p>
          <a:endParaRPr lang="en-US"/>
        </a:p>
      </dgm:t>
    </dgm:pt>
    <dgm:pt modelId="{917049D7-9454-46A4-B6E8-315CC8E30C02}" type="sibTrans" cxnId="{68296562-4522-4769-9571-306D390B06B9}">
      <dgm:prSet/>
      <dgm:spPr/>
      <dgm:t>
        <a:bodyPr/>
        <a:lstStyle/>
        <a:p>
          <a:endParaRPr lang="en-US"/>
        </a:p>
      </dgm:t>
    </dgm:pt>
    <dgm:pt modelId="{139FF608-CA94-4835-8E97-8E167EE93747}">
      <dgm:prSet/>
      <dgm:spPr/>
      <dgm:t>
        <a:bodyPr/>
        <a:lstStyle/>
        <a:p>
          <a:r>
            <a:rPr lang="en-GB" b="1" dirty="0">
              <a:solidFill>
                <a:schemeClr val="tx1"/>
              </a:solidFill>
            </a:rPr>
            <a:t>Estimated target : </a:t>
          </a:r>
        </a:p>
      </dgm:t>
    </dgm:pt>
    <dgm:pt modelId="{0B0FB461-603F-4D86-B747-6CA654C9A124}" type="parTrans" cxnId="{38BF0CAC-937C-4E6D-9BF7-ABB82314BD07}">
      <dgm:prSet/>
      <dgm:spPr/>
      <dgm:t>
        <a:bodyPr/>
        <a:lstStyle/>
        <a:p>
          <a:endParaRPr lang="en-US"/>
        </a:p>
      </dgm:t>
    </dgm:pt>
    <dgm:pt modelId="{B4CD409A-D028-4A9A-95A3-C2EEAD7EE66B}" type="sibTrans" cxnId="{38BF0CAC-937C-4E6D-9BF7-ABB82314BD07}">
      <dgm:prSet/>
      <dgm:spPr/>
      <dgm:t>
        <a:bodyPr/>
        <a:lstStyle/>
        <a:p>
          <a:endParaRPr lang="en-US"/>
        </a:p>
      </dgm:t>
    </dgm:pt>
    <dgm:pt modelId="{59D1C250-F7A4-44AC-BB43-992944158DD3}">
      <dgm:prSet/>
      <dgm:spPr/>
      <dgm:t>
        <a:bodyPr/>
        <a:lstStyle/>
        <a:p>
          <a:r>
            <a:rPr lang="en-GB" b="1" dirty="0">
              <a:solidFill>
                <a:schemeClr val="tx1"/>
              </a:solidFill>
            </a:rPr>
            <a:t> 2m</a:t>
          </a:r>
        </a:p>
      </dgm:t>
    </dgm:pt>
    <dgm:pt modelId="{20C72A80-E3CD-44DF-8514-7556231A1504}" type="parTrans" cxnId="{1B063C48-B11A-4BF3-857B-FE18B0A731FC}">
      <dgm:prSet/>
      <dgm:spPr/>
      <dgm:t>
        <a:bodyPr/>
        <a:lstStyle/>
        <a:p>
          <a:endParaRPr lang="en-US"/>
        </a:p>
      </dgm:t>
    </dgm:pt>
    <dgm:pt modelId="{5D0D4686-C0E2-4E9A-827B-2A51F81BFD50}" type="sibTrans" cxnId="{1B063C48-B11A-4BF3-857B-FE18B0A731FC}">
      <dgm:prSet/>
      <dgm:spPr/>
      <dgm:t>
        <a:bodyPr/>
        <a:lstStyle/>
        <a:p>
          <a:endParaRPr lang="en-US"/>
        </a:p>
      </dgm:t>
    </dgm:pt>
    <dgm:pt modelId="{D49B1619-79ED-4827-A5EF-1019479C5EAC}">
      <dgm:prSet/>
      <dgm:spPr/>
      <dgm:t>
        <a:bodyPr/>
        <a:lstStyle/>
        <a:p>
          <a:r>
            <a:rPr lang="en-GB" b="1" dirty="0">
              <a:solidFill>
                <a:schemeClr val="tx1"/>
              </a:solidFill>
            </a:rPr>
            <a:t>Estimated target :</a:t>
          </a:r>
        </a:p>
      </dgm:t>
    </dgm:pt>
    <dgm:pt modelId="{DADD73D3-C0F8-4965-ACB6-3B5361AA252A}" type="parTrans" cxnId="{FD29AA69-94EC-4B34-BE67-22CDF6A00508}">
      <dgm:prSet/>
      <dgm:spPr/>
      <dgm:t>
        <a:bodyPr/>
        <a:lstStyle/>
        <a:p>
          <a:endParaRPr lang="en-US"/>
        </a:p>
      </dgm:t>
    </dgm:pt>
    <dgm:pt modelId="{0921D9CD-B460-423D-AF6B-31E8AD2CF1EB}" type="sibTrans" cxnId="{FD29AA69-94EC-4B34-BE67-22CDF6A00508}">
      <dgm:prSet/>
      <dgm:spPr/>
      <dgm:t>
        <a:bodyPr/>
        <a:lstStyle/>
        <a:p>
          <a:endParaRPr lang="en-US"/>
        </a:p>
      </dgm:t>
    </dgm:pt>
    <dgm:pt modelId="{DFCE117B-C1B8-4AF6-895C-DF4C6726E135}">
      <dgm:prSet/>
      <dgm:spPr/>
      <dgm:t>
        <a:bodyPr/>
        <a:lstStyle/>
        <a:p>
          <a:r>
            <a:rPr lang="en-GB" b="1" dirty="0">
              <a:solidFill>
                <a:schemeClr val="tx1"/>
              </a:solidFill>
            </a:rPr>
            <a:t> 2,9m</a:t>
          </a:r>
        </a:p>
      </dgm:t>
    </dgm:pt>
    <dgm:pt modelId="{82A58022-6FBB-4BA8-AA2A-C77520ABBD6A}" type="parTrans" cxnId="{4262AEA8-4BDD-4330-BD6D-1D5966015175}">
      <dgm:prSet/>
      <dgm:spPr/>
      <dgm:t>
        <a:bodyPr/>
        <a:lstStyle/>
        <a:p>
          <a:endParaRPr lang="en-US"/>
        </a:p>
      </dgm:t>
    </dgm:pt>
    <dgm:pt modelId="{85BEC4A4-48A9-4537-A06A-81E15BED8966}" type="sibTrans" cxnId="{4262AEA8-4BDD-4330-BD6D-1D5966015175}">
      <dgm:prSet/>
      <dgm:spPr/>
      <dgm:t>
        <a:bodyPr/>
        <a:lstStyle/>
        <a:p>
          <a:endParaRPr lang="en-US"/>
        </a:p>
      </dgm:t>
    </dgm:pt>
    <dgm:pt modelId="{94B931FF-B1F1-41E4-9B99-169CD1446911}">
      <dgm:prSet phldrT="[Text]"/>
      <dgm:spPr/>
      <dgm:t>
        <a:bodyPr/>
        <a:lstStyle/>
        <a:p>
          <a:endParaRPr lang="en-US" dirty="0"/>
        </a:p>
      </dgm:t>
    </dgm:pt>
    <dgm:pt modelId="{392A1BF2-BB8C-493A-810E-99E042686B6D}" type="parTrans" cxnId="{11CC944D-3B3F-4B87-A051-91356555E05D}">
      <dgm:prSet/>
      <dgm:spPr/>
      <dgm:t>
        <a:bodyPr/>
        <a:lstStyle/>
        <a:p>
          <a:endParaRPr lang="en-US"/>
        </a:p>
      </dgm:t>
    </dgm:pt>
    <dgm:pt modelId="{155256A9-D95D-4623-8A74-13ABDB5CBEA5}" type="sibTrans" cxnId="{11CC944D-3B3F-4B87-A051-91356555E05D}">
      <dgm:prSet/>
      <dgm:spPr/>
      <dgm:t>
        <a:bodyPr/>
        <a:lstStyle/>
        <a:p>
          <a:endParaRPr lang="en-US"/>
        </a:p>
      </dgm:t>
    </dgm:pt>
    <dgm:pt modelId="{3F360B8A-B4DA-4C43-820B-98DA4A08D9D5}">
      <dgm:prSet phldrT="[Text]"/>
      <dgm:spPr/>
      <dgm:t>
        <a:bodyPr/>
        <a:lstStyle/>
        <a:p>
          <a:endParaRPr lang="en-US" dirty="0"/>
        </a:p>
      </dgm:t>
    </dgm:pt>
    <dgm:pt modelId="{68D9D635-E46B-451B-A78B-97258179525F}" type="parTrans" cxnId="{53C22DE1-960F-4BC7-84B6-6CCD25EAC860}">
      <dgm:prSet/>
      <dgm:spPr/>
      <dgm:t>
        <a:bodyPr/>
        <a:lstStyle/>
        <a:p>
          <a:endParaRPr lang="en-US"/>
        </a:p>
      </dgm:t>
    </dgm:pt>
    <dgm:pt modelId="{419DF399-D3D6-4BF3-97B7-B3E1461D7D08}" type="sibTrans" cxnId="{53C22DE1-960F-4BC7-84B6-6CCD25EAC860}">
      <dgm:prSet/>
      <dgm:spPr/>
      <dgm:t>
        <a:bodyPr/>
        <a:lstStyle/>
        <a:p>
          <a:endParaRPr lang="en-US"/>
        </a:p>
      </dgm:t>
    </dgm:pt>
    <dgm:pt modelId="{0A544E3A-54E6-43F2-A92C-C9259A0C7327}">
      <dgm:prSet phldrT="[Text]"/>
      <dgm:spPr/>
      <dgm:t>
        <a:bodyPr/>
        <a:lstStyle/>
        <a:p>
          <a:endParaRPr lang="en-US" dirty="0"/>
        </a:p>
      </dgm:t>
    </dgm:pt>
    <dgm:pt modelId="{DB14C2BB-9AD2-4D0F-9A89-380F4DFE63D8}" type="parTrans" cxnId="{B735F456-5273-4359-A4AD-C10DC364F3D2}">
      <dgm:prSet/>
      <dgm:spPr/>
      <dgm:t>
        <a:bodyPr/>
        <a:lstStyle/>
        <a:p>
          <a:endParaRPr lang="en-US"/>
        </a:p>
      </dgm:t>
    </dgm:pt>
    <dgm:pt modelId="{E301E9D4-FE9B-470E-845C-05B70F719126}" type="sibTrans" cxnId="{B735F456-5273-4359-A4AD-C10DC364F3D2}">
      <dgm:prSet/>
      <dgm:spPr/>
      <dgm:t>
        <a:bodyPr/>
        <a:lstStyle/>
        <a:p>
          <a:endParaRPr lang="en-US"/>
        </a:p>
      </dgm:t>
    </dgm:pt>
    <dgm:pt modelId="{CEC89327-4E88-44E5-84E2-F39039930DA7}">
      <dgm:prSet phldrT="[Text]"/>
      <dgm:spPr/>
      <dgm:t>
        <a:bodyPr/>
        <a:lstStyle/>
        <a:p>
          <a:endParaRPr lang="en-US" dirty="0"/>
        </a:p>
      </dgm:t>
    </dgm:pt>
    <dgm:pt modelId="{DB8A41CF-2AC5-4919-BA6A-EC7BFBCF7926}" type="parTrans" cxnId="{E78696A6-A7B2-4988-BABD-4D68D13B7EB6}">
      <dgm:prSet/>
      <dgm:spPr/>
      <dgm:t>
        <a:bodyPr/>
        <a:lstStyle/>
        <a:p>
          <a:endParaRPr lang="en-US"/>
        </a:p>
      </dgm:t>
    </dgm:pt>
    <dgm:pt modelId="{84972B0D-C032-4F6B-9340-1E926932EEDA}" type="sibTrans" cxnId="{E78696A6-A7B2-4988-BABD-4D68D13B7EB6}">
      <dgm:prSet/>
      <dgm:spPr/>
      <dgm:t>
        <a:bodyPr/>
        <a:lstStyle/>
        <a:p>
          <a:endParaRPr lang="en-US"/>
        </a:p>
      </dgm:t>
    </dgm:pt>
    <dgm:pt modelId="{919AB00F-0A93-4F22-AFD7-AB05CD4AD848}">
      <dgm:prSet phldrT="[Text]"/>
      <dgm:spPr/>
      <dgm:t>
        <a:bodyPr/>
        <a:lstStyle/>
        <a:p>
          <a:endParaRPr lang="en-US" dirty="0"/>
        </a:p>
      </dgm:t>
    </dgm:pt>
    <dgm:pt modelId="{DDBAF5E3-2042-4B0E-95AA-263E2D09ACBE}" type="parTrans" cxnId="{630367C4-71CD-49EF-9FDD-FB93FF625862}">
      <dgm:prSet/>
      <dgm:spPr/>
      <dgm:t>
        <a:bodyPr/>
        <a:lstStyle/>
        <a:p>
          <a:endParaRPr lang="en-US"/>
        </a:p>
      </dgm:t>
    </dgm:pt>
    <dgm:pt modelId="{9319D10F-84B4-4375-BBDC-40A90B2F6DD9}" type="sibTrans" cxnId="{630367C4-71CD-49EF-9FDD-FB93FF625862}">
      <dgm:prSet/>
      <dgm:spPr/>
      <dgm:t>
        <a:bodyPr/>
        <a:lstStyle/>
        <a:p>
          <a:endParaRPr lang="en-US"/>
        </a:p>
      </dgm:t>
    </dgm:pt>
    <dgm:pt modelId="{1C11958F-2795-467C-BA6E-7804062752E9}">
      <dgm:prSet/>
      <dgm:spPr/>
      <dgm:t>
        <a:bodyPr/>
        <a:lstStyle/>
        <a:p>
          <a:endParaRPr lang="en-GB" dirty="0"/>
        </a:p>
      </dgm:t>
    </dgm:pt>
    <dgm:pt modelId="{304B5778-D3D6-4EF7-B84F-C5F618854CCF}" type="parTrans" cxnId="{25FD3513-1682-4DA1-99C6-073FF93472F0}">
      <dgm:prSet/>
      <dgm:spPr/>
      <dgm:t>
        <a:bodyPr/>
        <a:lstStyle/>
        <a:p>
          <a:endParaRPr lang="en-US"/>
        </a:p>
      </dgm:t>
    </dgm:pt>
    <dgm:pt modelId="{3E3D35C7-C3E3-47A0-A549-B62EAFEA03CD}" type="sibTrans" cxnId="{25FD3513-1682-4DA1-99C6-073FF93472F0}">
      <dgm:prSet/>
      <dgm:spPr/>
      <dgm:t>
        <a:bodyPr/>
        <a:lstStyle/>
        <a:p>
          <a:endParaRPr lang="en-US"/>
        </a:p>
      </dgm:t>
    </dgm:pt>
    <dgm:pt modelId="{6350D10F-4371-4F10-85E7-65CC55375A10}">
      <dgm:prSet/>
      <dgm:spPr/>
      <dgm:t>
        <a:bodyPr/>
        <a:lstStyle/>
        <a:p>
          <a:endParaRPr lang="en-GB" dirty="0">
            <a:solidFill>
              <a:schemeClr val="bg1"/>
            </a:solidFill>
          </a:endParaRPr>
        </a:p>
      </dgm:t>
    </dgm:pt>
    <dgm:pt modelId="{6AC63CAB-86C3-4EB2-9611-685738BD437C}" type="parTrans" cxnId="{35FC9EF0-7C84-4ADC-B80F-08CC6B2509EC}">
      <dgm:prSet/>
      <dgm:spPr/>
      <dgm:t>
        <a:bodyPr/>
        <a:lstStyle/>
        <a:p>
          <a:endParaRPr lang="en-US"/>
        </a:p>
      </dgm:t>
    </dgm:pt>
    <dgm:pt modelId="{18B0FFD4-CC07-4824-B02A-790666218949}" type="sibTrans" cxnId="{35FC9EF0-7C84-4ADC-B80F-08CC6B2509EC}">
      <dgm:prSet/>
      <dgm:spPr/>
      <dgm:t>
        <a:bodyPr/>
        <a:lstStyle/>
        <a:p>
          <a:endParaRPr lang="en-US"/>
        </a:p>
      </dgm:t>
    </dgm:pt>
    <dgm:pt modelId="{6FF4CD33-C2AD-42A5-A3D4-D834F3E997DB}">
      <dgm:prSet phldrT="[Text]"/>
      <dgm:spPr/>
      <dgm:t>
        <a:bodyPr/>
        <a:lstStyle/>
        <a:p>
          <a:endParaRPr lang="en-US" dirty="0"/>
        </a:p>
      </dgm:t>
    </dgm:pt>
    <dgm:pt modelId="{612A111D-4C73-45CD-B9EF-A4451A392780}" type="parTrans" cxnId="{D4DC376E-6B6F-4E52-8D64-61A56D3FD5E9}">
      <dgm:prSet/>
      <dgm:spPr/>
      <dgm:t>
        <a:bodyPr/>
        <a:lstStyle/>
        <a:p>
          <a:endParaRPr lang="en-US"/>
        </a:p>
      </dgm:t>
    </dgm:pt>
    <dgm:pt modelId="{2AB13E8C-1432-46F1-A61C-94E3DAB4A20B}" type="sibTrans" cxnId="{D4DC376E-6B6F-4E52-8D64-61A56D3FD5E9}">
      <dgm:prSet/>
      <dgm:spPr/>
      <dgm:t>
        <a:bodyPr/>
        <a:lstStyle/>
        <a:p>
          <a:endParaRPr lang="en-US"/>
        </a:p>
      </dgm:t>
    </dgm:pt>
    <dgm:pt modelId="{5D21EF67-7885-4C53-8EFD-774505CC083D}">
      <dgm:prSet/>
      <dgm:spPr/>
      <dgm:t>
        <a:bodyPr/>
        <a:lstStyle/>
        <a:p>
          <a:r>
            <a:rPr lang="en-GB" dirty="0"/>
            <a:t>Traditional Healers</a:t>
          </a:r>
        </a:p>
      </dgm:t>
    </dgm:pt>
    <dgm:pt modelId="{3EB0C153-8DC7-4E3B-92BD-9D19D2A09CB6}" type="parTrans" cxnId="{08DBAC4A-3EDB-42BB-97E9-8828E23883FE}">
      <dgm:prSet/>
      <dgm:spPr/>
      <dgm:t>
        <a:bodyPr/>
        <a:lstStyle/>
        <a:p>
          <a:endParaRPr lang="en-GB"/>
        </a:p>
      </dgm:t>
    </dgm:pt>
    <dgm:pt modelId="{787FDE3F-27EC-4011-ADF2-4AE29E50DC62}" type="sibTrans" cxnId="{08DBAC4A-3EDB-42BB-97E9-8828E23883FE}">
      <dgm:prSet/>
      <dgm:spPr/>
      <dgm:t>
        <a:bodyPr/>
        <a:lstStyle/>
        <a:p>
          <a:endParaRPr lang="en-GB"/>
        </a:p>
      </dgm:t>
    </dgm:pt>
    <dgm:pt modelId="{61E684A9-D6C1-4DC0-8CB6-F574763AE61E}" type="pres">
      <dgm:prSet presAssocID="{4AD9171F-48BF-4F61-B54F-D61AC835F989}" presName="Name0" presStyleCnt="0">
        <dgm:presLayoutVars>
          <dgm:dir/>
          <dgm:resizeHandles val="exact"/>
        </dgm:presLayoutVars>
      </dgm:prSet>
      <dgm:spPr/>
      <dgm:t>
        <a:bodyPr/>
        <a:lstStyle/>
        <a:p>
          <a:endParaRPr lang="en-ZA"/>
        </a:p>
      </dgm:t>
    </dgm:pt>
    <dgm:pt modelId="{D0F573CA-CD81-4C67-BEFB-89245C9AAE9C}" type="pres">
      <dgm:prSet presAssocID="{1042A5B3-050F-468B-8D72-010CE33F6A19}" presName="parAndChTx" presStyleLbl="node1" presStyleIdx="0" presStyleCnt="3">
        <dgm:presLayoutVars>
          <dgm:bulletEnabled val="1"/>
        </dgm:presLayoutVars>
      </dgm:prSet>
      <dgm:spPr/>
      <dgm:t>
        <a:bodyPr/>
        <a:lstStyle/>
        <a:p>
          <a:endParaRPr lang="en-ZA"/>
        </a:p>
      </dgm:t>
    </dgm:pt>
    <dgm:pt modelId="{9F6EB02B-2F9C-40BF-9D4E-F215FB7F1181}" type="pres">
      <dgm:prSet presAssocID="{DDC4F37D-3CDF-4B54-91F8-234AB3C5B720}" presName="parAndChSpace" presStyleCnt="0"/>
      <dgm:spPr/>
    </dgm:pt>
    <dgm:pt modelId="{2C837958-C425-480C-8B16-F42442C1E496}" type="pres">
      <dgm:prSet presAssocID="{233E85F4-14F5-4892-99A1-362EA02975DE}" presName="parAndChTx" presStyleLbl="node1" presStyleIdx="1" presStyleCnt="3">
        <dgm:presLayoutVars>
          <dgm:bulletEnabled val="1"/>
        </dgm:presLayoutVars>
      </dgm:prSet>
      <dgm:spPr/>
      <dgm:t>
        <a:bodyPr/>
        <a:lstStyle/>
        <a:p>
          <a:endParaRPr lang="en-ZA"/>
        </a:p>
      </dgm:t>
    </dgm:pt>
    <dgm:pt modelId="{AEF7C9F7-DE66-4F84-980B-8178F1B601BC}" type="pres">
      <dgm:prSet presAssocID="{62B1F71E-411F-4C71-B0AB-4506AA51A0D2}" presName="parAndChSpace" presStyleCnt="0"/>
      <dgm:spPr/>
    </dgm:pt>
    <dgm:pt modelId="{63E0FFC8-947B-497B-B06B-1B8D22355A99}" type="pres">
      <dgm:prSet presAssocID="{F7F88DA7-CD02-45A3-AD02-DE2FBA0AE1A4}" presName="parAndChTx" presStyleLbl="node1" presStyleIdx="2" presStyleCnt="3">
        <dgm:presLayoutVars>
          <dgm:bulletEnabled val="1"/>
        </dgm:presLayoutVars>
      </dgm:prSet>
      <dgm:spPr/>
      <dgm:t>
        <a:bodyPr/>
        <a:lstStyle/>
        <a:p>
          <a:endParaRPr lang="en-ZA"/>
        </a:p>
      </dgm:t>
    </dgm:pt>
  </dgm:ptLst>
  <dgm:cxnLst>
    <dgm:cxn modelId="{077C2439-3C90-4A00-8AE3-F796826FEB0B}" type="presOf" srcId="{DFCE117B-C1B8-4AF6-895C-DF4C6726E135}" destId="{63E0FFC8-947B-497B-B06B-1B8D22355A99}" srcOrd="0" destOrd="9" presId="urn:microsoft.com/office/officeart/2005/8/layout/hChevron3"/>
    <dgm:cxn modelId="{B5B374A2-CDE7-48E1-9184-AAED10D2042D}" type="presOf" srcId="{92BFFA1A-4CE7-40E4-945B-741BC933D006}" destId="{D0F573CA-CD81-4C67-BEFB-89245C9AAE9C}" srcOrd="0" destOrd="3" presId="urn:microsoft.com/office/officeart/2005/8/layout/hChevron3"/>
    <dgm:cxn modelId="{1FE17E93-8022-4361-844E-4AF474A2685B}" srcId="{854AB0CC-CC75-4E56-9232-32E8A2CBB161}" destId="{548245D7-C204-4D65-A822-030CDC6166FD}" srcOrd="0" destOrd="0" parTransId="{EB309A0F-59C3-4C5B-975B-643681C91D87}" sibTransId="{9F04AB99-9158-4B26-8EB5-15A09B955C85}"/>
    <dgm:cxn modelId="{B197F0E8-AD21-447A-9ED3-1AB87D07456D}" srcId="{4AD9171F-48BF-4F61-B54F-D61AC835F989}" destId="{F7F88DA7-CD02-45A3-AD02-DE2FBA0AE1A4}" srcOrd="2" destOrd="0" parTransId="{20B9B143-EB12-40FD-AD35-E3B80E763A02}" sibTransId="{80E22888-85F3-417D-A76A-4B0FB5A7BED9}"/>
    <dgm:cxn modelId="{08DBAC4A-3EDB-42BB-97E9-8828E23883FE}" srcId="{7CF72C71-5875-42BE-9836-650664FE561F}" destId="{5D21EF67-7885-4C53-8EFD-774505CC083D}" srcOrd="4" destOrd="0" parTransId="{3EB0C153-8DC7-4E3B-92BD-9D19D2A09CB6}" sibTransId="{787FDE3F-27EC-4011-ADF2-4AE29E50DC62}"/>
    <dgm:cxn modelId="{5C7FBB3F-FB5D-49A3-B0AE-0ACA80056BBD}" type="presOf" srcId="{FC50C516-1D7E-4BDD-8B86-50D009A20C37}" destId="{D0F573CA-CD81-4C67-BEFB-89245C9AAE9C}" srcOrd="0" destOrd="5" presId="urn:microsoft.com/office/officeart/2005/8/layout/hChevron3"/>
    <dgm:cxn modelId="{84D47656-9B04-40B3-A222-8DC822544597}" srcId="{233E85F4-14F5-4892-99A1-362EA02975DE}" destId="{35689CB1-2E0B-4C00-894B-A8A3B84A3280}" srcOrd="2" destOrd="0" parTransId="{665D4414-CC3D-4F16-9410-5C3769AB6685}" sibTransId="{032C1D5A-4059-432A-8B75-BC60B1602EC5}"/>
    <dgm:cxn modelId="{B735F456-5273-4359-A4AD-C10DC364F3D2}" srcId="{F7F88DA7-CD02-45A3-AD02-DE2FBA0AE1A4}" destId="{0A544E3A-54E6-43F2-A92C-C9259A0C7327}" srcOrd="2" destOrd="0" parTransId="{DB14C2BB-9AD2-4D0F-9A89-380F4DFE63D8}" sibTransId="{E301E9D4-FE9B-470E-845C-05B70F719126}"/>
    <dgm:cxn modelId="{A60641E5-FD99-47D2-9A10-BE4D7E4EC782}" type="presOf" srcId="{6FF4CD33-C2AD-42A5-A3D4-D834F3E997DB}" destId="{63E0FFC8-947B-497B-B06B-1B8D22355A99}" srcOrd="0" destOrd="5" presId="urn:microsoft.com/office/officeart/2005/8/layout/hChevron3"/>
    <dgm:cxn modelId="{38BF0CAC-937C-4E6D-9BF7-ABB82314BD07}" srcId="{233E85F4-14F5-4892-99A1-362EA02975DE}" destId="{139FF608-CA94-4835-8E97-8E167EE93747}" srcOrd="5" destOrd="0" parTransId="{0B0FB461-603F-4D86-B747-6CA654C9A124}" sibTransId="{B4CD409A-D028-4A9A-95A3-C2EEAD7EE66B}"/>
    <dgm:cxn modelId="{E78696A6-A7B2-4988-BABD-4D68D13B7EB6}" srcId="{F7F88DA7-CD02-45A3-AD02-DE2FBA0AE1A4}" destId="{CEC89327-4E88-44E5-84E2-F39039930DA7}" srcOrd="3" destOrd="0" parTransId="{DB8A41CF-2AC5-4919-BA6A-EC7BFBCF7926}" sibTransId="{84972B0D-C032-4F6B-9340-1E926932EEDA}"/>
    <dgm:cxn modelId="{DBFD8488-E7FF-4ABF-81FF-A0C7929FA2BB}" type="presOf" srcId="{59D1C250-F7A4-44AC-BB43-992944158DD3}" destId="{2C837958-C425-480C-8B16-F42442C1E496}" srcOrd="0" destOrd="7" presId="urn:microsoft.com/office/officeart/2005/8/layout/hChevron3"/>
    <dgm:cxn modelId="{76683BF4-E086-4C9D-8BAA-D6CB82EDD10F}" type="presOf" srcId="{61432FD0-2494-4434-9ECD-5DBF1076A56E}" destId="{2C837958-C425-480C-8B16-F42442C1E496}" srcOrd="0" destOrd="4" presId="urn:microsoft.com/office/officeart/2005/8/layout/hChevron3"/>
    <dgm:cxn modelId="{1B063C48-B11A-4BF3-857B-FE18B0A731FC}" srcId="{139FF608-CA94-4835-8E97-8E167EE93747}" destId="{59D1C250-F7A4-44AC-BB43-992944158DD3}" srcOrd="0" destOrd="0" parTransId="{20C72A80-E3CD-44DF-8514-7556231A1504}" sibTransId="{5D0D4686-C0E2-4E9A-827B-2A51F81BFD50}"/>
    <dgm:cxn modelId="{40512DE7-E53C-48A9-8FC2-45D3D84FD5C8}" type="presOf" srcId="{5D21EF67-7885-4C53-8EFD-774505CC083D}" destId="{D0F573CA-CD81-4C67-BEFB-89245C9AAE9C}" srcOrd="0" destOrd="6" presId="urn:microsoft.com/office/officeart/2005/8/layout/hChevron3"/>
    <dgm:cxn modelId="{630367C4-71CD-49EF-9FDD-FB93FF625862}" srcId="{F7F88DA7-CD02-45A3-AD02-DE2FBA0AE1A4}" destId="{919AB00F-0A93-4F22-AFD7-AB05CD4AD848}" srcOrd="5" destOrd="0" parTransId="{DDBAF5E3-2042-4B0E-95AA-263E2D09ACBE}" sibTransId="{9319D10F-84B4-4375-BBDC-40A90B2F6DD9}"/>
    <dgm:cxn modelId="{C151A443-BC13-4620-A037-9F2E5E16B40A}" type="presOf" srcId="{D49B1619-79ED-4827-A5EF-1019479C5EAC}" destId="{63E0FFC8-947B-497B-B06B-1B8D22355A99}" srcOrd="0" destOrd="8" presId="urn:microsoft.com/office/officeart/2005/8/layout/hChevron3"/>
    <dgm:cxn modelId="{469E480F-40C0-4C0C-A6E8-ACF47BF36D6E}" type="presOf" srcId="{919AB00F-0A93-4F22-AFD7-AB05CD4AD848}" destId="{63E0FFC8-947B-497B-B06B-1B8D22355A99}" srcOrd="0" destOrd="6" presId="urn:microsoft.com/office/officeart/2005/8/layout/hChevron3"/>
    <dgm:cxn modelId="{4262AEA8-4BDD-4330-BD6D-1D5966015175}" srcId="{D49B1619-79ED-4827-A5EF-1019479C5EAC}" destId="{DFCE117B-C1B8-4AF6-895C-DF4C6726E135}" srcOrd="0" destOrd="0" parTransId="{82A58022-6FBB-4BA8-AA2A-C77520ABBD6A}" sibTransId="{85BEC4A4-48A9-4537-A06A-81E15BED8966}"/>
    <dgm:cxn modelId="{AF18D314-8F48-4326-859D-27C3CE39E12C}" srcId="{7CF72C71-5875-42BE-9836-650664FE561F}" destId="{B37BD7CA-9B74-4FF7-A6BC-BFAC59FD881F}" srcOrd="2" destOrd="0" parTransId="{5EDB3B95-E94C-416A-BE30-B9A6CCA77115}" sibTransId="{1F493C56-A292-46BB-BF04-A5AAA860B186}"/>
    <dgm:cxn modelId="{98446BAE-63BD-49FF-86B2-0EE4D86BF272}" type="presOf" srcId="{7CF72C71-5875-42BE-9836-650664FE561F}" destId="{D0F573CA-CD81-4C67-BEFB-89245C9AAE9C}" srcOrd="0" destOrd="1" presId="urn:microsoft.com/office/officeart/2005/8/layout/hChevron3"/>
    <dgm:cxn modelId="{11E3C683-3BEA-42BA-8E39-4E564CDF735F}" srcId="{1042A5B3-050F-468B-8D72-010CE33F6A19}" destId="{854AB0CC-CC75-4E56-9232-32E8A2CBB161}" srcOrd="1" destOrd="0" parTransId="{2A9F03D8-0617-44CA-863B-0093CD3FC703}" sibTransId="{80EDB310-DBC6-4029-8999-47CE3A5743CE}"/>
    <dgm:cxn modelId="{4CDBE2B0-57D2-47FA-9E4E-9D9A42FFAD91}" type="presOf" srcId="{0A544E3A-54E6-43F2-A92C-C9259A0C7327}" destId="{63E0FFC8-947B-497B-B06B-1B8D22355A99}" srcOrd="0" destOrd="3" presId="urn:microsoft.com/office/officeart/2005/8/layout/hChevron3"/>
    <dgm:cxn modelId="{2EDC81AB-EC7B-44FE-B3A6-892A0D272725}" type="presOf" srcId="{854AB0CC-CC75-4E56-9232-32E8A2CBB161}" destId="{D0F573CA-CD81-4C67-BEFB-89245C9AAE9C}" srcOrd="0" destOrd="8" presId="urn:microsoft.com/office/officeart/2005/8/layout/hChevron3"/>
    <dgm:cxn modelId="{FD29AA69-94EC-4B34-BE67-22CDF6A00508}" srcId="{F7F88DA7-CD02-45A3-AD02-DE2FBA0AE1A4}" destId="{D49B1619-79ED-4827-A5EF-1019479C5EAC}" srcOrd="7" destOrd="0" parTransId="{DADD73D3-C0F8-4965-ACB6-3B5361AA252A}" sibTransId="{0921D9CD-B460-423D-AF6B-31E8AD2CF1EB}"/>
    <dgm:cxn modelId="{4827261D-3C54-493E-B04D-F2CA9B5C37B0}" type="presOf" srcId="{4AD9171F-48BF-4F61-B54F-D61AC835F989}" destId="{61E684A9-D6C1-4DC0-8CB6-F574763AE61E}" srcOrd="0" destOrd="0" presId="urn:microsoft.com/office/officeart/2005/8/layout/hChevron3"/>
    <dgm:cxn modelId="{25FD3513-1682-4DA1-99C6-073FF93472F0}" srcId="{7CF72C71-5875-42BE-9836-650664FE561F}" destId="{1C11958F-2795-467C-BA6E-7804062752E9}" srcOrd="5" destOrd="0" parTransId="{304B5778-D3D6-4EF7-B84F-C5F618854CCF}" sibTransId="{3E3D35C7-C3E3-47A0-A549-B62EAFEA03CD}"/>
    <dgm:cxn modelId="{35FC9EF0-7C84-4ADC-B80F-08CC6B2509EC}" srcId="{233E85F4-14F5-4892-99A1-362EA02975DE}" destId="{6350D10F-4371-4F10-85E7-65CC55375A10}" srcOrd="4" destOrd="0" parTransId="{6AC63CAB-86C3-4EB2-9611-685738BD437C}" sibTransId="{18B0FFD4-CC07-4824-B02A-790666218949}"/>
    <dgm:cxn modelId="{BBF5A401-27A3-49F5-BBA9-C4C7E90BE080}" srcId="{7CF72C71-5875-42BE-9836-650664FE561F}" destId="{FC50C516-1D7E-4BDD-8B86-50D009A20C37}" srcOrd="3" destOrd="0" parTransId="{F1A2896B-F689-4E3F-8603-F8AAC434C709}" sibTransId="{5C722018-E37F-43B2-AC51-85B5F02AF3A3}"/>
    <dgm:cxn modelId="{53C22DE1-960F-4BC7-84B6-6CCD25EAC860}" srcId="{F7F88DA7-CD02-45A3-AD02-DE2FBA0AE1A4}" destId="{3F360B8A-B4DA-4C43-820B-98DA4A08D9D5}" srcOrd="1" destOrd="0" parTransId="{68D9D635-E46B-451B-A78B-97258179525F}" sibTransId="{419DF399-D3D6-4BF3-97B7-B3E1461D7D08}"/>
    <dgm:cxn modelId="{48AE23C4-CE90-4696-8974-E44F4ABD9A21}" srcId="{F7F88DA7-CD02-45A3-AD02-DE2FBA0AE1A4}" destId="{03072D59-A2B4-4062-8E82-C74ABDDF5304}" srcOrd="0" destOrd="0" parTransId="{B699CE97-58A6-4DD3-BAA9-63AC7A2C32BE}" sibTransId="{D21ACF59-E01F-403B-81B9-C81C3134DFF8}"/>
    <dgm:cxn modelId="{68296562-4522-4769-9571-306D390B06B9}" srcId="{233E85F4-14F5-4892-99A1-362EA02975DE}" destId="{61432FD0-2494-4434-9ECD-5DBF1076A56E}" srcOrd="3" destOrd="0" parTransId="{D1FFBB08-B336-469E-95D0-9D573F10DF93}" sibTransId="{917049D7-9454-46A4-B6E8-315CC8E30C02}"/>
    <dgm:cxn modelId="{0A997316-9883-4F30-A20C-F6CC56E9FB05}" type="presOf" srcId="{83E4CB06-37CB-4E7B-970E-66D8AF058981}" destId="{2C837958-C425-480C-8B16-F42442C1E496}" srcOrd="0" destOrd="1" presId="urn:microsoft.com/office/officeart/2005/8/layout/hChevron3"/>
    <dgm:cxn modelId="{11CC944D-3B3F-4B87-A051-91356555E05D}" srcId="{F7F88DA7-CD02-45A3-AD02-DE2FBA0AE1A4}" destId="{94B931FF-B1F1-41E4-9B99-169CD1446911}" srcOrd="6" destOrd="0" parTransId="{392A1BF2-BB8C-493A-810E-99E042686B6D}" sibTransId="{155256A9-D95D-4623-8A74-13ABDB5CBEA5}"/>
    <dgm:cxn modelId="{FC30CE34-334C-4F3F-B2D5-AA4A5DAC574C}" type="presOf" srcId="{CEC89327-4E88-44E5-84E2-F39039930DA7}" destId="{63E0FFC8-947B-497B-B06B-1B8D22355A99}" srcOrd="0" destOrd="4" presId="urn:microsoft.com/office/officeart/2005/8/layout/hChevron3"/>
    <dgm:cxn modelId="{3BD3C7D8-D0EE-4297-9726-9EC393B9A08D}" type="presOf" srcId="{35689CB1-2E0B-4C00-894B-A8A3B84A3280}" destId="{2C837958-C425-480C-8B16-F42442C1E496}" srcOrd="0" destOrd="3" presId="urn:microsoft.com/office/officeart/2005/8/layout/hChevron3"/>
    <dgm:cxn modelId="{482FE862-A6A4-4823-A3C4-F4EC3A9C42B6}" srcId="{4AD9171F-48BF-4F61-B54F-D61AC835F989}" destId="{233E85F4-14F5-4892-99A1-362EA02975DE}" srcOrd="1" destOrd="0" parTransId="{DD69FD31-659D-4BA1-9F73-56AAAB21912E}" sibTransId="{62B1F71E-411F-4C71-B0AB-4506AA51A0D2}"/>
    <dgm:cxn modelId="{06FAAC36-E400-4A20-99D1-D11C00202450}" type="presOf" srcId="{1042A5B3-050F-468B-8D72-010CE33F6A19}" destId="{D0F573CA-CD81-4C67-BEFB-89245C9AAE9C}" srcOrd="0" destOrd="0" presId="urn:microsoft.com/office/officeart/2005/8/layout/hChevron3"/>
    <dgm:cxn modelId="{7A5DBDDD-4FD9-4E6D-8E6A-A7A8FAB8A67B}" type="presOf" srcId="{3F360B8A-B4DA-4C43-820B-98DA4A08D9D5}" destId="{63E0FFC8-947B-497B-B06B-1B8D22355A99}" srcOrd="0" destOrd="2" presId="urn:microsoft.com/office/officeart/2005/8/layout/hChevron3"/>
    <dgm:cxn modelId="{C8ADC553-BE08-4CAF-ABD4-59AB7F83B06C}" srcId="{4AD9171F-48BF-4F61-B54F-D61AC835F989}" destId="{1042A5B3-050F-468B-8D72-010CE33F6A19}" srcOrd="0" destOrd="0" parTransId="{39CD347C-3CE5-4391-84C5-E4B0F7D5FF90}" sibTransId="{DDC4F37D-3CDF-4B54-91F8-234AB3C5B720}"/>
    <dgm:cxn modelId="{EB83350E-AD7E-44D9-8E1D-F83738283EA5}" srcId="{7CF72C71-5875-42BE-9836-650664FE561F}" destId="{92BFFA1A-4CE7-40E4-945B-741BC933D006}" srcOrd="1" destOrd="0" parTransId="{5C1143C0-7B71-4A75-B1A1-B60E8E47463C}" sibTransId="{09B40DC3-2600-4CCA-928C-C91717A90DDE}"/>
    <dgm:cxn modelId="{2743BF26-1BEA-4D1D-B09B-E2FEB430DF12}" srcId="{233E85F4-14F5-4892-99A1-362EA02975DE}" destId="{4A7DAF2A-3C8B-4966-99A5-527C22FA6A37}" srcOrd="1" destOrd="0" parTransId="{01E8F7BC-059D-4022-B5E7-6619D5596D86}" sibTransId="{8E3064C2-F7EF-414F-9B6A-FD146C1E7325}"/>
    <dgm:cxn modelId="{55273C5E-3D04-44D7-B2D9-70725DC512A1}" type="presOf" srcId="{1C11958F-2795-467C-BA6E-7804062752E9}" destId="{D0F573CA-CD81-4C67-BEFB-89245C9AAE9C}" srcOrd="0" destOrd="7" presId="urn:microsoft.com/office/officeart/2005/8/layout/hChevron3"/>
    <dgm:cxn modelId="{4C8CC740-DB21-4C09-8514-12B4103C6045}" type="presOf" srcId="{139FF608-CA94-4835-8E97-8E167EE93747}" destId="{2C837958-C425-480C-8B16-F42442C1E496}" srcOrd="0" destOrd="6" presId="urn:microsoft.com/office/officeart/2005/8/layout/hChevron3"/>
    <dgm:cxn modelId="{25430A48-C9D6-4B5C-A2C2-6CB086A6A0E0}" type="presOf" srcId="{B37BD7CA-9B74-4FF7-A6BC-BFAC59FD881F}" destId="{D0F573CA-CD81-4C67-BEFB-89245C9AAE9C}" srcOrd="0" destOrd="4" presId="urn:microsoft.com/office/officeart/2005/8/layout/hChevron3"/>
    <dgm:cxn modelId="{8C6240D7-A2F5-439A-89F1-D95E2AD24CDE}" type="presOf" srcId="{F7F88DA7-CD02-45A3-AD02-DE2FBA0AE1A4}" destId="{63E0FFC8-947B-497B-B06B-1B8D22355A99}" srcOrd="0" destOrd="0" presId="urn:microsoft.com/office/officeart/2005/8/layout/hChevron3"/>
    <dgm:cxn modelId="{D4DC376E-6B6F-4E52-8D64-61A56D3FD5E9}" srcId="{F7F88DA7-CD02-45A3-AD02-DE2FBA0AE1A4}" destId="{6FF4CD33-C2AD-42A5-A3D4-D834F3E997DB}" srcOrd="4" destOrd="0" parTransId="{612A111D-4C73-45CD-B9EF-A4451A392780}" sibTransId="{2AB13E8C-1432-46F1-A61C-94E3DAB4A20B}"/>
    <dgm:cxn modelId="{B80AC505-C242-4B88-AD9F-829A8EA01A3A}" type="presOf" srcId="{233E85F4-14F5-4892-99A1-362EA02975DE}" destId="{2C837958-C425-480C-8B16-F42442C1E496}" srcOrd="0" destOrd="0" presId="urn:microsoft.com/office/officeart/2005/8/layout/hChevron3"/>
    <dgm:cxn modelId="{E34F202C-87DF-4F3E-8689-9254CFA2394D}" type="presOf" srcId="{548245D7-C204-4D65-A822-030CDC6166FD}" destId="{D0F573CA-CD81-4C67-BEFB-89245C9AAE9C}" srcOrd="0" destOrd="9" presId="urn:microsoft.com/office/officeart/2005/8/layout/hChevron3"/>
    <dgm:cxn modelId="{CBA7D663-F2EA-4495-A21F-C7FE0ED0DBAB}" type="presOf" srcId="{94B931FF-B1F1-41E4-9B99-169CD1446911}" destId="{63E0FFC8-947B-497B-B06B-1B8D22355A99}" srcOrd="0" destOrd="7" presId="urn:microsoft.com/office/officeart/2005/8/layout/hChevron3"/>
    <dgm:cxn modelId="{DC408851-528A-4710-A4AA-F662BBC52C84}" type="presOf" srcId="{6350D10F-4371-4F10-85E7-65CC55375A10}" destId="{2C837958-C425-480C-8B16-F42442C1E496}" srcOrd="0" destOrd="5" presId="urn:microsoft.com/office/officeart/2005/8/layout/hChevron3"/>
    <dgm:cxn modelId="{4B6D0F14-1755-4478-937F-9B5DE0D79B9D}" type="presOf" srcId="{A0894EB5-D21C-43E0-8DDB-60DC901B7365}" destId="{D0F573CA-CD81-4C67-BEFB-89245C9AAE9C}" srcOrd="0" destOrd="2" presId="urn:microsoft.com/office/officeart/2005/8/layout/hChevron3"/>
    <dgm:cxn modelId="{F50C29FE-072E-4C6F-A5AD-5569BBA38209}" srcId="{1042A5B3-050F-468B-8D72-010CE33F6A19}" destId="{7CF72C71-5875-42BE-9836-650664FE561F}" srcOrd="0" destOrd="0" parTransId="{D7D0BC0E-0015-461E-B427-998AD13C7495}" sibTransId="{2DCD8263-A7BB-46D9-93A6-500B46DE013C}"/>
    <dgm:cxn modelId="{50B1ECCC-AC59-428C-9D77-3E8B9C902CD7}" type="presOf" srcId="{03072D59-A2B4-4062-8E82-C74ABDDF5304}" destId="{63E0FFC8-947B-497B-B06B-1B8D22355A99}" srcOrd="0" destOrd="1" presId="urn:microsoft.com/office/officeart/2005/8/layout/hChevron3"/>
    <dgm:cxn modelId="{BEE6E80F-2202-4FCD-93BF-D41A94B9BF21}" srcId="{7CF72C71-5875-42BE-9836-650664FE561F}" destId="{A0894EB5-D21C-43E0-8DDB-60DC901B7365}" srcOrd="0" destOrd="0" parTransId="{F6738176-BFFD-4A37-A8B7-F640DA642ACA}" sibTransId="{C8D49290-724F-428A-86F8-A4EA27C2CE4C}"/>
    <dgm:cxn modelId="{9FC755D7-1055-45FA-B9C2-9BDEA0EF7DEA}" srcId="{233E85F4-14F5-4892-99A1-362EA02975DE}" destId="{83E4CB06-37CB-4E7B-970E-66D8AF058981}" srcOrd="0" destOrd="0" parTransId="{B7DFA632-E752-4321-93E4-0EDC28E07692}" sibTransId="{8750867F-4E2A-4592-88D1-88E198BDE706}"/>
    <dgm:cxn modelId="{C98DD9BF-CD3A-4E5E-91E3-8ED95618E5F2}" type="presOf" srcId="{4A7DAF2A-3C8B-4966-99A5-527C22FA6A37}" destId="{2C837958-C425-480C-8B16-F42442C1E496}" srcOrd="0" destOrd="2" presId="urn:microsoft.com/office/officeart/2005/8/layout/hChevron3"/>
    <dgm:cxn modelId="{DC7E7215-B2A4-4CE7-BCCC-9DA3D0B00AE6}" type="presParOf" srcId="{61E684A9-D6C1-4DC0-8CB6-F574763AE61E}" destId="{D0F573CA-CD81-4C67-BEFB-89245C9AAE9C}" srcOrd="0" destOrd="0" presId="urn:microsoft.com/office/officeart/2005/8/layout/hChevron3"/>
    <dgm:cxn modelId="{C3CBFAE2-E2EF-4C28-B89B-8DF75BEF5BC2}" type="presParOf" srcId="{61E684A9-D6C1-4DC0-8CB6-F574763AE61E}" destId="{9F6EB02B-2F9C-40BF-9D4E-F215FB7F1181}" srcOrd="1" destOrd="0" presId="urn:microsoft.com/office/officeart/2005/8/layout/hChevron3"/>
    <dgm:cxn modelId="{4283F332-2702-41A1-B11D-06AD92AFA574}" type="presParOf" srcId="{61E684A9-D6C1-4DC0-8CB6-F574763AE61E}" destId="{2C837958-C425-480C-8B16-F42442C1E496}" srcOrd="2" destOrd="0" presId="urn:microsoft.com/office/officeart/2005/8/layout/hChevron3"/>
    <dgm:cxn modelId="{337BBCCD-9492-4654-B647-6CE7F6A7E35E}" type="presParOf" srcId="{61E684A9-D6C1-4DC0-8CB6-F574763AE61E}" destId="{AEF7C9F7-DE66-4F84-980B-8178F1B601BC}" srcOrd="3" destOrd="0" presId="urn:microsoft.com/office/officeart/2005/8/layout/hChevron3"/>
    <dgm:cxn modelId="{5B29A14C-0D68-4E1A-8FE1-E03B478F8C66}" type="presParOf" srcId="{61E684A9-D6C1-4DC0-8CB6-F574763AE61E}" destId="{63E0FFC8-947B-497B-B06B-1B8D22355A99}" srcOrd="4" destOrd="0" presId="urn:microsoft.com/office/officeart/2005/8/layout/hChevron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6F5861D-B4A7-4182-995C-AAEBF68BAF0B}" type="doc">
      <dgm:prSet loTypeId="urn:microsoft.com/office/officeart/2008/layout/HorizontalMultiLevelHierarchy" loCatId="hierarchy" qsTypeId="urn:microsoft.com/office/officeart/2005/8/quickstyle/simple1" qsCatId="simple" csTypeId="urn:microsoft.com/office/officeart/2005/8/colors/colorful4" csCatId="colorful" phldr="1"/>
      <dgm:spPr/>
      <dgm:t>
        <a:bodyPr/>
        <a:lstStyle/>
        <a:p>
          <a:endParaRPr lang="en-ZA"/>
        </a:p>
      </dgm:t>
    </dgm:pt>
    <dgm:pt modelId="{8E9EFE20-6AA4-4BC2-A2FD-9AE6F6A6C942}">
      <dgm:prSet phldrT="[Text]"/>
      <dgm:spPr/>
      <dgm:t>
        <a:bodyPr/>
        <a:lstStyle/>
        <a:p>
          <a:r>
            <a:rPr lang="en-ZA" dirty="0"/>
            <a:t>Phase 1</a:t>
          </a:r>
        </a:p>
      </dgm:t>
    </dgm:pt>
    <dgm:pt modelId="{BD2BD424-5D66-4A6A-89D5-3F01B9AED185}" type="parTrans" cxnId="{7D6E1BFB-B6BE-43FD-BC58-D052930AC548}">
      <dgm:prSet/>
      <dgm:spPr/>
      <dgm:t>
        <a:bodyPr/>
        <a:lstStyle/>
        <a:p>
          <a:endParaRPr lang="en-ZA"/>
        </a:p>
      </dgm:t>
    </dgm:pt>
    <dgm:pt modelId="{83460CA7-747E-4368-9E7B-3C22F7C62259}" type="sibTrans" cxnId="{7D6E1BFB-B6BE-43FD-BC58-D052930AC548}">
      <dgm:prSet/>
      <dgm:spPr/>
      <dgm:t>
        <a:bodyPr/>
        <a:lstStyle/>
        <a:p>
          <a:endParaRPr lang="en-ZA"/>
        </a:p>
      </dgm:t>
    </dgm:pt>
    <dgm:pt modelId="{45350964-17A4-4315-9B89-73E1A1804C8E}">
      <dgm:prSet phldrT="[Text]"/>
      <dgm:spPr/>
      <dgm:t>
        <a:bodyPr/>
        <a:lstStyle/>
        <a:p>
          <a:r>
            <a:rPr lang="en-ZA" dirty="0"/>
            <a:t>Public </a:t>
          </a:r>
          <a:r>
            <a:rPr lang="en-ZA" dirty="0" err="1"/>
            <a:t>vs</a:t>
          </a:r>
          <a:r>
            <a:rPr lang="en-ZA" dirty="0"/>
            <a:t> Private Sector </a:t>
          </a:r>
        </a:p>
        <a:p>
          <a:r>
            <a:rPr lang="en-ZA" dirty="0"/>
            <a:t>(proportion of personnel; population served)</a:t>
          </a:r>
        </a:p>
      </dgm:t>
    </dgm:pt>
    <dgm:pt modelId="{38E33EF6-28ED-4DDC-B43F-07F61E02D5EE}" type="parTrans" cxnId="{6A184B1B-BE23-4A23-8B11-9DA5DFA2F71D}">
      <dgm:prSet/>
      <dgm:spPr/>
      <dgm:t>
        <a:bodyPr/>
        <a:lstStyle/>
        <a:p>
          <a:endParaRPr lang="en-ZA"/>
        </a:p>
      </dgm:t>
    </dgm:pt>
    <dgm:pt modelId="{5F18D15B-B78D-4F83-9C7C-96D92DD2ABBD}" type="sibTrans" cxnId="{6A184B1B-BE23-4A23-8B11-9DA5DFA2F71D}">
      <dgm:prSet/>
      <dgm:spPr/>
      <dgm:t>
        <a:bodyPr/>
        <a:lstStyle/>
        <a:p>
          <a:endParaRPr lang="en-ZA"/>
        </a:p>
      </dgm:t>
    </dgm:pt>
    <dgm:pt modelId="{C76BBF14-F2E4-4EE5-957C-899DEC5CE521}">
      <dgm:prSet phldrT="[Text]"/>
      <dgm:spPr/>
      <dgm:t>
        <a:bodyPr/>
        <a:lstStyle/>
        <a:p>
          <a:r>
            <a:rPr lang="en-ZA" dirty="0"/>
            <a:t>Pro rata allocation to demander sites (facilities)</a:t>
          </a:r>
        </a:p>
      </dgm:t>
    </dgm:pt>
    <dgm:pt modelId="{3265DEBE-5B75-438A-886F-0CF197FC9D70}" type="parTrans" cxnId="{3A0BC2BB-4715-4330-992D-F558FAC0E2A0}">
      <dgm:prSet/>
      <dgm:spPr/>
      <dgm:t>
        <a:bodyPr/>
        <a:lstStyle/>
        <a:p>
          <a:endParaRPr lang="en-ZA"/>
        </a:p>
      </dgm:t>
    </dgm:pt>
    <dgm:pt modelId="{3C774C36-8CC2-4389-9FB9-5702F2DE8BBF}" type="sibTrans" cxnId="{3A0BC2BB-4715-4330-992D-F558FAC0E2A0}">
      <dgm:prSet/>
      <dgm:spPr/>
      <dgm:t>
        <a:bodyPr/>
        <a:lstStyle/>
        <a:p>
          <a:endParaRPr lang="en-ZA"/>
        </a:p>
      </dgm:t>
    </dgm:pt>
    <dgm:pt modelId="{3DFFC86D-6659-4F6D-B880-464C71CB132A}">
      <dgm:prSet phldrT="[Text]"/>
      <dgm:spPr/>
      <dgm:t>
        <a:bodyPr/>
        <a:lstStyle/>
        <a:p>
          <a:r>
            <a:rPr lang="en-ZA" dirty="0"/>
            <a:t>Within facilities: patient facing </a:t>
          </a:r>
          <a:r>
            <a:rPr lang="en-ZA" dirty="0" err="1"/>
            <a:t>vs</a:t>
          </a:r>
          <a:r>
            <a:rPr lang="en-ZA" dirty="0"/>
            <a:t> non-patient facing</a:t>
          </a:r>
        </a:p>
      </dgm:t>
    </dgm:pt>
    <dgm:pt modelId="{CD6C9829-7949-494A-917B-B326F469136D}" type="parTrans" cxnId="{F974486C-B2DB-4122-B5FA-83F4D409DFF1}">
      <dgm:prSet/>
      <dgm:spPr/>
      <dgm:t>
        <a:bodyPr/>
        <a:lstStyle/>
        <a:p>
          <a:endParaRPr lang="en-ZA"/>
        </a:p>
      </dgm:t>
    </dgm:pt>
    <dgm:pt modelId="{4A0180FA-10E9-4B0F-AA3D-43D65627DEBD}" type="sibTrans" cxnId="{F974486C-B2DB-4122-B5FA-83F4D409DFF1}">
      <dgm:prSet/>
      <dgm:spPr/>
      <dgm:t>
        <a:bodyPr/>
        <a:lstStyle/>
        <a:p>
          <a:endParaRPr lang="en-ZA"/>
        </a:p>
      </dgm:t>
    </dgm:pt>
    <dgm:pt modelId="{062720AE-DCCB-430E-A5E8-13194840F08C}" type="pres">
      <dgm:prSet presAssocID="{D6F5861D-B4A7-4182-995C-AAEBF68BAF0B}" presName="Name0" presStyleCnt="0">
        <dgm:presLayoutVars>
          <dgm:chPref val="1"/>
          <dgm:dir/>
          <dgm:animOne val="branch"/>
          <dgm:animLvl val="lvl"/>
          <dgm:resizeHandles val="exact"/>
        </dgm:presLayoutVars>
      </dgm:prSet>
      <dgm:spPr/>
      <dgm:t>
        <a:bodyPr/>
        <a:lstStyle/>
        <a:p>
          <a:endParaRPr lang="en-ZA"/>
        </a:p>
      </dgm:t>
    </dgm:pt>
    <dgm:pt modelId="{77B5CB40-08DF-4B84-A0AB-04615B232C3E}" type="pres">
      <dgm:prSet presAssocID="{8E9EFE20-6AA4-4BC2-A2FD-9AE6F6A6C942}" presName="root1" presStyleCnt="0"/>
      <dgm:spPr/>
    </dgm:pt>
    <dgm:pt modelId="{EEF89E99-82B3-40ED-8CD0-9264110A1E01}" type="pres">
      <dgm:prSet presAssocID="{8E9EFE20-6AA4-4BC2-A2FD-9AE6F6A6C942}" presName="LevelOneTextNode" presStyleLbl="node0" presStyleIdx="0" presStyleCnt="1" custScaleY="91640">
        <dgm:presLayoutVars>
          <dgm:chPref val="3"/>
        </dgm:presLayoutVars>
      </dgm:prSet>
      <dgm:spPr/>
      <dgm:t>
        <a:bodyPr/>
        <a:lstStyle/>
        <a:p>
          <a:endParaRPr lang="en-ZA"/>
        </a:p>
      </dgm:t>
    </dgm:pt>
    <dgm:pt modelId="{8F7EAA3D-387C-424D-9A4E-22699F760B71}" type="pres">
      <dgm:prSet presAssocID="{8E9EFE20-6AA4-4BC2-A2FD-9AE6F6A6C942}" presName="level2hierChild" presStyleCnt="0"/>
      <dgm:spPr/>
    </dgm:pt>
    <dgm:pt modelId="{62877BF6-B58C-44C2-BE52-0CBCDF16E3C5}" type="pres">
      <dgm:prSet presAssocID="{38E33EF6-28ED-4DDC-B43F-07F61E02D5EE}" presName="conn2-1" presStyleLbl="parChTrans1D2" presStyleIdx="0" presStyleCnt="3"/>
      <dgm:spPr/>
      <dgm:t>
        <a:bodyPr/>
        <a:lstStyle/>
        <a:p>
          <a:endParaRPr lang="en-ZA"/>
        </a:p>
      </dgm:t>
    </dgm:pt>
    <dgm:pt modelId="{CFAEDA4D-B914-4CB0-98BF-83D679657989}" type="pres">
      <dgm:prSet presAssocID="{38E33EF6-28ED-4DDC-B43F-07F61E02D5EE}" presName="connTx" presStyleLbl="parChTrans1D2" presStyleIdx="0" presStyleCnt="3"/>
      <dgm:spPr/>
      <dgm:t>
        <a:bodyPr/>
        <a:lstStyle/>
        <a:p>
          <a:endParaRPr lang="en-ZA"/>
        </a:p>
      </dgm:t>
    </dgm:pt>
    <dgm:pt modelId="{EDF4BEE5-D6FA-40DA-ABA9-7926FC8DD613}" type="pres">
      <dgm:prSet presAssocID="{45350964-17A4-4315-9B89-73E1A1804C8E}" presName="root2" presStyleCnt="0"/>
      <dgm:spPr/>
    </dgm:pt>
    <dgm:pt modelId="{FE19F763-6465-48CC-8EF5-ED80B6EB2159}" type="pres">
      <dgm:prSet presAssocID="{45350964-17A4-4315-9B89-73E1A1804C8E}" presName="LevelTwoTextNode" presStyleLbl="node2" presStyleIdx="0" presStyleCnt="3" custScaleX="295981">
        <dgm:presLayoutVars>
          <dgm:chPref val="3"/>
        </dgm:presLayoutVars>
      </dgm:prSet>
      <dgm:spPr/>
      <dgm:t>
        <a:bodyPr/>
        <a:lstStyle/>
        <a:p>
          <a:endParaRPr lang="en-ZA"/>
        </a:p>
      </dgm:t>
    </dgm:pt>
    <dgm:pt modelId="{60655A15-26A7-4FB0-B2CA-AF7F856B3865}" type="pres">
      <dgm:prSet presAssocID="{45350964-17A4-4315-9B89-73E1A1804C8E}" presName="level3hierChild" presStyleCnt="0"/>
      <dgm:spPr/>
    </dgm:pt>
    <dgm:pt modelId="{62BCE308-9835-4EB5-8BE2-CEB4EDE27796}" type="pres">
      <dgm:prSet presAssocID="{3265DEBE-5B75-438A-886F-0CF197FC9D70}" presName="conn2-1" presStyleLbl="parChTrans1D2" presStyleIdx="1" presStyleCnt="3"/>
      <dgm:spPr/>
      <dgm:t>
        <a:bodyPr/>
        <a:lstStyle/>
        <a:p>
          <a:endParaRPr lang="en-ZA"/>
        </a:p>
      </dgm:t>
    </dgm:pt>
    <dgm:pt modelId="{F368F72A-19D4-48F2-8061-84C34E263DEB}" type="pres">
      <dgm:prSet presAssocID="{3265DEBE-5B75-438A-886F-0CF197FC9D70}" presName="connTx" presStyleLbl="parChTrans1D2" presStyleIdx="1" presStyleCnt="3"/>
      <dgm:spPr/>
      <dgm:t>
        <a:bodyPr/>
        <a:lstStyle/>
        <a:p>
          <a:endParaRPr lang="en-ZA"/>
        </a:p>
      </dgm:t>
    </dgm:pt>
    <dgm:pt modelId="{D920B73A-010D-406B-B3EB-38451384BC58}" type="pres">
      <dgm:prSet presAssocID="{C76BBF14-F2E4-4EE5-957C-899DEC5CE521}" presName="root2" presStyleCnt="0"/>
      <dgm:spPr/>
    </dgm:pt>
    <dgm:pt modelId="{4866693C-6DB4-4B79-8BEC-346097EF4FBD}" type="pres">
      <dgm:prSet presAssocID="{C76BBF14-F2E4-4EE5-957C-899DEC5CE521}" presName="LevelTwoTextNode" presStyleLbl="node2" presStyleIdx="1" presStyleCnt="3" custScaleX="294645">
        <dgm:presLayoutVars>
          <dgm:chPref val="3"/>
        </dgm:presLayoutVars>
      </dgm:prSet>
      <dgm:spPr/>
      <dgm:t>
        <a:bodyPr/>
        <a:lstStyle/>
        <a:p>
          <a:endParaRPr lang="en-ZA"/>
        </a:p>
      </dgm:t>
    </dgm:pt>
    <dgm:pt modelId="{3752B0F4-AA12-49A9-9472-455D03DAEA37}" type="pres">
      <dgm:prSet presAssocID="{C76BBF14-F2E4-4EE5-957C-899DEC5CE521}" presName="level3hierChild" presStyleCnt="0"/>
      <dgm:spPr/>
    </dgm:pt>
    <dgm:pt modelId="{7A835ECE-259B-4B5F-8F11-83ACEBEFC979}" type="pres">
      <dgm:prSet presAssocID="{CD6C9829-7949-494A-917B-B326F469136D}" presName="conn2-1" presStyleLbl="parChTrans1D2" presStyleIdx="2" presStyleCnt="3"/>
      <dgm:spPr/>
      <dgm:t>
        <a:bodyPr/>
        <a:lstStyle/>
        <a:p>
          <a:endParaRPr lang="en-ZA"/>
        </a:p>
      </dgm:t>
    </dgm:pt>
    <dgm:pt modelId="{14A09D84-4B37-436F-A5E9-817193F98982}" type="pres">
      <dgm:prSet presAssocID="{CD6C9829-7949-494A-917B-B326F469136D}" presName="connTx" presStyleLbl="parChTrans1D2" presStyleIdx="2" presStyleCnt="3"/>
      <dgm:spPr/>
      <dgm:t>
        <a:bodyPr/>
        <a:lstStyle/>
        <a:p>
          <a:endParaRPr lang="en-ZA"/>
        </a:p>
      </dgm:t>
    </dgm:pt>
    <dgm:pt modelId="{F95A69E1-4141-4C87-B2DC-F29BF1226488}" type="pres">
      <dgm:prSet presAssocID="{3DFFC86D-6659-4F6D-B880-464C71CB132A}" presName="root2" presStyleCnt="0"/>
      <dgm:spPr/>
    </dgm:pt>
    <dgm:pt modelId="{D448CBB5-0F9F-4778-9ED8-5FEFE8059CB7}" type="pres">
      <dgm:prSet presAssocID="{3DFFC86D-6659-4F6D-B880-464C71CB132A}" presName="LevelTwoTextNode" presStyleLbl="node2" presStyleIdx="2" presStyleCnt="3" custScaleX="295981">
        <dgm:presLayoutVars>
          <dgm:chPref val="3"/>
        </dgm:presLayoutVars>
      </dgm:prSet>
      <dgm:spPr/>
      <dgm:t>
        <a:bodyPr/>
        <a:lstStyle/>
        <a:p>
          <a:endParaRPr lang="en-ZA"/>
        </a:p>
      </dgm:t>
    </dgm:pt>
    <dgm:pt modelId="{483072F9-01D3-4058-B549-1737D8321A77}" type="pres">
      <dgm:prSet presAssocID="{3DFFC86D-6659-4F6D-B880-464C71CB132A}" presName="level3hierChild" presStyleCnt="0"/>
      <dgm:spPr/>
    </dgm:pt>
  </dgm:ptLst>
  <dgm:cxnLst>
    <dgm:cxn modelId="{5ADA42A8-550F-4BFE-B686-F18743004A90}" type="presOf" srcId="{38E33EF6-28ED-4DDC-B43F-07F61E02D5EE}" destId="{62877BF6-B58C-44C2-BE52-0CBCDF16E3C5}" srcOrd="0" destOrd="0" presId="urn:microsoft.com/office/officeart/2008/layout/HorizontalMultiLevelHierarchy"/>
    <dgm:cxn modelId="{4393110C-2075-483C-90D1-399A5314F387}" type="presOf" srcId="{45350964-17A4-4315-9B89-73E1A1804C8E}" destId="{FE19F763-6465-48CC-8EF5-ED80B6EB2159}" srcOrd="0" destOrd="0" presId="urn:microsoft.com/office/officeart/2008/layout/HorizontalMultiLevelHierarchy"/>
    <dgm:cxn modelId="{F974486C-B2DB-4122-B5FA-83F4D409DFF1}" srcId="{8E9EFE20-6AA4-4BC2-A2FD-9AE6F6A6C942}" destId="{3DFFC86D-6659-4F6D-B880-464C71CB132A}" srcOrd="2" destOrd="0" parTransId="{CD6C9829-7949-494A-917B-B326F469136D}" sibTransId="{4A0180FA-10E9-4B0F-AA3D-43D65627DEBD}"/>
    <dgm:cxn modelId="{5C0FFDFB-C4D1-43DE-9DC7-3776563C9E9D}" type="presOf" srcId="{8E9EFE20-6AA4-4BC2-A2FD-9AE6F6A6C942}" destId="{EEF89E99-82B3-40ED-8CD0-9264110A1E01}" srcOrd="0" destOrd="0" presId="urn:microsoft.com/office/officeart/2008/layout/HorizontalMultiLevelHierarchy"/>
    <dgm:cxn modelId="{3A0BC2BB-4715-4330-992D-F558FAC0E2A0}" srcId="{8E9EFE20-6AA4-4BC2-A2FD-9AE6F6A6C942}" destId="{C76BBF14-F2E4-4EE5-957C-899DEC5CE521}" srcOrd="1" destOrd="0" parTransId="{3265DEBE-5B75-438A-886F-0CF197FC9D70}" sibTransId="{3C774C36-8CC2-4389-9FB9-5702F2DE8BBF}"/>
    <dgm:cxn modelId="{B465BE3B-E936-434C-882B-1C7BB236CE64}" type="presOf" srcId="{3265DEBE-5B75-438A-886F-0CF197FC9D70}" destId="{62BCE308-9835-4EB5-8BE2-CEB4EDE27796}" srcOrd="0" destOrd="0" presId="urn:microsoft.com/office/officeart/2008/layout/HorizontalMultiLevelHierarchy"/>
    <dgm:cxn modelId="{6438B1E8-D9EC-47DC-9148-E63FC7AB6CFF}" type="presOf" srcId="{3DFFC86D-6659-4F6D-B880-464C71CB132A}" destId="{D448CBB5-0F9F-4778-9ED8-5FEFE8059CB7}" srcOrd="0" destOrd="0" presId="urn:microsoft.com/office/officeart/2008/layout/HorizontalMultiLevelHierarchy"/>
    <dgm:cxn modelId="{ECE8E1C3-1B4B-45AB-8836-92CCB6F8F9C0}" type="presOf" srcId="{CD6C9829-7949-494A-917B-B326F469136D}" destId="{7A835ECE-259B-4B5F-8F11-83ACEBEFC979}" srcOrd="0" destOrd="0" presId="urn:microsoft.com/office/officeart/2008/layout/HorizontalMultiLevelHierarchy"/>
    <dgm:cxn modelId="{163FEBA8-2064-4A87-80AC-4190091A9ADD}" type="presOf" srcId="{D6F5861D-B4A7-4182-995C-AAEBF68BAF0B}" destId="{062720AE-DCCB-430E-A5E8-13194840F08C}" srcOrd="0" destOrd="0" presId="urn:microsoft.com/office/officeart/2008/layout/HorizontalMultiLevelHierarchy"/>
    <dgm:cxn modelId="{C573DAFD-F9E6-4AA2-95E6-EE35A2D57EC2}" type="presOf" srcId="{38E33EF6-28ED-4DDC-B43F-07F61E02D5EE}" destId="{CFAEDA4D-B914-4CB0-98BF-83D679657989}" srcOrd="1" destOrd="0" presId="urn:microsoft.com/office/officeart/2008/layout/HorizontalMultiLevelHierarchy"/>
    <dgm:cxn modelId="{BA5EC1C4-464E-4B44-A819-D863E502C894}" type="presOf" srcId="{3265DEBE-5B75-438A-886F-0CF197FC9D70}" destId="{F368F72A-19D4-48F2-8061-84C34E263DEB}" srcOrd="1" destOrd="0" presId="urn:microsoft.com/office/officeart/2008/layout/HorizontalMultiLevelHierarchy"/>
    <dgm:cxn modelId="{16308FD5-66C1-4F8E-BA1B-3B55B1BB5B3F}" type="presOf" srcId="{CD6C9829-7949-494A-917B-B326F469136D}" destId="{14A09D84-4B37-436F-A5E9-817193F98982}" srcOrd="1" destOrd="0" presId="urn:microsoft.com/office/officeart/2008/layout/HorizontalMultiLevelHierarchy"/>
    <dgm:cxn modelId="{7D6E1BFB-B6BE-43FD-BC58-D052930AC548}" srcId="{D6F5861D-B4A7-4182-995C-AAEBF68BAF0B}" destId="{8E9EFE20-6AA4-4BC2-A2FD-9AE6F6A6C942}" srcOrd="0" destOrd="0" parTransId="{BD2BD424-5D66-4A6A-89D5-3F01B9AED185}" sibTransId="{83460CA7-747E-4368-9E7B-3C22F7C62259}"/>
    <dgm:cxn modelId="{6A184B1B-BE23-4A23-8B11-9DA5DFA2F71D}" srcId="{8E9EFE20-6AA4-4BC2-A2FD-9AE6F6A6C942}" destId="{45350964-17A4-4315-9B89-73E1A1804C8E}" srcOrd="0" destOrd="0" parTransId="{38E33EF6-28ED-4DDC-B43F-07F61E02D5EE}" sibTransId="{5F18D15B-B78D-4F83-9C7C-96D92DD2ABBD}"/>
    <dgm:cxn modelId="{53A4A252-3162-4825-9529-B9C5E5B5FB93}" type="presOf" srcId="{C76BBF14-F2E4-4EE5-957C-899DEC5CE521}" destId="{4866693C-6DB4-4B79-8BEC-346097EF4FBD}" srcOrd="0" destOrd="0" presId="urn:microsoft.com/office/officeart/2008/layout/HorizontalMultiLevelHierarchy"/>
    <dgm:cxn modelId="{1A18729B-FA23-4126-8B8D-0A28EC08FC1B}" type="presParOf" srcId="{062720AE-DCCB-430E-A5E8-13194840F08C}" destId="{77B5CB40-08DF-4B84-A0AB-04615B232C3E}" srcOrd="0" destOrd="0" presId="urn:microsoft.com/office/officeart/2008/layout/HorizontalMultiLevelHierarchy"/>
    <dgm:cxn modelId="{C65BC695-B782-4121-957F-4E10E027AFC1}" type="presParOf" srcId="{77B5CB40-08DF-4B84-A0AB-04615B232C3E}" destId="{EEF89E99-82B3-40ED-8CD0-9264110A1E01}" srcOrd="0" destOrd="0" presId="urn:microsoft.com/office/officeart/2008/layout/HorizontalMultiLevelHierarchy"/>
    <dgm:cxn modelId="{8BD46360-6671-4132-A5FD-DBD5967BA9AA}" type="presParOf" srcId="{77B5CB40-08DF-4B84-A0AB-04615B232C3E}" destId="{8F7EAA3D-387C-424D-9A4E-22699F760B71}" srcOrd="1" destOrd="0" presId="urn:microsoft.com/office/officeart/2008/layout/HorizontalMultiLevelHierarchy"/>
    <dgm:cxn modelId="{FC08B38F-29DC-4DFF-AFF3-89F58872C7F7}" type="presParOf" srcId="{8F7EAA3D-387C-424D-9A4E-22699F760B71}" destId="{62877BF6-B58C-44C2-BE52-0CBCDF16E3C5}" srcOrd="0" destOrd="0" presId="urn:microsoft.com/office/officeart/2008/layout/HorizontalMultiLevelHierarchy"/>
    <dgm:cxn modelId="{499EC195-5092-4783-B19A-D65AE015559A}" type="presParOf" srcId="{62877BF6-B58C-44C2-BE52-0CBCDF16E3C5}" destId="{CFAEDA4D-B914-4CB0-98BF-83D679657989}" srcOrd="0" destOrd="0" presId="urn:microsoft.com/office/officeart/2008/layout/HorizontalMultiLevelHierarchy"/>
    <dgm:cxn modelId="{08629B10-E7A9-461E-A063-91D78FE79B88}" type="presParOf" srcId="{8F7EAA3D-387C-424D-9A4E-22699F760B71}" destId="{EDF4BEE5-D6FA-40DA-ABA9-7926FC8DD613}" srcOrd="1" destOrd="0" presId="urn:microsoft.com/office/officeart/2008/layout/HorizontalMultiLevelHierarchy"/>
    <dgm:cxn modelId="{2871C0CC-BA2F-49AF-9D12-80CE65133235}" type="presParOf" srcId="{EDF4BEE5-D6FA-40DA-ABA9-7926FC8DD613}" destId="{FE19F763-6465-48CC-8EF5-ED80B6EB2159}" srcOrd="0" destOrd="0" presId="urn:microsoft.com/office/officeart/2008/layout/HorizontalMultiLevelHierarchy"/>
    <dgm:cxn modelId="{4A155820-53A1-421F-8D67-4027C66F7E64}" type="presParOf" srcId="{EDF4BEE5-D6FA-40DA-ABA9-7926FC8DD613}" destId="{60655A15-26A7-4FB0-B2CA-AF7F856B3865}" srcOrd="1" destOrd="0" presId="urn:microsoft.com/office/officeart/2008/layout/HorizontalMultiLevelHierarchy"/>
    <dgm:cxn modelId="{CAB67210-B559-4E41-86AB-B948EA462770}" type="presParOf" srcId="{8F7EAA3D-387C-424D-9A4E-22699F760B71}" destId="{62BCE308-9835-4EB5-8BE2-CEB4EDE27796}" srcOrd="2" destOrd="0" presId="urn:microsoft.com/office/officeart/2008/layout/HorizontalMultiLevelHierarchy"/>
    <dgm:cxn modelId="{5675F002-2B48-42E9-8D4A-FFCC84F5F6F4}" type="presParOf" srcId="{62BCE308-9835-4EB5-8BE2-CEB4EDE27796}" destId="{F368F72A-19D4-48F2-8061-84C34E263DEB}" srcOrd="0" destOrd="0" presId="urn:microsoft.com/office/officeart/2008/layout/HorizontalMultiLevelHierarchy"/>
    <dgm:cxn modelId="{B319A386-D66F-45F0-8FF1-20946AC06A4B}" type="presParOf" srcId="{8F7EAA3D-387C-424D-9A4E-22699F760B71}" destId="{D920B73A-010D-406B-B3EB-38451384BC58}" srcOrd="3" destOrd="0" presId="urn:microsoft.com/office/officeart/2008/layout/HorizontalMultiLevelHierarchy"/>
    <dgm:cxn modelId="{C47DDBE4-2681-452A-97BB-D7563E43F68B}" type="presParOf" srcId="{D920B73A-010D-406B-B3EB-38451384BC58}" destId="{4866693C-6DB4-4B79-8BEC-346097EF4FBD}" srcOrd="0" destOrd="0" presId="urn:microsoft.com/office/officeart/2008/layout/HorizontalMultiLevelHierarchy"/>
    <dgm:cxn modelId="{1BC0C90F-214B-4F3C-AA45-AE973A994449}" type="presParOf" srcId="{D920B73A-010D-406B-B3EB-38451384BC58}" destId="{3752B0F4-AA12-49A9-9472-455D03DAEA37}" srcOrd="1" destOrd="0" presId="urn:microsoft.com/office/officeart/2008/layout/HorizontalMultiLevelHierarchy"/>
    <dgm:cxn modelId="{13535D16-DE20-4705-B346-D8CB22C1D9B8}" type="presParOf" srcId="{8F7EAA3D-387C-424D-9A4E-22699F760B71}" destId="{7A835ECE-259B-4B5F-8F11-83ACEBEFC979}" srcOrd="4" destOrd="0" presId="urn:microsoft.com/office/officeart/2008/layout/HorizontalMultiLevelHierarchy"/>
    <dgm:cxn modelId="{AB0DF046-3C83-4B5A-B77D-963B8FAF0A24}" type="presParOf" srcId="{7A835ECE-259B-4B5F-8F11-83ACEBEFC979}" destId="{14A09D84-4B37-436F-A5E9-817193F98982}" srcOrd="0" destOrd="0" presId="urn:microsoft.com/office/officeart/2008/layout/HorizontalMultiLevelHierarchy"/>
    <dgm:cxn modelId="{99269CCB-8CBC-4186-AD01-323CAA855647}" type="presParOf" srcId="{8F7EAA3D-387C-424D-9A4E-22699F760B71}" destId="{F95A69E1-4141-4C87-B2DC-F29BF1226488}" srcOrd="5" destOrd="0" presId="urn:microsoft.com/office/officeart/2008/layout/HorizontalMultiLevelHierarchy"/>
    <dgm:cxn modelId="{6163D1F4-9AE2-4C49-8457-608A82455B32}" type="presParOf" srcId="{F95A69E1-4141-4C87-B2DC-F29BF1226488}" destId="{D448CBB5-0F9F-4778-9ED8-5FEFE8059CB7}" srcOrd="0" destOrd="0" presId="urn:microsoft.com/office/officeart/2008/layout/HorizontalMultiLevelHierarchy"/>
    <dgm:cxn modelId="{1201DCEE-A3E2-4DD7-BB17-03FA7AF16A33}" type="presParOf" srcId="{F95A69E1-4141-4C87-B2DC-F29BF1226488}" destId="{483072F9-01D3-4058-B549-1737D8321A77}" srcOrd="1" destOrd="0" presId="urn:microsoft.com/office/officeart/2008/layout/HorizontalMultiLevelHierarchy"/>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2D4EF94-134C-415A-93E6-4D964A438AE8}">
      <dsp:nvSpPr>
        <dsp:cNvPr id="0" name=""/>
        <dsp:cNvSpPr/>
      </dsp:nvSpPr>
      <dsp:spPr>
        <a:xfrm>
          <a:off x="2461031" y="1299529"/>
          <a:ext cx="533397" cy="91440"/>
        </a:xfrm>
        <a:custGeom>
          <a:avLst/>
          <a:gdLst/>
          <a:ahLst/>
          <a:cxnLst/>
          <a:rect l="0" t="0" r="0" b="0"/>
          <a:pathLst>
            <a:path>
              <a:moveTo>
                <a:pt x="0" y="45720"/>
              </a:moveTo>
              <a:lnTo>
                <a:pt x="533397" y="45720"/>
              </a:lnTo>
            </a:path>
          </a:pathLst>
        </a:custGeom>
        <a:noFill/>
        <a:ln w="9525" cap="flat" cmpd="sng" algn="ctr">
          <a:solidFill>
            <a:schemeClr val="accent1">
              <a:shade val="90000"/>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713630" y="1342426"/>
        <a:ext cx="28199" cy="5645"/>
      </dsp:txXfrm>
    </dsp:sp>
    <dsp:sp modelId="{1F58083D-7D25-4BF1-9E07-17D5848C7280}">
      <dsp:nvSpPr>
        <dsp:cNvPr id="0" name=""/>
        <dsp:cNvSpPr/>
      </dsp:nvSpPr>
      <dsp:spPr>
        <a:xfrm>
          <a:off x="10667" y="609600"/>
          <a:ext cx="2452164" cy="1471298"/>
        </a:xfrm>
        <a:prstGeom prst="rect">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0">
          <a:noAutofit/>
        </a:bodyPr>
        <a:lstStyle/>
        <a:p>
          <a:pPr lvl="0" algn="l" defTabSz="800100">
            <a:lnSpc>
              <a:spcPct val="90000"/>
            </a:lnSpc>
            <a:spcBef>
              <a:spcPct val="0"/>
            </a:spcBef>
            <a:spcAft>
              <a:spcPct val="35000"/>
            </a:spcAft>
          </a:pPr>
          <a:r>
            <a:rPr lang="en-GB" sz="1800" b="1" kern="1200" dirty="0"/>
            <a:t>Pre- registration &amp; Accreditation</a:t>
          </a:r>
          <a:endParaRPr lang="en-US" sz="1800" kern="1200" dirty="0"/>
        </a:p>
        <a:p>
          <a:pPr marL="114300" lvl="1" indent="-114300" algn="l" defTabSz="533400">
            <a:lnSpc>
              <a:spcPct val="90000"/>
            </a:lnSpc>
            <a:spcBef>
              <a:spcPct val="0"/>
            </a:spcBef>
            <a:spcAft>
              <a:spcPct val="15000"/>
            </a:spcAft>
            <a:buChar char="••"/>
          </a:pPr>
          <a:r>
            <a:rPr lang="en-GB" sz="1200" b="1" kern="1200" dirty="0"/>
            <a:t>Facilities </a:t>
          </a:r>
        </a:p>
        <a:p>
          <a:pPr marL="114300" lvl="1" indent="-114300" algn="l" defTabSz="533400">
            <a:lnSpc>
              <a:spcPct val="90000"/>
            </a:lnSpc>
            <a:spcBef>
              <a:spcPct val="0"/>
            </a:spcBef>
            <a:spcAft>
              <a:spcPct val="15000"/>
            </a:spcAft>
            <a:buChar char="••"/>
          </a:pPr>
          <a:r>
            <a:rPr lang="en-GB" sz="1200" b="1" kern="1200" dirty="0"/>
            <a:t>Vaccinators </a:t>
          </a:r>
          <a:endParaRPr lang="en-US" sz="1200" kern="1200" dirty="0"/>
        </a:p>
      </dsp:txBody>
      <dsp:txXfrm>
        <a:off x="10667" y="609600"/>
        <a:ext cx="2452164" cy="1471298"/>
      </dsp:txXfrm>
    </dsp:sp>
    <dsp:sp modelId="{4300F1C8-412B-4F0B-9C2E-343C45AD35A4}">
      <dsp:nvSpPr>
        <dsp:cNvPr id="0" name=""/>
        <dsp:cNvSpPr/>
      </dsp:nvSpPr>
      <dsp:spPr>
        <a:xfrm>
          <a:off x="5477194" y="1299529"/>
          <a:ext cx="533397" cy="91440"/>
        </a:xfrm>
        <a:custGeom>
          <a:avLst/>
          <a:gdLst/>
          <a:ahLst/>
          <a:cxnLst/>
          <a:rect l="0" t="0" r="0" b="0"/>
          <a:pathLst>
            <a:path>
              <a:moveTo>
                <a:pt x="0" y="45720"/>
              </a:moveTo>
              <a:lnTo>
                <a:pt x="533397" y="45720"/>
              </a:lnTo>
            </a:path>
          </a:pathLst>
        </a:custGeom>
        <a:noFill/>
        <a:ln w="9525" cap="flat" cmpd="sng" algn="ctr">
          <a:solidFill>
            <a:schemeClr val="accent1">
              <a:shade val="90000"/>
              <a:hueOff val="18101"/>
              <a:satOff val="-607"/>
              <a:lumOff val="6397"/>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5729793" y="1342426"/>
        <a:ext cx="28199" cy="5645"/>
      </dsp:txXfrm>
    </dsp:sp>
    <dsp:sp modelId="{30BD584B-D05E-4643-B799-7D0CAD9896AC}">
      <dsp:nvSpPr>
        <dsp:cNvPr id="0" name=""/>
        <dsp:cNvSpPr/>
      </dsp:nvSpPr>
      <dsp:spPr>
        <a:xfrm>
          <a:off x="3026829" y="609600"/>
          <a:ext cx="2452164" cy="1471298"/>
        </a:xfrm>
        <a:prstGeom prst="rect">
          <a:avLst/>
        </a:prstGeom>
        <a:solidFill>
          <a:schemeClr val="accent1">
            <a:shade val="80000"/>
            <a:hueOff val="13581"/>
            <a:satOff val="297"/>
            <a:lumOff val="55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0">
          <a:noAutofit/>
        </a:bodyPr>
        <a:lstStyle/>
        <a:p>
          <a:pPr lvl="0" algn="l" defTabSz="800100">
            <a:lnSpc>
              <a:spcPct val="90000"/>
            </a:lnSpc>
            <a:spcBef>
              <a:spcPct val="0"/>
            </a:spcBef>
            <a:spcAft>
              <a:spcPct val="35000"/>
            </a:spcAft>
          </a:pPr>
          <a:r>
            <a:rPr lang="en-GB" sz="1800" b="1" kern="1200" dirty="0"/>
            <a:t>Registration </a:t>
          </a:r>
          <a:endParaRPr lang="en-US" sz="1800" kern="1200" dirty="0"/>
        </a:p>
        <a:p>
          <a:pPr marL="114300" lvl="1" indent="-114300" algn="l" defTabSz="533400">
            <a:lnSpc>
              <a:spcPct val="90000"/>
            </a:lnSpc>
            <a:spcBef>
              <a:spcPct val="0"/>
            </a:spcBef>
            <a:spcAft>
              <a:spcPct val="15000"/>
            </a:spcAft>
            <a:buChar char="••"/>
          </a:pPr>
          <a:r>
            <a:rPr lang="en-GB" sz="1200" b="1" kern="1200" dirty="0"/>
            <a:t>(“ voters roll ”) </a:t>
          </a:r>
        </a:p>
        <a:p>
          <a:pPr marL="114300" lvl="1" indent="-114300" algn="l" defTabSz="533400">
            <a:lnSpc>
              <a:spcPct val="90000"/>
            </a:lnSpc>
            <a:spcBef>
              <a:spcPct val="0"/>
            </a:spcBef>
            <a:spcAft>
              <a:spcPct val="15000"/>
            </a:spcAft>
            <a:buChar char="••"/>
          </a:pPr>
          <a:r>
            <a:rPr lang="en-GB" sz="1200" b="1" kern="1200" dirty="0"/>
            <a:t>Clients </a:t>
          </a:r>
        </a:p>
      </dsp:txBody>
      <dsp:txXfrm>
        <a:off x="3026829" y="609600"/>
        <a:ext cx="2452164" cy="1471298"/>
      </dsp:txXfrm>
    </dsp:sp>
    <dsp:sp modelId="{ECDF613A-7CB9-48CE-BC90-3D5A1F56164D}">
      <dsp:nvSpPr>
        <dsp:cNvPr id="0" name=""/>
        <dsp:cNvSpPr/>
      </dsp:nvSpPr>
      <dsp:spPr>
        <a:xfrm>
          <a:off x="1987013" y="2079098"/>
          <a:ext cx="5282060" cy="546095"/>
        </a:xfrm>
        <a:custGeom>
          <a:avLst/>
          <a:gdLst/>
          <a:ahLst/>
          <a:cxnLst/>
          <a:rect l="0" t="0" r="0" b="0"/>
          <a:pathLst>
            <a:path>
              <a:moveTo>
                <a:pt x="5282060" y="0"/>
              </a:moveTo>
              <a:lnTo>
                <a:pt x="5282060" y="290147"/>
              </a:lnTo>
              <a:lnTo>
                <a:pt x="0" y="290147"/>
              </a:lnTo>
              <a:lnTo>
                <a:pt x="0" y="546095"/>
              </a:lnTo>
            </a:path>
          </a:pathLst>
        </a:custGeom>
        <a:noFill/>
        <a:ln w="9525" cap="flat" cmpd="sng" algn="ctr">
          <a:solidFill>
            <a:schemeClr val="accent1">
              <a:shade val="90000"/>
              <a:hueOff val="36202"/>
              <a:satOff val="-1215"/>
              <a:lumOff val="12793"/>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4495207" y="2349323"/>
        <a:ext cx="265672" cy="5645"/>
      </dsp:txXfrm>
    </dsp:sp>
    <dsp:sp modelId="{F4CD87D4-9247-4C2A-B634-C2E64EF7BD3C}">
      <dsp:nvSpPr>
        <dsp:cNvPr id="0" name=""/>
        <dsp:cNvSpPr/>
      </dsp:nvSpPr>
      <dsp:spPr>
        <a:xfrm>
          <a:off x="6042992" y="609600"/>
          <a:ext cx="2452164" cy="1471298"/>
        </a:xfrm>
        <a:prstGeom prst="rect">
          <a:avLst/>
        </a:prstGeom>
        <a:solidFill>
          <a:schemeClr val="accent1">
            <a:shade val="80000"/>
            <a:hueOff val="27162"/>
            <a:satOff val="594"/>
            <a:lumOff val="110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GB" sz="1800" b="1" kern="1200" dirty="0"/>
            <a:t>Appointment Process</a:t>
          </a:r>
          <a:endParaRPr lang="en-US" sz="1800" kern="1200" dirty="0"/>
        </a:p>
      </dsp:txBody>
      <dsp:txXfrm>
        <a:off x="6042992" y="609600"/>
        <a:ext cx="2452164" cy="1471298"/>
      </dsp:txXfrm>
    </dsp:sp>
    <dsp:sp modelId="{0D53613A-6C9F-43D9-AAC2-9AB2BE8EEEF6}">
      <dsp:nvSpPr>
        <dsp:cNvPr id="0" name=""/>
        <dsp:cNvSpPr/>
      </dsp:nvSpPr>
      <dsp:spPr>
        <a:xfrm>
          <a:off x="3961560" y="3537328"/>
          <a:ext cx="533397" cy="91440"/>
        </a:xfrm>
        <a:custGeom>
          <a:avLst/>
          <a:gdLst/>
          <a:ahLst/>
          <a:cxnLst/>
          <a:rect l="0" t="0" r="0" b="0"/>
          <a:pathLst>
            <a:path>
              <a:moveTo>
                <a:pt x="0" y="45720"/>
              </a:moveTo>
              <a:lnTo>
                <a:pt x="533397" y="45720"/>
              </a:lnTo>
            </a:path>
          </a:pathLst>
        </a:custGeom>
        <a:noFill/>
        <a:ln w="9525" cap="flat" cmpd="sng" algn="ctr">
          <a:solidFill>
            <a:schemeClr val="accent1">
              <a:shade val="90000"/>
              <a:hueOff val="54303"/>
              <a:satOff val="-1822"/>
              <a:lumOff val="1919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4214159" y="3580225"/>
        <a:ext cx="28199" cy="5645"/>
      </dsp:txXfrm>
    </dsp:sp>
    <dsp:sp modelId="{175066B0-9212-4238-B0B4-C41C333E8928}">
      <dsp:nvSpPr>
        <dsp:cNvPr id="0" name=""/>
        <dsp:cNvSpPr/>
      </dsp:nvSpPr>
      <dsp:spPr>
        <a:xfrm>
          <a:off x="10667" y="2657594"/>
          <a:ext cx="3952692" cy="1850908"/>
        </a:xfrm>
        <a:prstGeom prst="rect">
          <a:avLst/>
        </a:prstGeom>
        <a:solidFill>
          <a:schemeClr val="accent1">
            <a:shade val="80000"/>
            <a:hueOff val="40743"/>
            <a:satOff val="891"/>
            <a:lumOff val="165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0">
          <a:noAutofit/>
        </a:bodyPr>
        <a:lstStyle/>
        <a:p>
          <a:pPr lvl="0" algn="l" defTabSz="800100">
            <a:lnSpc>
              <a:spcPct val="90000"/>
            </a:lnSpc>
            <a:spcBef>
              <a:spcPct val="0"/>
            </a:spcBef>
            <a:spcAft>
              <a:spcPct val="35000"/>
            </a:spcAft>
            <a:buFont typeface="Arial" panose="020B0604020202020204" pitchFamily="34" charset="0"/>
            <a:buChar char="•"/>
          </a:pPr>
          <a:r>
            <a:rPr lang="en-GB" sz="1800" b="1" kern="1200" dirty="0"/>
            <a:t>Vaccine Administration</a:t>
          </a:r>
          <a:endParaRPr lang="en-US" sz="1400" kern="1200" dirty="0"/>
        </a:p>
        <a:p>
          <a:pPr marL="171450" lvl="1" indent="-171450" algn="l" defTabSz="711200">
            <a:lnSpc>
              <a:spcPct val="90000"/>
            </a:lnSpc>
            <a:spcBef>
              <a:spcPct val="0"/>
            </a:spcBef>
            <a:spcAft>
              <a:spcPct val="15000"/>
            </a:spcAft>
            <a:buFont typeface="Arial" panose="020B0604020202020204" pitchFamily="34" charset="0"/>
            <a:buChar char="••"/>
          </a:pPr>
          <a:r>
            <a:rPr lang="en-GB" sz="1600" b="1" kern="1200" dirty="0"/>
            <a:t>Consent</a:t>
          </a:r>
          <a:endParaRPr lang="en-US" sz="1400" kern="1200" dirty="0"/>
        </a:p>
        <a:p>
          <a:pPr marL="171450" lvl="1" indent="-171450" algn="l" defTabSz="711200">
            <a:lnSpc>
              <a:spcPct val="90000"/>
            </a:lnSpc>
            <a:spcBef>
              <a:spcPct val="0"/>
            </a:spcBef>
            <a:spcAft>
              <a:spcPct val="15000"/>
            </a:spcAft>
            <a:buFont typeface="Arial" panose="020B0604020202020204" pitchFamily="34" charset="0"/>
            <a:buChar char="••"/>
          </a:pPr>
          <a:r>
            <a:rPr lang="en-GB" sz="1600" b="1" kern="1200" dirty="0"/>
            <a:t>Vaccination – First dose</a:t>
          </a:r>
          <a:endParaRPr lang="en-US" sz="1400" kern="1200" dirty="0"/>
        </a:p>
        <a:p>
          <a:pPr marL="171450" lvl="1" indent="-171450" algn="l" defTabSz="711200">
            <a:lnSpc>
              <a:spcPct val="90000"/>
            </a:lnSpc>
            <a:spcBef>
              <a:spcPct val="0"/>
            </a:spcBef>
            <a:spcAft>
              <a:spcPct val="15000"/>
            </a:spcAft>
            <a:buFont typeface="Arial" panose="020B0604020202020204" pitchFamily="34" charset="0"/>
            <a:buChar char="••"/>
          </a:pPr>
          <a:r>
            <a:rPr lang="en-GB" sz="1600" b="1" kern="1200" dirty="0"/>
            <a:t>Appointment for 2</a:t>
          </a:r>
          <a:r>
            <a:rPr lang="en-GB" sz="1600" b="1" kern="1200" baseline="30000" dirty="0"/>
            <a:t>nd</a:t>
          </a:r>
          <a:r>
            <a:rPr lang="en-GB" sz="1600" b="1" kern="1200" dirty="0"/>
            <a:t> dose</a:t>
          </a:r>
          <a:endParaRPr lang="en-US" sz="1400" kern="1200" dirty="0"/>
        </a:p>
        <a:p>
          <a:pPr marL="171450" lvl="1" indent="-171450" algn="l" defTabSz="711200">
            <a:lnSpc>
              <a:spcPct val="90000"/>
            </a:lnSpc>
            <a:spcBef>
              <a:spcPct val="0"/>
            </a:spcBef>
            <a:spcAft>
              <a:spcPct val="15000"/>
            </a:spcAft>
            <a:buFont typeface="Arial" panose="020B0604020202020204" pitchFamily="34" charset="0"/>
            <a:buChar char="••"/>
          </a:pPr>
          <a:r>
            <a:rPr lang="en-GB" sz="1600" b="1" kern="1200"/>
            <a:t>Issue </a:t>
          </a:r>
          <a:r>
            <a:rPr lang="en-GB" sz="1600" b="1" kern="1200" dirty="0"/>
            <a:t>proof of vaccination</a:t>
          </a:r>
          <a:r>
            <a:rPr lang="en-GB" sz="1400" b="1" kern="1200" dirty="0"/>
            <a:t> </a:t>
          </a:r>
          <a:endParaRPr lang="en-US" sz="1400" kern="1200" dirty="0"/>
        </a:p>
      </dsp:txBody>
      <dsp:txXfrm>
        <a:off x="10667" y="2657594"/>
        <a:ext cx="3952692" cy="1850908"/>
      </dsp:txXfrm>
    </dsp:sp>
    <dsp:sp modelId="{976ED44C-9C55-4717-9675-629AD2D49692}">
      <dsp:nvSpPr>
        <dsp:cNvPr id="0" name=""/>
        <dsp:cNvSpPr/>
      </dsp:nvSpPr>
      <dsp:spPr>
        <a:xfrm>
          <a:off x="4527358" y="2644896"/>
          <a:ext cx="3442765" cy="1876303"/>
        </a:xfrm>
        <a:prstGeom prst="rect">
          <a:avLst/>
        </a:prstGeom>
        <a:solidFill>
          <a:schemeClr val="accent1">
            <a:shade val="80000"/>
            <a:hueOff val="54325"/>
            <a:satOff val="1188"/>
            <a:lumOff val="221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0">
          <a:noAutofit/>
        </a:bodyPr>
        <a:lstStyle/>
        <a:p>
          <a:pPr lvl="0" algn="l" defTabSz="800100">
            <a:lnSpc>
              <a:spcPct val="90000"/>
            </a:lnSpc>
            <a:spcBef>
              <a:spcPct val="0"/>
            </a:spcBef>
            <a:spcAft>
              <a:spcPct val="35000"/>
            </a:spcAft>
          </a:pPr>
          <a:r>
            <a:rPr lang="en-GB" sz="1800" b="1" kern="1200" dirty="0"/>
            <a:t>Vaccine Administration</a:t>
          </a:r>
          <a:endParaRPr lang="en-US" sz="1800" kern="1200" dirty="0"/>
        </a:p>
        <a:p>
          <a:pPr marL="171450" lvl="1" indent="-171450" algn="l" defTabSz="711200">
            <a:lnSpc>
              <a:spcPct val="90000"/>
            </a:lnSpc>
            <a:spcBef>
              <a:spcPct val="0"/>
            </a:spcBef>
            <a:spcAft>
              <a:spcPct val="15000"/>
            </a:spcAft>
            <a:buChar char="••"/>
          </a:pPr>
          <a:r>
            <a:rPr lang="en-GB" sz="1600" b="1" kern="1200" dirty="0"/>
            <a:t>2</a:t>
          </a:r>
          <a:r>
            <a:rPr lang="en-GB" sz="1600" b="1" kern="1200" baseline="30000" dirty="0"/>
            <a:t>nd</a:t>
          </a:r>
          <a:r>
            <a:rPr lang="en-GB" sz="1600" b="1" kern="1200" dirty="0"/>
            <a:t> dose </a:t>
          </a:r>
        </a:p>
      </dsp:txBody>
      <dsp:txXfrm>
        <a:off x="4527358" y="2644896"/>
        <a:ext cx="3442765" cy="1876303"/>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0F573CA-CD81-4C67-BEFB-89245C9AAE9C}">
      <dsp:nvSpPr>
        <dsp:cNvPr id="0" name=""/>
        <dsp:cNvSpPr/>
      </dsp:nvSpPr>
      <dsp:spPr>
        <a:xfrm>
          <a:off x="3577" y="1393660"/>
          <a:ext cx="3127960" cy="2502368"/>
        </a:xfrm>
        <a:prstGeom prst="homePlate">
          <a:avLst>
            <a:gd name="adj" fmla="val 25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348" tIns="40640" rIns="441390" bIns="40640" numCol="1" spcCol="1270" anchor="t" anchorCtr="0">
          <a:noAutofit/>
        </a:bodyPr>
        <a:lstStyle/>
        <a:p>
          <a:pPr lvl="0" algn="l" defTabSz="711200">
            <a:lnSpc>
              <a:spcPct val="90000"/>
            </a:lnSpc>
            <a:spcBef>
              <a:spcPct val="0"/>
            </a:spcBef>
            <a:spcAft>
              <a:spcPct val="35000"/>
            </a:spcAft>
          </a:pPr>
          <a:r>
            <a:rPr lang="en-US" sz="1600" b="1" kern="1200" dirty="0"/>
            <a:t>Phase I</a:t>
          </a:r>
        </a:p>
        <a:p>
          <a:pPr marL="114300" lvl="1" indent="-114300" algn="l" defTabSz="533400">
            <a:lnSpc>
              <a:spcPct val="90000"/>
            </a:lnSpc>
            <a:spcBef>
              <a:spcPct val="0"/>
            </a:spcBef>
            <a:spcAft>
              <a:spcPct val="15000"/>
            </a:spcAft>
            <a:buChar char="••"/>
          </a:pPr>
          <a:r>
            <a:rPr lang="en-GB" sz="1200" b="1" kern="1200" dirty="0"/>
            <a:t>Health Care Workers :</a:t>
          </a:r>
          <a:endParaRPr lang="en-US" sz="1200" kern="1200" dirty="0"/>
        </a:p>
        <a:p>
          <a:pPr marL="228600" lvl="2" indent="-114300" algn="l" defTabSz="533400">
            <a:lnSpc>
              <a:spcPct val="90000"/>
            </a:lnSpc>
            <a:spcBef>
              <a:spcPct val="0"/>
            </a:spcBef>
            <a:spcAft>
              <a:spcPct val="15000"/>
            </a:spcAft>
            <a:buChar char="••"/>
          </a:pPr>
          <a:r>
            <a:rPr lang="en-GB" sz="1200" kern="1200" dirty="0"/>
            <a:t>Public &amp; Private Health Sectors</a:t>
          </a:r>
        </a:p>
        <a:p>
          <a:pPr marL="228600" lvl="2" indent="-114300" algn="l" defTabSz="533400">
            <a:lnSpc>
              <a:spcPct val="90000"/>
            </a:lnSpc>
            <a:spcBef>
              <a:spcPct val="0"/>
            </a:spcBef>
            <a:spcAft>
              <a:spcPct val="15000"/>
            </a:spcAft>
            <a:buChar char="••"/>
          </a:pPr>
          <a:r>
            <a:rPr lang="en-GB" sz="1200" kern="1200" dirty="0"/>
            <a:t>Care Workers</a:t>
          </a:r>
        </a:p>
        <a:p>
          <a:pPr marL="228600" lvl="2" indent="-114300" algn="l" defTabSz="533400">
            <a:lnSpc>
              <a:spcPct val="90000"/>
            </a:lnSpc>
            <a:spcBef>
              <a:spcPct val="0"/>
            </a:spcBef>
            <a:spcAft>
              <a:spcPct val="15000"/>
            </a:spcAft>
            <a:buChar char="••"/>
          </a:pPr>
          <a:r>
            <a:rPr lang="en-GB" sz="1200" kern="1200" dirty="0"/>
            <a:t>CHWs</a:t>
          </a:r>
        </a:p>
        <a:p>
          <a:pPr marL="228600" lvl="2" indent="-114300" algn="l" defTabSz="533400">
            <a:lnSpc>
              <a:spcPct val="90000"/>
            </a:lnSpc>
            <a:spcBef>
              <a:spcPct val="0"/>
            </a:spcBef>
            <a:spcAft>
              <a:spcPct val="15000"/>
            </a:spcAft>
            <a:buChar char="••"/>
          </a:pPr>
          <a:r>
            <a:rPr lang="en-GB" sz="1200" kern="1200" dirty="0"/>
            <a:t>Health Science students</a:t>
          </a:r>
        </a:p>
        <a:p>
          <a:pPr marL="228600" lvl="2" indent="-114300" algn="l" defTabSz="533400">
            <a:lnSpc>
              <a:spcPct val="90000"/>
            </a:lnSpc>
            <a:spcBef>
              <a:spcPct val="0"/>
            </a:spcBef>
            <a:spcAft>
              <a:spcPct val="15000"/>
            </a:spcAft>
            <a:buChar char="••"/>
          </a:pPr>
          <a:r>
            <a:rPr lang="en-GB" sz="1200" kern="1200" dirty="0"/>
            <a:t>Traditional Healers</a:t>
          </a:r>
        </a:p>
        <a:p>
          <a:pPr marL="228600" lvl="2" indent="-114300" algn="l" defTabSz="533400">
            <a:lnSpc>
              <a:spcPct val="90000"/>
            </a:lnSpc>
            <a:spcBef>
              <a:spcPct val="0"/>
            </a:spcBef>
            <a:spcAft>
              <a:spcPct val="15000"/>
            </a:spcAft>
            <a:buChar char="••"/>
          </a:pPr>
          <a:endParaRPr lang="en-GB" sz="1200" kern="1200" dirty="0"/>
        </a:p>
        <a:p>
          <a:pPr marL="114300" lvl="1" indent="-114300" algn="l" defTabSz="533400">
            <a:lnSpc>
              <a:spcPct val="90000"/>
            </a:lnSpc>
            <a:spcBef>
              <a:spcPct val="0"/>
            </a:spcBef>
            <a:spcAft>
              <a:spcPct val="15000"/>
            </a:spcAft>
            <a:buChar char="••"/>
          </a:pPr>
          <a:r>
            <a:rPr lang="en-GB" sz="1200" b="1" kern="1200" dirty="0">
              <a:solidFill>
                <a:schemeClr val="tx1"/>
              </a:solidFill>
            </a:rPr>
            <a:t>Estimated target:</a:t>
          </a:r>
          <a:endParaRPr lang="en-GB" sz="1200" kern="1200" dirty="0"/>
        </a:p>
        <a:p>
          <a:pPr marL="228600" lvl="2" indent="-114300" algn="l" defTabSz="533400">
            <a:lnSpc>
              <a:spcPct val="90000"/>
            </a:lnSpc>
            <a:spcBef>
              <a:spcPct val="0"/>
            </a:spcBef>
            <a:spcAft>
              <a:spcPct val="15000"/>
            </a:spcAft>
            <a:buChar char="••"/>
          </a:pPr>
          <a:r>
            <a:rPr lang="en-GB" sz="1200" b="1" kern="1200" dirty="0">
              <a:solidFill>
                <a:schemeClr val="tx1"/>
              </a:solidFill>
            </a:rPr>
            <a:t> 133 000</a:t>
          </a:r>
          <a:endParaRPr lang="en-GB" sz="1200" kern="1200" dirty="0"/>
        </a:p>
      </dsp:txBody>
      <dsp:txXfrm>
        <a:off x="3577" y="1393660"/>
        <a:ext cx="3127960" cy="2502368"/>
      </dsp:txXfrm>
    </dsp:sp>
    <dsp:sp modelId="{2C837958-C425-480C-8B16-F42442C1E496}">
      <dsp:nvSpPr>
        <dsp:cNvPr id="0" name=""/>
        <dsp:cNvSpPr/>
      </dsp:nvSpPr>
      <dsp:spPr>
        <a:xfrm>
          <a:off x="2505945" y="1393660"/>
          <a:ext cx="3127960" cy="2502368"/>
        </a:xfrm>
        <a:prstGeom prst="chevron">
          <a:avLst>
            <a:gd name="adj" fmla="val 25000"/>
          </a:avLst>
        </a:prstGeom>
        <a:solidFill>
          <a:schemeClr val="accent4">
            <a:hueOff val="1706207"/>
            <a:satOff val="22970"/>
            <a:lumOff val="-2019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348" tIns="40640" rIns="110348" bIns="40640" numCol="1" spcCol="1270" anchor="t" anchorCtr="0">
          <a:noAutofit/>
        </a:bodyPr>
        <a:lstStyle/>
        <a:p>
          <a:pPr lvl="0" algn="l" defTabSz="711200">
            <a:lnSpc>
              <a:spcPct val="90000"/>
            </a:lnSpc>
            <a:spcBef>
              <a:spcPct val="0"/>
            </a:spcBef>
            <a:spcAft>
              <a:spcPct val="35000"/>
            </a:spcAft>
          </a:pPr>
          <a:r>
            <a:rPr lang="en-US" sz="1600" b="1" kern="1200" dirty="0"/>
            <a:t>Phase II</a:t>
          </a:r>
        </a:p>
        <a:p>
          <a:pPr marL="114300" lvl="1" indent="-114300" algn="l" defTabSz="533400">
            <a:lnSpc>
              <a:spcPct val="90000"/>
            </a:lnSpc>
            <a:spcBef>
              <a:spcPct val="0"/>
            </a:spcBef>
            <a:spcAft>
              <a:spcPct val="15000"/>
            </a:spcAft>
            <a:buFont typeface="Arial" panose="020B0604020202020204" pitchFamily="34" charset="0"/>
            <a:buChar char="••"/>
          </a:pPr>
          <a:r>
            <a:rPr lang="en-GB" sz="1200" kern="1200" dirty="0">
              <a:solidFill>
                <a:schemeClr val="bg1"/>
              </a:solidFill>
            </a:rPr>
            <a:t>Essential Workers</a:t>
          </a:r>
          <a:endParaRPr lang="en-US" sz="1200" kern="1200" dirty="0"/>
        </a:p>
        <a:p>
          <a:pPr marL="114300" lvl="1" indent="-114300" algn="l" defTabSz="533400">
            <a:lnSpc>
              <a:spcPct val="90000"/>
            </a:lnSpc>
            <a:spcBef>
              <a:spcPct val="0"/>
            </a:spcBef>
            <a:spcAft>
              <a:spcPct val="15000"/>
            </a:spcAft>
            <a:buChar char="••"/>
          </a:pPr>
          <a:r>
            <a:rPr lang="en-GB" sz="1200" kern="1200" dirty="0">
              <a:solidFill>
                <a:schemeClr val="bg1"/>
              </a:solidFill>
            </a:rPr>
            <a:t>Clients in congregate settings </a:t>
          </a:r>
        </a:p>
        <a:p>
          <a:pPr marL="114300" lvl="1" indent="-114300" algn="l" defTabSz="533400">
            <a:lnSpc>
              <a:spcPct val="90000"/>
            </a:lnSpc>
            <a:spcBef>
              <a:spcPct val="0"/>
            </a:spcBef>
            <a:spcAft>
              <a:spcPct val="15000"/>
            </a:spcAft>
            <a:buChar char="••"/>
          </a:pPr>
          <a:r>
            <a:rPr lang="en-GB" sz="1200" kern="1200" dirty="0">
              <a:solidFill>
                <a:schemeClr val="bg1"/>
              </a:solidFill>
            </a:rPr>
            <a:t>Older than 60 Years</a:t>
          </a:r>
        </a:p>
        <a:p>
          <a:pPr marL="114300" lvl="1" indent="-114300" algn="l" defTabSz="533400">
            <a:lnSpc>
              <a:spcPct val="90000"/>
            </a:lnSpc>
            <a:spcBef>
              <a:spcPct val="0"/>
            </a:spcBef>
            <a:spcAft>
              <a:spcPct val="15000"/>
            </a:spcAft>
            <a:buChar char="••"/>
          </a:pPr>
          <a:r>
            <a:rPr lang="en-GB" sz="1200" kern="1200" dirty="0">
              <a:solidFill>
                <a:schemeClr val="bg1"/>
              </a:solidFill>
            </a:rPr>
            <a:t>Older than 18 </a:t>
          </a:r>
          <a:r>
            <a:rPr lang="en-GB" sz="1200" kern="1200" dirty="0" err="1">
              <a:solidFill>
                <a:schemeClr val="bg1"/>
              </a:solidFill>
            </a:rPr>
            <a:t>yrs</a:t>
          </a:r>
          <a:r>
            <a:rPr lang="en-GB" sz="1200" kern="1200" dirty="0">
              <a:solidFill>
                <a:schemeClr val="bg1"/>
              </a:solidFill>
            </a:rPr>
            <a:t> with Co-morbidities</a:t>
          </a:r>
        </a:p>
        <a:p>
          <a:pPr marL="114300" lvl="1" indent="-114300" algn="l" defTabSz="533400">
            <a:lnSpc>
              <a:spcPct val="90000"/>
            </a:lnSpc>
            <a:spcBef>
              <a:spcPct val="0"/>
            </a:spcBef>
            <a:spcAft>
              <a:spcPct val="15000"/>
            </a:spcAft>
            <a:buChar char="••"/>
          </a:pPr>
          <a:endParaRPr lang="en-GB" sz="1200" kern="1200" dirty="0">
            <a:solidFill>
              <a:schemeClr val="bg1"/>
            </a:solidFill>
          </a:endParaRPr>
        </a:p>
        <a:p>
          <a:pPr marL="114300" lvl="1" indent="-114300" algn="l" defTabSz="533400">
            <a:lnSpc>
              <a:spcPct val="90000"/>
            </a:lnSpc>
            <a:spcBef>
              <a:spcPct val="0"/>
            </a:spcBef>
            <a:spcAft>
              <a:spcPct val="15000"/>
            </a:spcAft>
            <a:buChar char="••"/>
          </a:pPr>
          <a:r>
            <a:rPr lang="en-GB" sz="1200" b="1" kern="1200" dirty="0">
              <a:solidFill>
                <a:schemeClr val="tx1"/>
              </a:solidFill>
            </a:rPr>
            <a:t>Estimated target : </a:t>
          </a:r>
        </a:p>
        <a:p>
          <a:pPr marL="228600" lvl="2" indent="-114300" algn="l" defTabSz="533400">
            <a:lnSpc>
              <a:spcPct val="90000"/>
            </a:lnSpc>
            <a:spcBef>
              <a:spcPct val="0"/>
            </a:spcBef>
            <a:spcAft>
              <a:spcPct val="15000"/>
            </a:spcAft>
            <a:buChar char="••"/>
          </a:pPr>
          <a:r>
            <a:rPr lang="en-GB" sz="1200" b="1" kern="1200" dirty="0">
              <a:solidFill>
                <a:schemeClr val="tx1"/>
              </a:solidFill>
            </a:rPr>
            <a:t> 2m</a:t>
          </a:r>
        </a:p>
      </dsp:txBody>
      <dsp:txXfrm>
        <a:off x="2505945" y="1393660"/>
        <a:ext cx="3127960" cy="2502368"/>
      </dsp:txXfrm>
    </dsp:sp>
    <dsp:sp modelId="{63E0FFC8-947B-497B-B06B-1B8D22355A99}">
      <dsp:nvSpPr>
        <dsp:cNvPr id="0" name=""/>
        <dsp:cNvSpPr/>
      </dsp:nvSpPr>
      <dsp:spPr>
        <a:xfrm>
          <a:off x="5008314" y="1393660"/>
          <a:ext cx="3127960" cy="2502368"/>
        </a:xfrm>
        <a:prstGeom prst="chevron">
          <a:avLst>
            <a:gd name="adj" fmla="val 25000"/>
          </a:avLst>
        </a:prstGeom>
        <a:solidFill>
          <a:schemeClr val="accent4">
            <a:hueOff val="3412414"/>
            <a:satOff val="45940"/>
            <a:lumOff val="-40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348" tIns="40640" rIns="110348" bIns="40640" numCol="1" spcCol="1270" anchor="t" anchorCtr="0">
          <a:noAutofit/>
        </a:bodyPr>
        <a:lstStyle/>
        <a:p>
          <a:pPr lvl="0" algn="l" defTabSz="711200">
            <a:lnSpc>
              <a:spcPct val="90000"/>
            </a:lnSpc>
            <a:spcBef>
              <a:spcPct val="0"/>
            </a:spcBef>
            <a:spcAft>
              <a:spcPct val="35000"/>
            </a:spcAft>
          </a:pPr>
          <a:r>
            <a:rPr lang="en-US" sz="1600" b="1" kern="1200" dirty="0"/>
            <a:t>Phase III</a:t>
          </a:r>
        </a:p>
        <a:p>
          <a:pPr marL="114300" lvl="1" indent="-114300" algn="l" defTabSz="533400">
            <a:lnSpc>
              <a:spcPct val="90000"/>
            </a:lnSpc>
            <a:spcBef>
              <a:spcPct val="0"/>
            </a:spcBef>
            <a:spcAft>
              <a:spcPct val="15000"/>
            </a:spcAft>
            <a:buChar char="••"/>
          </a:pPr>
          <a:r>
            <a:rPr lang="en-GB" sz="1200" kern="1200" dirty="0"/>
            <a:t>Older than 18 years</a:t>
          </a:r>
          <a:endParaRPr lang="en-US" sz="1200" kern="1200" dirty="0"/>
        </a:p>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endParaRPr lang="en-US" sz="1200" kern="1200" dirty="0"/>
        </a:p>
        <a:p>
          <a:pPr marL="114300" lvl="1" indent="-114300" algn="l" defTabSz="533400">
            <a:lnSpc>
              <a:spcPct val="90000"/>
            </a:lnSpc>
            <a:spcBef>
              <a:spcPct val="0"/>
            </a:spcBef>
            <a:spcAft>
              <a:spcPct val="15000"/>
            </a:spcAft>
            <a:buChar char="••"/>
          </a:pPr>
          <a:r>
            <a:rPr lang="en-GB" sz="1200" b="1" kern="1200" dirty="0">
              <a:solidFill>
                <a:schemeClr val="tx1"/>
              </a:solidFill>
            </a:rPr>
            <a:t>Estimated target :</a:t>
          </a:r>
        </a:p>
        <a:p>
          <a:pPr marL="228600" lvl="2" indent="-114300" algn="l" defTabSz="533400">
            <a:lnSpc>
              <a:spcPct val="90000"/>
            </a:lnSpc>
            <a:spcBef>
              <a:spcPct val="0"/>
            </a:spcBef>
            <a:spcAft>
              <a:spcPct val="15000"/>
            </a:spcAft>
            <a:buChar char="••"/>
          </a:pPr>
          <a:r>
            <a:rPr lang="en-GB" sz="1200" b="1" kern="1200" dirty="0">
              <a:solidFill>
                <a:schemeClr val="tx1"/>
              </a:solidFill>
            </a:rPr>
            <a:t> 2,9m</a:t>
          </a:r>
        </a:p>
      </dsp:txBody>
      <dsp:txXfrm>
        <a:off x="5008314" y="1393660"/>
        <a:ext cx="3127960" cy="2502368"/>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A835ECE-259B-4B5F-8F11-83ACEBEFC979}">
      <dsp:nvSpPr>
        <dsp:cNvPr id="0" name=""/>
        <dsp:cNvSpPr/>
      </dsp:nvSpPr>
      <dsp:spPr>
        <a:xfrm>
          <a:off x="653561" y="1767028"/>
          <a:ext cx="428010" cy="815568"/>
        </a:xfrm>
        <a:custGeom>
          <a:avLst/>
          <a:gdLst/>
          <a:ahLst/>
          <a:cxnLst/>
          <a:rect l="0" t="0" r="0" b="0"/>
          <a:pathLst>
            <a:path>
              <a:moveTo>
                <a:pt x="0" y="0"/>
              </a:moveTo>
              <a:lnTo>
                <a:pt x="214005" y="0"/>
              </a:lnTo>
              <a:lnTo>
                <a:pt x="214005" y="815568"/>
              </a:lnTo>
              <a:lnTo>
                <a:pt x="428010" y="815568"/>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p>
      </dsp:txBody>
      <dsp:txXfrm>
        <a:off x="844539" y="2151786"/>
        <a:ext cx="46052" cy="46052"/>
      </dsp:txXfrm>
    </dsp:sp>
    <dsp:sp modelId="{62BCE308-9835-4EB5-8BE2-CEB4EDE27796}">
      <dsp:nvSpPr>
        <dsp:cNvPr id="0" name=""/>
        <dsp:cNvSpPr/>
      </dsp:nvSpPr>
      <dsp:spPr>
        <a:xfrm>
          <a:off x="653561" y="1721308"/>
          <a:ext cx="428010" cy="91440"/>
        </a:xfrm>
        <a:custGeom>
          <a:avLst/>
          <a:gdLst/>
          <a:ahLst/>
          <a:cxnLst/>
          <a:rect l="0" t="0" r="0" b="0"/>
          <a:pathLst>
            <a:path>
              <a:moveTo>
                <a:pt x="0" y="45720"/>
              </a:moveTo>
              <a:lnTo>
                <a:pt x="428010" y="45720"/>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p>
      </dsp:txBody>
      <dsp:txXfrm>
        <a:off x="856866" y="1756328"/>
        <a:ext cx="21400" cy="21400"/>
      </dsp:txXfrm>
    </dsp:sp>
    <dsp:sp modelId="{62877BF6-B58C-44C2-BE52-0CBCDF16E3C5}">
      <dsp:nvSpPr>
        <dsp:cNvPr id="0" name=""/>
        <dsp:cNvSpPr/>
      </dsp:nvSpPr>
      <dsp:spPr>
        <a:xfrm>
          <a:off x="653561" y="951460"/>
          <a:ext cx="428010" cy="815568"/>
        </a:xfrm>
        <a:custGeom>
          <a:avLst/>
          <a:gdLst/>
          <a:ahLst/>
          <a:cxnLst/>
          <a:rect l="0" t="0" r="0" b="0"/>
          <a:pathLst>
            <a:path>
              <a:moveTo>
                <a:pt x="0" y="815568"/>
              </a:moveTo>
              <a:lnTo>
                <a:pt x="214005" y="815568"/>
              </a:lnTo>
              <a:lnTo>
                <a:pt x="214005" y="0"/>
              </a:lnTo>
              <a:lnTo>
                <a:pt x="428010" y="0"/>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p>
      </dsp:txBody>
      <dsp:txXfrm>
        <a:off x="844539" y="1336218"/>
        <a:ext cx="46052" cy="46052"/>
      </dsp:txXfrm>
    </dsp:sp>
    <dsp:sp modelId="{EEF89E99-82B3-40ED-8CD0-9264110A1E01}">
      <dsp:nvSpPr>
        <dsp:cNvPr id="0" name=""/>
        <dsp:cNvSpPr/>
      </dsp:nvSpPr>
      <dsp:spPr>
        <a:xfrm rot="16200000">
          <a:off x="-1246112" y="1440801"/>
          <a:ext cx="3146892" cy="652454"/>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1866900">
            <a:lnSpc>
              <a:spcPct val="90000"/>
            </a:lnSpc>
            <a:spcBef>
              <a:spcPct val="0"/>
            </a:spcBef>
            <a:spcAft>
              <a:spcPct val="35000"/>
            </a:spcAft>
          </a:pPr>
          <a:r>
            <a:rPr lang="en-ZA" sz="4200" kern="1200" dirty="0"/>
            <a:t>Phase 1</a:t>
          </a:r>
        </a:p>
      </dsp:txBody>
      <dsp:txXfrm rot="16200000">
        <a:off x="-1246112" y="1440801"/>
        <a:ext cx="3146892" cy="652454"/>
      </dsp:txXfrm>
    </dsp:sp>
    <dsp:sp modelId="{FE19F763-6465-48CC-8EF5-ED80B6EB2159}">
      <dsp:nvSpPr>
        <dsp:cNvPr id="0" name=""/>
        <dsp:cNvSpPr/>
      </dsp:nvSpPr>
      <dsp:spPr>
        <a:xfrm>
          <a:off x="1081571" y="625233"/>
          <a:ext cx="6334146" cy="652454"/>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ZA" sz="1500" kern="1200" dirty="0"/>
            <a:t>Public </a:t>
          </a:r>
          <a:r>
            <a:rPr lang="en-ZA" sz="1500" kern="1200" dirty="0" err="1"/>
            <a:t>vs</a:t>
          </a:r>
          <a:r>
            <a:rPr lang="en-ZA" sz="1500" kern="1200" dirty="0"/>
            <a:t> Private Sector </a:t>
          </a:r>
        </a:p>
        <a:p>
          <a:pPr lvl="0" algn="ctr" defTabSz="666750">
            <a:lnSpc>
              <a:spcPct val="90000"/>
            </a:lnSpc>
            <a:spcBef>
              <a:spcPct val="0"/>
            </a:spcBef>
            <a:spcAft>
              <a:spcPct val="35000"/>
            </a:spcAft>
          </a:pPr>
          <a:r>
            <a:rPr lang="en-ZA" sz="1500" kern="1200" dirty="0"/>
            <a:t>(proportion of personnel; population served)</a:t>
          </a:r>
        </a:p>
      </dsp:txBody>
      <dsp:txXfrm>
        <a:off x="1081571" y="625233"/>
        <a:ext cx="6334146" cy="652454"/>
      </dsp:txXfrm>
    </dsp:sp>
    <dsp:sp modelId="{4866693C-6DB4-4B79-8BEC-346097EF4FBD}">
      <dsp:nvSpPr>
        <dsp:cNvPr id="0" name=""/>
        <dsp:cNvSpPr/>
      </dsp:nvSpPr>
      <dsp:spPr>
        <a:xfrm>
          <a:off x="1081571" y="1440801"/>
          <a:ext cx="6305554" cy="652454"/>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ZA" sz="1500" kern="1200" dirty="0"/>
            <a:t>Pro rata allocation to demander sites (facilities)</a:t>
          </a:r>
        </a:p>
      </dsp:txBody>
      <dsp:txXfrm>
        <a:off x="1081571" y="1440801"/>
        <a:ext cx="6305554" cy="652454"/>
      </dsp:txXfrm>
    </dsp:sp>
    <dsp:sp modelId="{D448CBB5-0F9F-4778-9ED8-5FEFE8059CB7}">
      <dsp:nvSpPr>
        <dsp:cNvPr id="0" name=""/>
        <dsp:cNvSpPr/>
      </dsp:nvSpPr>
      <dsp:spPr>
        <a:xfrm>
          <a:off x="1081571" y="2256370"/>
          <a:ext cx="6334146" cy="652454"/>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ZA" sz="1500" kern="1200" dirty="0"/>
            <a:t>Within facilities: patient facing </a:t>
          </a:r>
          <a:r>
            <a:rPr lang="en-ZA" sz="1500" kern="1200" dirty="0" err="1"/>
            <a:t>vs</a:t>
          </a:r>
          <a:r>
            <a:rPr lang="en-ZA" sz="1500" kern="1200" dirty="0"/>
            <a:t> non-patient facing</a:t>
          </a:r>
        </a:p>
      </dsp:txBody>
      <dsp:txXfrm>
        <a:off x="1081571" y="2256370"/>
        <a:ext cx="6334146" cy="652454"/>
      </dsp:txXfrm>
    </dsp:sp>
  </dsp:spTree>
</dsp:drawing>
</file>

<file path=ppt/diagrams/layout1.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15786</cdr:x>
      <cdr:y>0.79477</cdr:y>
    </cdr:from>
    <cdr:to>
      <cdr:x>0.54672</cdr:x>
      <cdr:y>0.93871</cdr:y>
    </cdr:to>
    <cdr:sp macro="" textlink="">
      <cdr:nvSpPr>
        <cdr:cNvPr id="2" name="TextBox 1"/>
        <cdr:cNvSpPr txBox="1"/>
      </cdr:nvSpPr>
      <cdr:spPr>
        <a:xfrm xmlns:a="http://schemas.openxmlformats.org/drawingml/2006/main">
          <a:off x="1939939" y="6786738"/>
          <a:ext cx="4778608" cy="122913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600"/>
            <a:t>Reference = average daily</a:t>
          </a:r>
          <a:r>
            <a:rPr lang="en-GB" sz="1600" baseline="0"/>
            <a:t> consumption over past year leading up to March 2020 = 12.2 TONS/ Day</a:t>
          </a:r>
          <a:endParaRPr lang="en-GB" sz="1600"/>
        </a:p>
      </cdr:txBody>
    </cdr:sp>
  </cdr:relSizeAnchor>
</c:userShapes>
</file>

<file path=ppt/drawings/drawing2.xml><?xml version="1.0" encoding="utf-8"?>
<c:userShapes xmlns:c="http://schemas.openxmlformats.org/drawingml/2006/chart">
  <cdr:relSizeAnchor xmlns:cdr="http://schemas.openxmlformats.org/drawingml/2006/chartDrawing">
    <cdr:from>
      <cdr:x>0.66687</cdr:x>
      <cdr:y>0.12213</cdr:y>
    </cdr:from>
    <cdr:to>
      <cdr:x>1</cdr:x>
      <cdr:y>0.41783</cdr:y>
    </cdr:to>
    <cdr:sp macro="" textlink="">
      <cdr:nvSpPr>
        <cdr:cNvPr id="2" name="TextBox 1">
          <a:extLst xmlns:a="http://schemas.openxmlformats.org/drawingml/2006/main">
            <a:ext uri="{FF2B5EF4-FFF2-40B4-BE49-F238E27FC236}">
              <a16:creationId xmlns:a16="http://schemas.microsoft.com/office/drawing/2014/main" xmlns="" id="{D2E822DB-C97B-4A3C-93EE-CDAA47FCA70B}"/>
            </a:ext>
          </a:extLst>
        </cdr:cNvPr>
        <cdr:cNvSpPr txBox="1"/>
      </cdr:nvSpPr>
      <cdr:spPr>
        <a:xfrm xmlns:a="http://schemas.openxmlformats.org/drawingml/2006/main">
          <a:off x="7231342" y="361663"/>
          <a:ext cx="3612364" cy="87562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000" b="1" dirty="0">
              <a:latin typeface="Century Gothic" panose="020B0502020202020204" pitchFamily="34" charset="0"/>
            </a:rPr>
            <a:t>Up</a:t>
          </a:r>
          <a:r>
            <a:rPr lang="en-US" sz="1000" b="1" baseline="0" dirty="0">
              <a:latin typeface="Century Gothic" panose="020B0502020202020204" pitchFamily="34" charset="0"/>
            </a:rPr>
            <a:t> until 21 December 2020, a total of 438 applications were registered on the Recruitment Drive. The day-on-day registrations are depicted on the embedded line graph bringing the total as at 1 February 2021 to 665 applicants. </a:t>
          </a:r>
        </a:p>
        <a:p xmlns:a="http://schemas.openxmlformats.org/drawingml/2006/main">
          <a:endParaRPr lang="en-US" sz="1000" baseline="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2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1800" cy="493713"/>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5" y="0"/>
            <a:ext cx="2971800" cy="493713"/>
          </a:xfrm>
          <a:prstGeom prst="rect">
            <a:avLst/>
          </a:prstGeom>
        </p:spPr>
        <p:txBody>
          <a:bodyPr vert="horz" lIns="91440" tIns="45720" rIns="91440" bIns="45720" rtlCol="0"/>
          <a:lstStyle>
            <a:lvl1pPr algn="r">
              <a:defRPr sz="1200"/>
            </a:lvl1pPr>
          </a:lstStyle>
          <a:p>
            <a:fld id="{8BC7F027-379E-4D32-9199-1B8938F68AAE}" type="datetimeFigureOut">
              <a:rPr lang="en-GB" smtClean="0"/>
              <a:pPr/>
              <a:t>03/02/2021</a:t>
            </a:fld>
            <a:endParaRPr lang="en-GB" dirty="0"/>
          </a:p>
        </p:txBody>
      </p:sp>
      <p:sp>
        <p:nvSpPr>
          <p:cNvPr id="4" name="Footer Placeholder 3"/>
          <p:cNvSpPr>
            <a:spLocks noGrp="1"/>
          </p:cNvSpPr>
          <p:nvPr>
            <p:ph type="ftr" sz="quarter" idx="2"/>
          </p:nvPr>
        </p:nvSpPr>
        <p:spPr>
          <a:xfrm>
            <a:off x="1" y="9378823"/>
            <a:ext cx="2971800" cy="493713"/>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5" y="9378823"/>
            <a:ext cx="2971800" cy="493713"/>
          </a:xfrm>
          <a:prstGeom prst="rect">
            <a:avLst/>
          </a:prstGeom>
        </p:spPr>
        <p:txBody>
          <a:bodyPr vert="horz" lIns="91440" tIns="45720" rIns="91440" bIns="45720" rtlCol="0" anchor="b"/>
          <a:lstStyle>
            <a:lvl1pPr algn="r">
              <a:defRPr sz="1200"/>
            </a:lvl1pPr>
          </a:lstStyle>
          <a:p>
            <a:fld id="{9CB3FB82-2445-4031-8D77-475052559E55}" type="slidenum">
              <a:rPr lang="en-GB" smtClean="0"/>
              <a:pPr/>
              <a:t>‹#›</a:t>
            </a:fld>
            <a:endParaRPr lang="en-GB" dirty="0"/>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1800" cy="493713"/>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84615" y="0"/>
            <a:ext cx="2971800" cy="493713"/>
          </a:xfrm>
          <a:prstGeom prst="rect">
            <a:avLst/>
          </a:prstGeom>
        </p:spPr>
        <p:txBody>
          <a:bodyPr vert="horz" lIns="91440" tIns="45720" rIns="91440" bIns="45720" rtlCol="0"/>
          <a:lstStyle>
            <a:lvl1pPr algn="r">
              <a:defRPr sz="1200"/>
            </a:lvl1pPr>
          </a:lstStyle>
          <a:p>
            <a:fld id="{0B7E7989-31F3-4EB9-8547-909D99F43AE5}" type="datetimeFigureOut">
              <a:rPr lang="en-ZA" smtClean="0"/>
              <a:pPr/>
              <a:t>2021/02/03</a:t>
            </a:fld>
            <a:endParaRPr lang="en-ZA" dirty="0"/>
          </a:p>
        </p:txBody>
      </p:sp>
      <p:sp>
        <p:nvSpPr>
          <p:cNvPr id="4" name="Slide Image Placeholder 3"/>
          <p:cNvSpPr>
            <a:spLocks noGrp="1" noRot="1" noChangeAspect="1"/>
          </p:cNvSpPr>
          <p:nvPr>
            <p:ph type="sldImg" idx="2"/>
          </p:nvPr>
        </p:nvSpPr>
        <p:spPr>
          <a:xfrm>
            <a:off x="960438" y="741363"/>
            <a:ext cx="4937125" cy="3702050"/>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85801" y="4690269"/>
            <a:ext cx="5486400" cy="444341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378823"/>
            <a:ext cx="2971800" cy="493713"/>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84615" y="9378823"/>
            <a:ext cx="2971800" cy="493713"/>
          </a:xfrm>
          <a:prstGeom prst="rect">
            <a:avLst/>
          </a:prstGeom>
        </p:spPr>
        <p:txBody>
          <a:bodyPr vert="horz" lIns="91440" tIns="45720" rIns="91440" bIns="45720" rtlCol="0" anchor="b"/>
          <a:lstStyle>
            <a:lvl1pPr algn="r">
              <a:defRPr sz="1200"/>
            </a:lvl1pPr>
          </a:lstStyle>
          <a:p>
            <a:fld id="{05E2897E-B052-44CE-92A6-D4B2AB10F3F6}" type="slidenum">
              <a:rPr lang="en-ZA" smtClean="0"/>
              <a:pPr/>
              <a:t>‹#›</a:t>
            </a:fld>
            <a:endParaRPr lang="en-ZA" dirty="0"/>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E2897E-B052-44CE-92A6-D4B2AB10F3F6}"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xmlns="" val="131408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A1D994-7E51-44C9-9E90-4030A13D82E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xmlns="" val="3146614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E2897E-B052-44CE-92A6-D4B2AB10F3F6}"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xmlns="" val="37921733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795 </a:t>
            </a:r>
            <a:r>
              <a:rPr lang="en-US" dirty="0"/>
              <a:t>beds are included in the IC and Acute care </a:t>
            </a:r>
            <a:r>
              <a:rPr lang="en-US"/>
              <a:t>bed number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AF98F-2F33-4C62-AD3D-4006E07D21AA}" type="slidenum">
              <a:rPr kumimoji="0" lang="en-ZA"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ZA"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997143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795 </a:t>
            </a:r>
            <a:r>
              <a:rPr lang="en-US" dirty="0"/>
              <a:t>beds are included in the IC and Acute care </a:t>
            </a:r>
            <a:r>
              <a:rPr lang="en-US"/>
              <a:t>bed number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AF98F-2F33-4C62-AD3D-4006E07D21AA}" type="slidenum">
              <a:rPr kumimoji="0" lang="en-ZA"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ZA"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807269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Text"/>
          <p:cNvSpPr>
            <a:spLocks noGrp="1"/>
          </p:cNvSpPr>
          <p:nvPr>
            <p:ph type="body" idx="1"/>
          </p:nvPr>
        </p:nvSpPr>
        <p:spPr/>
        <p:txBody>
          <a:bodyPr/>
          <a:lstStyle/>
          <a:p>
            <a:r>
              <a:rPr b="1" dirty="0"/>
              <a:t>textbox</a:t>
            </a:r>
            <a:endParaRPr dirty="0"/>
          </a:p>
          <a:p>
            <a:r>
              <a:rPr b="0" dirty="0"/>
              <a:t>No alt text provided.</a:t>
            </a:r>
            <a:endParaRPr dirty="0"/>
          </a:p>
          <a:p>
            <a:endParaRPr dirty="0"/>
          </a:p>
          <a:p>
            <a:r>
              <a:rPr b="1" dirty="0"/>
              <a:t>textbox</a:t>
            </a:r>
            <a:endParaRPr dirty="0"/>
          </a:p>
          <a:p>
            <a:r>
              <a:rPr b="0" dirty="0"/>
              <a:t>No alt text provided.</a:t>
            </a:r>
            <a:endParaRPr dirty="0"/>
          </a:p>
          <a:p>
            <a:endParaRPr dirty="0"/>
          </a:p>
          <a:p>
            <a:r>
              <a:rPr b="1" dirty="0"/>
              <a:t>textbox</a:t>
            </a:r>
            <a:endParaRPr dirty="0"/>
          </a:p>
          <a:p>
            <a:r>
              <a:rPr b="0" dirty="0"/>
              <a:t>No alt text provided.</a:t>
            </a:r>
            <a:endParaRPr dirty="0"/>
          </a:p>
          <a:p>
            <a:endParaRPr dirty="0"/>
          </a:p>
          <a:p>
            <a:r>
              <a:rPr b="1" dirty="0"/>
              <a:t>image</a:t>
            </a:r>
            <a:endParaRPr dirty="0"/>
          </a:p>
          <a:p>
            <a:r>
              <a:rPr b="0" dirty="0"/>
              <a:t>No alt text provided.</a:t>
            </a:r>
            <a:endParaRPr dirty="0"/>
          </a:p>
          <a:p>
            <a:endParaRPr dirty="0"/>
          </a:p>
          <a:p>
            <a:r>
              <a:rPr b="1" dirty="0"/>
              <a:t>Daily Staff Infection Trends</a:t>
            </a:r>
            <a:endParaRPr dirty="0"/>
          </a:p>
          <a:p>
            <a:r>
              <a:rPr b="0" dirty="0"/>
              <a:t>No alt text provided.</a:t>
            </a:r>
            <a:endParaRPr dirty="0"/>
          </a:p>
          <a:p>
            <a:endParaRPr dirty="0"/>
          </a:p>
          <a:p>
            <a:r>
              <a:rPr b="1" dirty="0"/>
              <a:t>Doctors</a:t>
            </a:r>
            <a:endParaRPr dirty="0"/>
          </a:p>
          <a:p>
            <a:r>
              <a:rPr b="0" dirty="0"/>
              <a:t>No alt text provided.</a:t>
            </a:r>
            <a:endParaRPr dirty="0"/>
          </a:p>
          <a:p>
            <a:endParaRPr dirty="0"/>
          </a:p>
          <a:p>
            <a:r>
              <a:rPr b="1" dirty="0"/>
              <a:t>Nurses</a:t>
            </a:r>
            <a:endParaRPr dirty="0"/>
          </a:p>
          <a:p>
            <a:r>
              <a:rPr b="0" dirty="0"/>
              <a:t>No alt text provided.</a:t>
            </a:r>
            <a:endParaRPr dirty="0"/>
          </a:p>
          <a:p>
            <a:endParaRPr dirty="0"/>
          </a:p>
          <a:p>
            <a:r>
              <a:rPr b="1" dirty="0"/>
              <a:t>card</a:t>
            </a:r>
            <a:endParaRPr dirty="0"/>
          </a:p>
          <a:p>
            <a:r>
              <a:rPr b="0" dirty="0"/>
              <a:t>No alt text provided.</a:t>
            </a:r>
            <a:endParaRPr dirty="0"/>
          </a:p>
          <a:p>
            <a:endParaRPr dirty="0"/>
          </a:p>
          <a:p>
            <a:r>
              <a:rPr b="1" dirty="0"/>
              <a:t>card</a:t>
            </a:r>
            <a:endParaRPr dirty="0"/>
          </a:p>
          <a:p>
            <a:r>
              <a:rPr b="0" dirty="0"/>
              <a:t>No alt text provided.</a:t>
            </a:r>
            <a:endParaRPr dirty="0"/>
          </a:p>
          <a:p>
            <a:endParaRPr dirty="0"/>
          </a:p>
          <a:p>
            <a:r>
              <a:rPr b="1" dirty="0"/>
              <a:t>card</a:t>
            </a:r>
            <a:endParaRPr dirty="0"/>
          </a:p>
          <a:p>
            <a:r>
              <a:rPr b="0" dirty="0"/>
              <a:t>No alt text provided.</a:t>
            </a:r>
            <a:endParaRPr dirty="0"/>
          </a:p>
          <a:p>
            <a:endParaRPr dirty="0"/>
          </a:p>
          <a:p>
            <a:r>
              <a:rPr b="1" dirty="0"/>
              <a:t>Cumulative Infections</a:t>
            </a:r>
            <a:endParaRPr dirty="0"/>
          </a:p>
          <a:p>
            <a:r>
              <a:rPr b="0" dirty="0"/>
              <a:t>No alt text provided.</a:t>
            </a:r>
            <a:endParaRPr dirty="0"/>
          </a:p>
          <a:p>
            <a:endParaRPr dirty="0"/>
          </a:p>
          <a:p>
            <a:r>
              <a:rPr b="1" dirty="0"/>
              <a:t>Pharmacists</a:t>
            </a:r>
            <a:endParaRPr dirty="0"/>
          </a:p>
          <a:p>
            <a:r>
              <a:rPr b="0" dirty="0"/>
              <a:t>No alt text provided.</a:t>
            </a:r>
            <a:endParaRPr dirty="0"/>
          </a:p>
          <a:p>
            <a:endParaRPr dirty="0"/>
          </a:p>
          <a:p>
            <a:r>
              <a:rPr b="1" dirty="0"/>
              <a:t>card</a:t>
            </a:r>
            <a:endParaRPr dirty="0"/>
          </a:p>
          <a:p>
            <a:r>
              <a:rPr b="0" dirty="0"/>
              <a:t>No alt text provided.</a:t>
            </a:r>
            <a:endParaRPr dirty="0"/>
          </a:p>
          <a:p>
            <a:endParaRPr dirty="0"/>
          </a:p>
          <a:p>
            <a:r>
              <a:rPr b="1" dirty="0"/>
              <a:t>Other Categories</a:t>
            </a:r>
            <a:endParaRPr dirty="0"/>
          </a:p>
          <a:p>
            <a:r>
              <a:rPr b="0" dirty="0"/>
              <a:t>No alt text provided.</a:t>
            </a:r>
            <a:endParaRPr dirty="0"/>
          </a:p>
          <a:p>
            <a:endParaRPr dirty="0"/>
          </a:p>
          <a:p>
            <a:r>
              <a:rPr b="1" dirty="0"/>
              <a:t>card</a:t>
            </a:r>
            <a:endParaRPr dirty="0"/>
          </a:p>
          <a:p>
            <a:r>
              <a:rPr b="0" dirty="0"/>
              <a:t>No alt text provided.</a:t>
            </a:r>
            <a:endParaRPr dirty="0"/>
          </a:p>
          <a:p>
            <a:endParaRPr dirty="0"/>
          </a:p>
          <a:p>
            <a:r>
              <a:rPr b="1" dirty="0"/>
              <a:t>image</a:t>
            </a:r>
            <a:endParaRPr dirty="0"/>
          </a:p>
          <a:p>
            <a:r>
              <a:rPr b="0" dirty="0"/>
              <a:t>No alt text provided.</a:t>
            </a:r>
            <a:endParaRPr dirty="0"/>
          </a:p>
          <a:p>
            <a:endParaRPr dirty="0"/>
          </a:p>
          <a:p>
            <a:r>
              <a:rPr b="1" dirty="0"/>
              <a:t>card</a:t>
            </a:r>
            <a:endParaRPr dirty="0"/>
          </a:p>
          <a:p>
            <a:r>
              <a:rPr b="0" dirty="0"/>
              <a:t>No alt text provided.</a:t>
            </a:r>
            <a:endParaRPr dirty="0"/>
          </a:p>
          <a:p>
            <a:endParaRPr dirty="0"/>
          </a:p>
          <a:p>
            <a:r>
              <a:rPr b="1" dirty="0"/>
              <a:t>image</a:t>
            </a:r>
            <a:endParaRPr dirty="0"/>
          </a:p>
          <a:p>
            <a:r>
              <a:rPr b="0" dirty="0"/>
              <a:t>No alt text provided.</a:t>
            </a:r>
            <a:endParaRPr dirty="0"/>
          </a:p>
          <a:p>
            <a:endParaRPr dirty="0"/>
          </a:p>
          <a:p>
            <a:r>
              <a:rPr b="1" dirty="0"/>
              <a:t>card</a:t>
            </a:r>
            <a:endParaRPr dirty="0"/>
          </a:p>
          <a:p>
            <a:r>
              <a:rPr b="0" dirty="0"/>
              <a:t>No alt text provided.</a:t>
            </a:r>
            <a:endParaRPr dirty="0"/>
          </a:p>
          <a:p>
            <a:endParaRPr dirty="0"/>
          </a:p>
          <a:p>
            <a:r>
              <a:rPr b="1" dirty="0"/>
              <a:t>card</a:t>
            </a:r>
            <a:endParaRPr dirty="0"/>
          </a:p>
          <a:p>
            <a:r>
              <a:rPr b="0" dirty="0"/>
              <a:t>No alt text provided.</a:t>
            </a:r>
            <a:endParaRPr dirty="0"/>
          </a:p>
          <a:p>
            <a:endParaRPr dirty="0"/>
          </a:p>
          <a:p>
            <a:r>
              <a:rPr b="1" dirty="0"/>
              <a:t>Radiographers</a:t>
            </a:r>
            <a:endParaRPr dirty="0"/>
          </a:p>
          <a:p>
            <a:r>
              <a:rPr b="0" dirty="0"/>
              <a:t>No alt text provided.</a:t>
            </a:r>
            <a:endParaRPr dirty="0"/>
          </a:p>
          <a:p>
            <a:endParaRPr dirty="0"/>
          </a:p>
          <a:p>
            <a:r>
              <a:rPr b="1" dirty="0"/>
              <a:t>textbox</a:t>
            </a:r>
            <a:endParaRPr dirty="0"/>
          </a:p>
          <a:p>
            <a:r>
              <a:rPr b="0" dirty="0"/>
              <a:t>No alt text provided.</a:t>
            </a:r>
            <a:endParaRPr dirty="0"/>
          </a:p>
          <a:p>
            <a:endParaRPr dirty="0"/>
          </a:p>
          <a:p>
            <a:r>
              <a:rPr b="1" dirty="0"/>
              <a:t>Active Cases</a:t>
            </a:r>
            <a:endParaRPr dirty="0"/>
          </a:p>
          <a:p>
            <a:r>
              <a:rPr b="0" dirty="0"/>
              <a:t>No alt text provided.</a:t>
            </a:r>
            <a:endParaRPr dirty="0"/>
          </a:p>
          <a:p>
            <a:endParaRPr dirty="0"/>
          </a:p>
        </p:txBody>
      </p:sp>
    </p:spTree>
    <p:extLst>
      <p:ext uri="{BB962C8B-B14F-4D97-AF65-F5344CB8AC3E}">
        <p14:creationId xmlns:p14="http://schemas.microsoft.com/office/powerpoint/2010/main" xmlns="" val="20517345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Text"/>
          <p:cNvSpPr>
            <a:spLocks noGrp="1"/>
          </p:cNvSpPr>
          <p:nvPr>
            <p:ph type="body" idx="1"/>
          </p:nvPr>
        </p:nvSpPr>
        <p:spPr/>
        <p:txBody>
          <a:bodyPr/>
          <a:lstStyle/>
          <a:p>
            <a:r>
              <a:rPr b="1" dirty="0"/>
              <a:t>image</a:t>
            </a:r>
            <a:endParaRPr dirty="0"/>
          </a:p>
          <a:p>
            <a:r>
              <a:rPr b="0" dirty="0"/>
              <a:t>No alt text provided.</a:t>
            </a:r>
            <a:endParaRPr dirty="0"/>
          </a:p>
          <a:p>
            <a:endParaRPr dirty="0"/>
          </a:p>
          <a:p>
            <a:r>
              <a:rPr b="1" dirty="0"/>
              <a:t>textbox</a:t>
            </a:r>
            <a:endParaRPr dirty="0"/>
          </a:p>
          <a:p>
            <a:r>
              <a:rPr b="0" dirty="0"/>
              <a:t>No alt text provided.</a:t>
            </a:r>
            <a:endParaRPr dirty="0"/>
          </a:p>
          <a:p>
            <a:endParaRPr dirty="0"/>
          </a:p>
          <a:p>
            <a:r>
              <a:rPr b="1" dirty="0"/>
              <a:t>image</a:t>
            </a:r>
            <a:endParaRPr dirty="0"/>
          </a:p>
          <a:p>
            <a:r>
              <a:rPr b="0" dirty="0"/>
              <a:t>No alt text provided.</a:t>
            </a:r>
            <a:endParaRPr dirty="0"/>
          </a:p>
          <a:p>
            <a:endParaRPr dirty="0"/>
          </a:p>
          <a:p>
            <a:r>
              <a:rPr b="1" dirty="0"/>
              <a:t>STAFF MORTALITY TRENDS DUE TO COVID-19</a:t>
            </a:r>
            <a:endParaRPr dirty="0"/>
          </a:p>
          <a:p>
            <a:r>
              <a:rPr b="0" dirty="0"/>
              <a:t>No alt text provided.</a:t>
            </a:r>
            <a:endParaRPr dirty="0"/>
          </a:p>
          <a:p>
            <a:endParaRPr dirty="0"/>
          </a:p>
          <a:p>
            <a:r>
              <a:rPr b="1" dirty="0"/>
              <a:t>Doctors</a:t>
            </a:r>
            <a:endParaRPr dirty="0"/>
          </a:p>
          <a:p>
            <a:r>
              <a:rPr b="0" dirty="0"/>
              <a:t>No alt text provided.</a:t>
            </a:r>
            <a:endParaRPr dirty="0"/>
          </a:p>
          <a:p>
            <a:endParaRPr dirty="0"/>
          </a:p>
          <a:p>
            <a:r>
              <a:rPr b="1" dirty="0"/>
              <a:t>Nurses</a:t>
            </a:r>
            <a:endParaRPr dirty="0"/>
          </a:p>
          <a:p>
            <a:r>
              <a:rPr b="0" dirty="0"/>
              <a:t>No alt text provided.</a:t>
            </a:r>
            <a:endParaRPr dirty="0"/>
          </a:p>
          <a:p>
            <a:endParaRPr dirty="0"/>
          </a:p>
          <a:p>
            <a:r>
              <a:rPr b="1" dirty="0"/>
              <a:t>card</a:t>
            </a:r>
            <a:endParaRPr dirty="0"/>
          </a:p>
          <a:p>
            <a:r>
              <a:rPr b="0" dirty="0"/>
              <a:t>No alt text provided.</a:t>
            </a:r>
            <a:endParaRPr dirty="0"/>
          </a:p>
          <a:p>
            <a:endParaRPr dirty="0"/>
          </a:p>
          <a:p>
            <a:r>
              <a:rPr b="1" dirty="0"/>
              <a:t>card</a:t>
            </a:r>
            <a:endParaRPr dirty="0"/>
          </a:p>
          <a:p>
            <a:r>
              <a:rPr b="0" dirty="0"/>
              <a:t>No alt text provided.</a:t>
            </a:r>
            <a:endParaRPr dirty="0"/>
          </a:p>
          <a:p>
            <a:endParaRPr dirty="0"/>
          </a:p>
          <a:p>
            <a:r>
              <a:rPr b="1" dirty="0"/>
              <a:t>card</a:t>
            </a:r>
            <a:endParaRPr dirty="0"/>
          </a:p>
          <a:p>
            <a:r>
              <a:rPr b="0" dirty="0"/>
              <a:t>No alt text provided.</a:t>
            </a:r>
            <a:endParaRPr dirty="0"/>
          </a:p>
          <a:p>
            <a:endParaRPr dirty="0"/>
          </a:p>
          <a:p>
            <a:r>
              <a:rPr b="1" dirty="0"/>
              <a:t>Pharmacists</a:t>
            </a:r>
            <a:endParaRPr dirty="0"/>
          </a:p>
          <a:p>
            <a:r>
              <a:rPr b="0" dirty="0"/>
              <a:t>No alt text provided.</a:t>
            </a:r>
            <a:endParaRPr dirty="0"/>
          </a:p>
          <a:p>
            <a:endParaRPr dirty="0"/>
          </a:p>
          <a:p>
            <a:r>
              <a:rPr b="1" dirty="0"/>
              <a:t>card</a:t>
            </a:r>
            <a:endParaRPr dirty="0"/>
          </a:p>
          <a:p>
            <a:r>
              <a:rPr b="0" dirty="0"/>
              <a:t>No alt text provided.</a:t>
            </a:r>
            <a:endParaRPr dirty="0"/>
          </a:p>
          <a:p>
            <a:endParaRPr dirty="0"/>
          </a:p>
          <a:p>
            <a:r>
              <a:rPr b="1" dirty="0"/>
              <a:t>Other Categories</a:t>
            </a:r>
            <a:endParaRPr dirty="0"/>
          </a:p>
          <a:p>
            <a:r>
              <a:rPr b="0" dirty="0"/>
              <a:t>No alt text provided.</a:t>
            </a:r>
            <a:endParaRPr dirty="0"/>
          </a:p>
          <a:p>
            <a:endParaRPr dirty="0"/>
          </a:p>
          <a:p>
            <a:r>
              <a:rPr b="1" dirty="0"/>
              <a:t>card</a:t>
            </a:r>
            <a:endParaRPr dirty="0"/>
          </a:p>
          <a:p>
            <a:r>
              <a:rPr b="0" dirty="0"/>
              <a:t>No alt text provided.</a:t>
            </a:r>
            <a:endParaRPr dirty="0"/>
          </a:p>
          <a:p>
            <a:endParaRPr dirty="0"/>
          </a:p>
          <a:p>
            <a:r>
              <a:rPr b="1" dirty="0"/>
              <a:t>image</a:t>
            </a:r>
            <a:endParaRPr dirty="0"/>
          </a:p>
          <a:p>
            <a:r>
              <a:rPr b="0" dirty="0"/>
              <a:t>No alt text provided.</a:t>
            </a:r>
            <a:endParaRPr dirty="0"/>
          </a:p>
          <a:p>
            <a:endParaRPr dirty="0"/>
          </a:p>
          <a:p>
            <a:r>
              <a:rPr b="1" dirty="0"/>
              <a:t>card</a:t>
            </a:r>
            <a:endParaRPr dirty="0"/>
          </a:p>
          <a:p>
            <a:r>
              <a:rPr b="0" dirty="0"/>
              <a:t>No alt text provided.</a:t>
            </a:r>
            <a:endParaRPr dirty="0"/>
          </a:p>
          <a:p>
            <a:endParaRPr dirty="0"/>
          </a:p>
          <a:p>
            <a:r>
              <a:rPr b="1" dirty="0"/>
              <a:t>card</a:t>
            </a:r>
            <a:endParaRPr dirty="0"/>
          </a:p>
          <a:p>
            <a:r>
              <a:rPr b="0" dirty="0"/>
              <a:t>No alt text provided.</a:t>
            </a:r>
            <a:endParaRPr dirty="0"/>
          </a:p>
          <a:p>
            <a:endParaRPr dirty="0"/>
          </a:p>
          <a:p>
            <a:r>
              <a:rPr b="1" dirty="0"/>
              <a:t>Radiographers</a:t>
            </a:r>
            <a:endParaRPr dirty="0"/>
          </a:p>
          <a:p>
            <a:r>
              <a:rPr b="0" dirty="0"/>
              <a:t>No alt text provided.</a:t>
            </a:r>
            <a:endParaRPr dirty="0"/>
          </a:p>
          <a:p>
            <a:endParaRPr dirty="0"/>
          </a:p>
          <a:p>
            <a:r>
              <a:rPr b="1" dirty="0"/>
              <a:t>textbox</a:t>
            </a:r>
            <a:endParaRPr dirty="0"/>
          </a:p>
          <a:p>
            <a:r>
              <a:rPr b="0" dirty="0"/>
              <a:t>No alt text provided.</a:t>
            </a:r>
            <a:endParaRPr dirty="0"/>
          </a:p>
          <a:p>
            <a:endParaRPr dirty="0"/>
          </a:p>
        </p:txBody>
      </p:sp>
    </p:spTree>
    <p:extLst>
      <p:ext uri="{BB962C8B-B14F-4D97-AF65-F5344CB8AC3E}">
        <p14:creationId xmlns:p14="http://schemas.microsoft.com/office/powerpoint/2010/main" xmlns="" val="2329944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The number of reserved posts on PERSAL indicates 516 which included funded posts in the Rural that was not reserved with a warm body. A meeting has been convened with Izak Wessels from CD: Rural to clarify the post situation. Therefore, a total 195 posts were removed from reserved posts numbers until clarity is obtain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E2897E-B052-44CE-92A6-D4B2AB10F3F6}"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Z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xmlns="" val="3697910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1280160" rtl="0" eaLnBrk="1" fontAlgn="auto" latinLnBrk="0" hangingPunct="1">
              <a:lnSpc>
                <a:spcPct val="100000"/>
              </a:lnSpc>
              <a:spcBef>
                <a:spcPts val="0"/>
              </a:spcBef>
              <a:spcAft>
                <a:spcPts val="0"/>
              </a:spcAft>
              <a:buClrTx/>
              <a:buSzTx/>
              <a:buFontTx/>
              <a:buNone/>
              <a:tabLst/>
              <a:defRPr/>
            </a:pPr>
            <a:fld id="{05E2897E-B052-44CE-92A6-D4B2AB10F3F6}"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80160" rtl="0" eaLnBrk="1" fontAlgn="auto" latinLnBrk="0" hangingPunct="1">
                <a:lnSpc>
                  <a:spcPct val="100000"/>
                </a:lnSpc>
                <a:spcBef>
                  <a:spcPts val="0"/>
                </a:spcBef>
                <a:spcAft>
                  <a:spcPts val="0"/>
                </a:spcAft>
                <a:buClrTx/>
                <a:buSzTx/>
                <a:buFontTx/>
                <a:buNone/>
                <a:tabLst/>
                <a:defRPr/>
              </a:pPr>
              <a:t>57</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xmlns="" val="4050753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0.xml"/><Relationship Id="rId1" Type="http://schemas.openxmlformats.org/officeDocument/2006/relationships/tags" Target="../tags/tag189.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2.xml"/><Relationship Id="rId1" Type="http://schemas.openxmlformats.org/officeDocument/2006/relationships/tags" Target="../tags/tag191.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4.xml"/><Relationship Id="rId1" Type="http://schemas.openxmlformats.org/officeDocument/2006/relationships/tags" Target="../tags/tag193.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6.xml"/><Relationship Id="rId1" Type="http://schemas.openxmlformats.org/officeDocument/2006/relationships/tags" Target="../tags/tag195.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8.xml"/><Relationship Id="rId1" Type="http://schemas.openxmlformats.org/officeDocument/2006/relationships/tags" Target="../tags/tag197.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0.xml"/><Relationship Id="rId1" Type="http://schemas.openxmlformats.org/officeDocument/2006/relationships/tags" Target="../tags/tag199.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2.xml"/><Relationship Id="rId1" Type="http://schemas.openxmlformats.org/officeDocument/2006/relationships/tags" Target="../tags/tag201.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4.xml"/><Relationship Id="rId1" Type="http://schemas.openxmlformats.org/officeDocument/2006/relationships/tags" Target="../tags/tag203.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6.xml"/><Relationship Id="rId1" Type="http://schemas.openxmlformats.org/officeDocument/2006/relationships/tags" Target="../tags/tag205.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8.xml"/><Relationship Id="rId1" Type="http://schemas.openxmlformats.org/officeDocument/2006/relationships/tags" Target="../tags/tag207.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0.xml"/><Relationship Id="rId1" Type="http://schemas.openxmlformats.org/officeDocument/2006/relationships/tags" Target="../tags/tag209.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2.xml"/><Relationship Id="rId1" Type="http://schemas.openxmlformats.org/officeDocument/2006/relationships/tags" Target="../tags/tag211.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4.xml"/><Relationship Id="rId1" Type="http://schemas.openxmlformats.org/officeDocument/2006/relationships/tags" Target="../tags/tag213.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6.xml"/><Relationship Id="rId1" Type="http://schemas.openxmlformats.org/officeDocument/2006/relationships/tags" Target="../tags/tag215.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8.xml"/><Relationship Id="rId1" Type="http://schemas.openxmlformats.org/officeDocument/2006/relationships/tags" Target="../tags/tag217.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0.xml"/><Relationship Id="rId1" Type="http://schemas.openxmlformats.org/officeDocument/2006/relationships/tags" Target="../tags/tag219.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2.xml"/><Relationship Id="rId1" Type="http://schemas.openxmlformats.org/officeDocument/2006/relationships/tags" Target="../tags/tag221.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4.xml"/><Relationship Id="rId1" Type="http://schemas.openxmlformats.org/officeDocument/2006/relationships/tags" Target="../tags/tag223.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6.xml"/><Relationship Id="rId1" Type="http://schemas.openxmlformats.org/officeDocument/2006/relationships/tags" Target="../tags/tag22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3.xml"/><Relationship Id="rId1" Type="http://schemas.openxmlformats.org/officeDocument/2006/relationships/tags" Target="../tags/tag232.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5.xml"/><Relationship Id="rId1" Type="http://schemas.openxmlformats.org/officeDocument/2006/relationships/tags" Target="../tags/tag234.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7.xml"/><Relationship Id="rId1" Type="http://schemas.openxmlformats.org/officeDocument/2006/relationships/tags" Target="../tags/tag236.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9.xml"/><Relationship Id="rId1" Type="http://schemas.openxmlformats.org/officeDocument/2006/relationships/tags" Target="../tags/tag238.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1.xml"/><Relationship Id="rId1" Type="http://schemas.openxmlformats.org/officeDocument/2006/relationships/tags" Target="../tags/tag240.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3.xml"/><Relationship Id="rId1" Type="http://schemas.openxmlformats.org/officeDocument/2006/relationships/tags" Target="../tags/tag24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5.xml"/><Relationship Id="rId1" Type="http://schemas.openxmlformats.org/officeDocument/2006/relationships/tags" Target="../tags/tag244.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7.xml"/><Relationship Id="rId1" Type="http://schemas.openxmlformats.org/officeDocument/2006/relationships/tags" Target="../tags/tag246.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9.xml"/><Relationship Id="rId1" Type="http://schemas.openxmlformats.org/officeDocument/2006/relationships/tags" Target="../tags/tag248.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1.xml"/><Relationship Id="rId1" Type="http://schemas.openxmlformats.org/officeDocument/2006/relationships/tags" Target="../tags/tag250.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3.xml"/><Relationship Id="rId1" Type="http://schemas.openxmlformats.org/officeDocument/2006/relationships/tags" Target="../tags/tag252.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5.xml"/><Relationship Id="rId1" Type="http://schemas.openxmlformats.org/officeDocument/2006/relationships/tags" Target="../tags/tag25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7.xml"/><Relationship Id="rId1" Type="http://schemas.openxmlformats.org/officeDocument/2006/relationships/tags" Target="../tags/tag256.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9.xml"/><Relationship Id="rId1" Type="http://schemas.openxmlformats.org/officeDocument/2006/relationships/tags" Target="../tags/tag258.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1.xml"/><Relationship Id="rId1" Type="http://schemas.openxmlformats.org/officeDocument/2006/relationships/tags" Target="../tags/tag260.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3.xml"/><Relationship Id="rId1" Type="http://schemas.openxmlformats.org/officeDocument/2006/relationships/tags" Target="../tags/tag262.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5.xml"/><Relationship Id="rId1" Type="http://schemas.openxmlformats.org/officeDocument/2006/relationships/tags" Target="../tags/tag264.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7.xml"/><Relationship Id="rId1" Type="http://schemas.openxmlformats.org/officeDocument/2006/relationships/tags" Target="../tags/tag266.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9.xml"/><Relationship Id="rId1" Type="http://schemas.openxmlformats.org/officeDocument/2006/relationships/tags" Target="../tags/tag26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1.xml"/><Relationship Id="rId1" Type="http://schemas.openxmlformats.org/officeDocument/2006/relationships/tags" Target="../tags/tag270.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6.xml"/><Relationship Id="rId1" Type="http://schemas.openxmlformats.org/officeDocument/2006/relationships/tags" Target="../tags/tag275.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8.xml"/><Relationship Id="rId1" Type="http://schemas.openxmlformats.org/officeDocument/2006/relationships/tags" Target="../tags/tag27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0.xml"/><Relationship Id="rId1" Type="http://schemas.openxmlformats.org/officeDocument/2006/relationships/tags" Target="../tags/tag279.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2.xml"/><Relationship Id="rId1" Type="http://schemas.openxmlformats.org/officeDocument/2006/relationships/tags" Target="../tags/tag281.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4.xml"/><Relationship Id="rId1" Type="http://schemas.openxmlformats.org/officeDocument/2006/relationships/tags" Target="../tags/tag283.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6.xml"/><Relationship Id="rId1" Type="http://schemas.openxmlformats.org/officeDocument/2006/relationships/tags" Target="../tags/tag285.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8.xml"/><Relationship Id="rId1" Type="http://schemas.openxmlformats.org/officeDocument/2006/relationships/tags" Target="../tags/tag287.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0.xml"/><Relationship Id="rId1" Type="http://schemas.openxmlformats.org/officeDocument/2006/relationships/tags" Target="../tags/tag289.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2.xml"/><Relationship Id="rId1" Type="http://schemas.openxmlformats.org/officeDocument/2006/relationships/tags" Target="../tags/tag291.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4.xml"/><Relationship Id="rId1" Type="http://schemas.openxmlformats.org/officeDocument/2006/relationships/tags" Target="../tags/tag293.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6.xml"/><Relationship Id="rId1" Type="http://schemas.openxmlformats.org/officeDocument/2006/relationships/tags" Target="../tags/tag295.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8.xml"/><Relationship Id="rId1" Type="http://schemas.openxmlformats.org/officeDocument/2006/relationships/tags" Target="../tags/tag29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0.xml"/><Relationship Id="rId1" Type="http://schemas.openxmlformats.org/officeDocument/2006/relationships/tags" Target="../tags/tag299.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2.xml"/><Relationship Id="rId1" Type="http://schemas.openxmlformats.org/officeDocument/2006/relationships/tags" Target="../tags/tag301.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4.xml"/><Relationship Id="rId1" Type="http://schemas.openxmlformats.org/officeDocument/2006/relationships/tags" Target="../tags/tag303.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6.xml"/><Relationship Id="rId1" Type="http://schemas.openxmlformats.org/officeDocument/2006/relationships/tags" Target="../tags/tag305.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8.xml"/><Relationship Id="rId1" Type="http://schemas.openxmlformats.org/officeDocument/2006/relationships/tags" Target="../tags/tag307.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0.xml"/><Relationship Id="rId1" Type="http://schemas.openxmlformats.org/officeDocument/2006/relationships/tags" Target="../tags/tag309.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2.xml"/><Relationship Id="rId1" Type="http://schemas.openxmlformats.org/officeDocument/2006/relationships/tags" Target="../tags/tag311.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4.xml"/><Relationship Id="rId1" Type="http://schemas.openxmlformats.org/officeDocument/2006/relationships/tags" Target="../tags/tag31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19.xml"/><Relationship Id="rId1" Type="http://schemas.openxmlformats.org/officeDocument/2006/relationships/tags" Target="../tags/tag31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32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25.xml"/><Relationship Id="rId1" Type="http://schemas.openxmlformats.org/officeDocument/2006/relationships/tags" Target="../tags/tag324.xml"/></Relationships>
</file>

<file path=ppt/slideLayouts/_rels/slideLayout19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326.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28.xml"/><Relationship Id="rId1" Type="http://schemas.openxmlformats.org/officeDocument/2006/relationships/tags" Target="../tags/tag32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30.xml"/><Relationship Id="rId1" Type="http://schemas.openxmlformats.org/officeDocument/2006/relationships/tags" Target="../tags/tag329.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32.xml"/><Relationship Id="rId1" Type="http://schemas.openxmlformats.org/officeDocument/2006/relationships/tags" Target="../tags/tag331.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34.xml"/><Relationship Id="rId1" Type="http://schemas.openxmlformats.org/officeDocument/2006/relationships/tags" Target="../tags/tag333.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36.xml"/><Relationship Id="rId1" Type="http://schemas.openxmlformats.org/officeDocument/2006/relationships/tags" Target="../tags/tag335.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38.xml"/><Relationship Id="rId1" Type="http://schemas.openxmlformats.org/officeDocument/2006/relationships/tags" Target="../tags/tag337.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40.xml"/><Relationship Id="rId1" Type="http://schemas.openxmlformats.org/officeDocument/2006/relationships/tags" Target="../tags/tag339.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42.xml"/><Relationship Id="rId1" Type="http://schemas.openxmlformats.org/officeDocument/2006/relationships/tags" Target="../tags/tag341.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44.xml"/><Relationship Id="rId1" Type="http://schemas.openxmlformats.org/officeDocument/2006/relationships/tags" Target="../tags/tag34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46.xml"/><Relationship Id="rId1" Type="http://schemas.openxmlformats.org/officeDocument/2006/relationships/tags" Target="../tags/tag345.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48.xml"/><Relationship Id="rId1" Type="http://schemas.openxmlformats.org/officeDocument/2006/relationships/tags" Target="../tags/tag347.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50.xml"/><Relationship Id="rId1" Type="http://schemas.openxmlformats.org/officeDocument/2006/relationships/tags" Target="../tags/tag349.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52.xml"/><Relationship Id="rId1" Type="http://schemas.openxmlformats.org/officeDocument/2006/relationships/tags" Target="../tags/tag351.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54.xml"/><Relationship Id="rId1" Type="http://schemas.openxmlformats.org/officeDocument/2006/relationships/tags" Target="../tags/tag353.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56.xml"/><Relationship Id="rId1" Type="http://schemas.openxmlformats.org/officeDocument/2006/relationships/tags" Target="../tags/tag355.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58.xml"/><Relationship Id="rId1" Type="http://schemas.openxmlformats.org/officeDocument/2006/relationships/tags" Target="../tags/tag35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60.xml"/><Relationship Id="rId1" Type="http://schemas.openxmlformats.org/officeDocument/2006/relationships/tags" Target="../tags/tag35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s>
</file>

<file path=ppt/slideLayouts/_rels/slideLayout220.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64.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66.xml"/><Relationship Id="rId1" Type="http://schemas.openxmlformats.org/officeDocument/2006/relationships/tags" Target="../tags/tag365.xml"/></Relationships>
</file>

<file path=ppt/slideLayouts/_rels/slideLayout222.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367.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69.xml"/><Relationship Id="rId1" Type="http://schemas.openxmlformats.org/officeDocument/2006/relationships/tags" Target="../tags/tag36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1.xml"/><Relationship Id="rId1" Type="http://schemas.openxmlformats.org/officeDocument/2006/relationships/tags" Target="../tags/tag370.xml"/></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3.xml"/><Relationship Id="rId1" Type="http://schemas.openxmlformats.org/officeDocument/2006/relationships/tags" Target="../tags/tag372.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5.xml"/><Relationship Id="rId1" Type="http://schemas.openxmlformats.org/officeDocument/2006/relationships/tags" Target="../tags/tag374.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7.xml"/><Relationship Id="rId1" Type="http://schemas.openxmlformats.org/officeDocument/2006/relationships/tags" Target="../tags/tag376.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9.xml"/><Relationship Id="rId1" Type="http://schemas.openxmlformats.org/officeDocument/2006/relationships/tags" Target="../tags/tag378.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81.xml"/><Relationship Id="rId1" Type="http://schemas.openxmlformats.org/officeDocument/2006/relationships/tags" Target="../tags/tag38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83.xml"/><Relationship Id="rId1" Type="http://schemas.openxmlformats.org/officeDocument/2006/relationships/tags" Target="../tags/tag382.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85.xml"/><Relationship Id="rId1" Type="http://schemas.openxmlformats.org/officeDocument/2006/relationships/tags" Target="../tags/tag384.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87.xml"/><Relationship Id="rId1" Type="http://schemas.openxmlformats.org/officeDocument/2006/relationships/tags" Target="../tags/tag386.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89.xml"/><Relationship Id="rId1" Type="http://schemas.openxmlformats.org/officeDocument/2006/relationships/tags" Target="../tags/tag388.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91.xml"/><Relationship Id="rId1" Type="http://schemas.openxmlformats.org/officeDocument/2006/relationships/tags" Target="../tags/tag390.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93.xml"/><Relationship Id="rId1" Type="http://schemas.openxmlformats.org/officeDocument/2006/relationships/tags" Target="../tags/tag392.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95.xml"/><Relationship Id="rId1" Type="http://schemas.openxmlformats.org/officeDocument/2006/relationships/tags" Target="../tags/tag394.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97.xml"/><Relationship Id="rId1" Type="http://schemas.openxmlformats.org/officeDocument/2006/relationships/tags" Target="../tags/tag396.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99.xml"/><Relationship Id="rId1" Type="http://schemas.openxmlformats.org/officeDocument/2006/relationships/tags" Target="../tags/tag39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01.xml"/><Relationship Id="rId1" Type="http://schemas.openxmlformats.org/officeDocument/2006/relationships/tags" Target="../tags/tag400.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05.xml"/></Relationships>
</file>

<file path=ppt/slideLayouts/_rels/slideLayout257.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06.xml"/></Relationships>
</file>

<file path=ppt/slideLayouts/_rels/slideLayout258.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07.xml"/></Relationships>
</file>

<file path=ppt/slideLayouts/_rels/slideLayout259.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08.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s>
</file>

<file path=ppt/slideLayouts/_rels/slideLayout26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09.xml"/></Relationships>
</file>

<file path=ppt/slideLayouts/_rels/slideLayout26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10.xml"/></Relationships>
</file>

<file path=ppt/slideLayouts/_rels/slideLayout26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11.xml"/></Relationships>
</file>

<file path=ppt/slideLayouts/_rels/slideLayout26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12.xml"/></Relationships>
</file>

<file path=ppt/slideLayouts/_rels/slideLayout26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13.xml"/></Relationships>
</file>

<file path=ppt/slideLayouts/_rels/slideLayout265.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14.xml"/></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16.xml"/><Relationship Id="rId1" Type="http://schemas.openxmlformats.org/officeDocument/2006/relationships/tags" Target="../tags/tag415.xml"/></Relationships>
</file>

<file path=ppt/slideLayouts/_rels/slideLayout267.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1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18.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s>
</file>

<file path=ppt/slideLayouts/_rels/slideLayout27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19.xml"/></Relationships>
</file>

<file path=ppt/slideLayouts/_rels/slideLayout27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20.xml"/></Relationships>
</file>

<file path=ppt/slideLayouts/_rels/slideLayout27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21.xml"/></Relationships>
</file>

<file path=ppt/slideLayouts/_rels/slideLayout27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22.xml"/></Relationships>
</file>

<file path=ppt/slideLayouts/_rels/slideLayout27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23.xml"/></Relationships>
</file>

<file path=ppt/slideLayouts/_rels/slideLayout275.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24.xml"/></Relationships>
</file>

<file path=ppt/slideLayouts/_rels/slideLayout276.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42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0.xml"/><Relationship Id="rId1" Type="http://schemas.openxmlformats.org/officeDocument/2006/relationships/tags" Target="../tags/tag429.xml"/></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2.xml"/><Relationship Id="rId1" Type="http://schemas.openxmlformats.org/officeDocument/2006/relationships/tags" Target="../tags/tag431.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4.xml"/><Relationship Id="rId1" Type="http://schemas.openxmlformats.org/officeDocument/2006/relationships/tags" Target="../tags/tag433.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6.xml"/><Relationship Id="rId1" Type="http://schemas.openxmlformats.org/officeDocument/2006/relationships/tags" Target="../tags/tag435.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38.xml"/><Relationship Id="rId1" Type="http://schemas.openxmlformats.org/officeDocument/2006/relationships/tags" Target="../tags/tag437.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40.xml"/><Relationship Id="rId1" Type="http://schemas.openxmlformats.org/officeDocument/2006/relationships/tags" Target="../tags/tag439.xml"/></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42.xml"/><Relationship Id="rId1" Type="http://schemas.openxmlformats.org/officeDocument/2006/relationships/tags" Target="../tags/tag441.xml"/></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44.xml"/><Relationship Id="rId1" Type="http://schemas.openxmlformats.org/officeDocument/2006/relationships/tags" Target="../tags/tag443.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46.xml"/><Relationship Id="rId1" Type="http://schemas.openxmlformats.org/officeDocument/2006/relationships/tags" Target="../tags/tag445.xml"/></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48.xml"/><Relationship Id="rId1" Type="http://schemas.openxmlformats.org/officeDocument/2006/relationships/tags" Target="../tags/tag447.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50.xml"/><Relationship Id="rId1" Type="http://schemas.openxmlformats.org/officeDocument/2006/relationships/tags" Target="../tags/tag449.xml"/></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52.xml"/><Relationship Id="rId1" Type="http://schemas.openxmlformats.org/officeDocument/2006/relationships/tags" Target="../tags/tag45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54.xml"/><Relationship Id="rId1" Type="http://schemas.openxmlformats.org/officeDocument/2006/relationships/tags" Target="../tags/tag453.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56.xml"/><Relationship Id="rId1" Type="http://schemas.openxmlformats.org/officeDocument/2006/relationships/tags" Target="../tags/tag455.xml"/></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58.xml"/><Relationship Id="rId1" Type="http://schemas.openxmlformats.org/officeDocument/2006/relationships/tags" Target="../tags/tag45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60.xml"/><Relationship Id="rId1" Type="http://schemas.openxmlformats.org/officeDocument/2006/relationships/tags" Target="../tags/tag459.xml"/></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62.xml"/><Relationship Id="rId1" Type="http://schemas.openxmlformats.org/officeDocument/2006/relationships/tags" Target="../tags/tag461.xml"/></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64.xml"/><Relationship Id="rId1" Type="http://schemas.openxmlformats.org/officeDocument/2006/relationships/tags" Target="../tags/tag463.xml"/></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66.xml"/><Relationship Id="rId1" Type="http://schemas.openxmlformats.org/officeDocument/2006/relationships/tags" Target="../tags/tag465.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68.xml"/><Relationship Id="rId1" Type="http://schemas.openxmlformats.org/officeDocument/2006/relationships/tags" Target="../tags/tag467.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75.xml"/><Relationship Id="rId1" Type="http://schemas.openxmlformats.org/officeDocument/2006/relationships/tags" Target="../tags/tag474.xml"/></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77.xml"/><Relationship Id="rId1" Type="http://schemas.openxmlformats.org/officeDocument/2006/relationships/tags" Target="../tags/tag476.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79.xml"/><Relationship Id="rId1" Type="http://schemas.openxmlformats.org/officeDocument/2006/relationships/tags" Target="../tags/tag478.xml"/></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81.xml"/><Relationship Id="rId1" Type="http://schemas.openxmlformats.org/officeDocument/2006/relationships/tags" Target="../tags/tag480.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83.xml"/><Relationship Id="rId1" Type="http://schemas.openxmlformats.org/officeDocument/2006/relationships/tags" Target="../tags/tag48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85.xml"/><Relationship Id="rId1" Type="http://schemas.openxmlformats.org/officeDocument/2006/relationships/tags" Target="../tags/tag484.xml"/></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87.xml"/><Relationship Id="rId1" Type="http://schemas.openxmlformats.org/officeDocument/2006/relationships/tags" Target="../tags/tag486.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89.xml"/><Relationship Id="rId1" Type="http://schemas.openxmlformats.org/officeDocument/2006/relationships/tags" Target="../tags/tag488.xml"/></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91.xml"/><Relationship Id="rId1" Type="http://schemas.openxmlformats.org/officeDocument/2006/relationships/tags" Target="../tags/tag490.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93.xml"/><Relationship Id="rId1" Type="http://schemas.openxmlformats.org/officeDocument/2006/relationships/tags" Target="../tags/tag492.xml"/></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95.xml"/><Relationship Id="rId1" Type="http://schemas.openxmlformats.org/officeDocument/2006/relationships/tags" Target="../tags/tag494.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97.xml"/><Relationship Id="rId1" Type="http://schemas.openxmlformats.org/officeDocument/2006/relationships/tags" Target="../tags/tag496.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99.xml"/><Relationship Id="rId1" Type="http://schemas.openxmlformats.org/officeDocument/2006/relationships/tags" Target="../tags/tag498.xml"/></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01.xml"/><Relationship Id="rId1" Type="http://schemas.openxmlformats.org/officeDocument/2006/relationships/tags" Target="../tags/tag500.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03.xml"/><Relationship Id="rId1" Type="http://schemas.openxmlformats.org/officeDocument/2006/relationships/tags" Target="../tags/tag502.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05.xml"/><Relationship Id="rId1" Type="http://schemas.openxmlformats.org/officeDocument/2006/relationships/tags" Target="../tags/tag504.xml"/></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07.xml"/><Relationship Id="rId1" Type="http://schemas.openxmlformats.org/officeDocument/2006/relationships/tags" Target="../tags/tag506.xml"/></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09.xml"/><Relationship Id="rId1" Type="http://schemas.openxmlformats.org/officeDocument/2006/relationships/tags" Target="../tags/tag508.xml"/></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11.xml"/><Relationship Id="rId1" Type="http://schemas.openxmlformats.org/officeDocument/2006/relationships/tags" Target="../tags/tag510.xml"/></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13.xml"/><Relationship Id="rId1" Type="http://schemas.openxmlformats.org/officeDocument/2006/relationships/tags" Target="../tags/tag512.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20.xml"/><Relationship Id="rId1" Type="http://schemas.openxmlformats.org/officeDocument/2006/relationships/tags" Target="../tags/tag519.xml"/></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22.xml"/><Relationship Id="rId1" Type="http://schemas.openxmlformats.org/officeDocument/2006/relationships/tags" Target="../tags/tag521.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24.xml"/><Relationship Id="rId1" Type="http://schemas.openxmlformats.org/officeDocument/2006/relationships/tags" Target="../tags/tag523.xml"/></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26.xml"/><Relationship Id="rId1" Type="http://schemas.openxmlformats.org/officeDocument/2006/relationships/tags" Target="../tags/tag525.xml"/></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28.xml"/><Relationship Id="rId1" Type="http://schemas.openxmlformats.org/officeDocument/2006/relationships/tags" Target="../tags/tag527.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30.xml"/><Relationship Id="rId1" Type="http://schemas.openxmlformats.org/officeDocument/2006/relationships/tags" Target="../tags/tag529.xml"/></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32.xml"/><Relationship Id="rId1" Type="http://schemas.openxmlformats.org/officeDocument/2006/relationships/tags" Target="../tags/tag531.xml"/></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34.xml"/><Relationship Id="rId1" Type="http://schemas.openxmlformats.org/officeDocument/2006/relationships/tags" Target="../tags/tag533.xml"/></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36.xml"/><Relationship Id="rId1" Type="http://schemas.openxmlformats.org/officeDocument/2006/relationships/tags" Target="../tags/tag535.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38.xml"/><Relationship Id="rId1" Type="http://schemas.openxmlformats.org/officeDocument/2006/relationships/tags" Target="../tags/tag537.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40.xml"/><Relationship Id="rId1" Type="http://schemas.openxmlformats.org/officeDocument/2006/relationships/tags" Target="../tags/tag539.xml"/></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42.xml"/><Relationship Id="rId1" Type="http://schemas.openxmlformats.org/officeDocument/2006/relationships/tags" Target="../tags/tag54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44.xml"/><Relationship Id="rId1" Type="http://schemas.openxmlformats.org/officeDocument/2006/relationships/tags" Target="../tags/tag543.xml"/></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46.xml"/><Relationship Id="rId1" Type="http://schemas.openxmlformats.org/officeDocument/2006/relationships/tags" Target="../tags/tag545.xml"/></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48.xml"/><Relationship Id="rId1" Type="http://schemas.openxmlformats.org/officeDocument/2006/relationships/tags" Target="../tags/tag547.xml"/></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50.xml"/><Relationship Id="rId1" Type="http://schemas.openxmlformats.org/officeDocument/2006/relationships/tags" Target="../tags/tag549.xml"/></Relationships>
</file>

<file path=ppt/slideLayouts/_rels/slideLayout34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52.xml"/><Relationship Id="rId1" Type="http://schemas.openxmlformats.org/officeDocument/2006/relationships/tags" Target="../tags/tag551.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54.xml"/><Relationship Id="rId1" Type="http://schemas.openxmlformats.org/officeDocument/2006/relationships/tags" Target="../tags/tag553.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56.xml"/><Relationship Id="rId1" Type="http://schemas.openxmlformats.org/officeDocument/2006/relationships/tags" Target="../tags/tag555.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58.xml"/><Relationship Id="rId1" Type="http://schemas.openxmlformats.org/officeDocument/2006/relationships/tags" Target="../tags/tag557.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65.xml"/><Relationship Id="rId1" Type="http://schemas.openxmlformats.org/officeDocument/2006/relationships/tags" Target="../tags/tag564.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67.xml"/><Relationship Id="rId1" Type="http://schemas.openxmlformats.org/officeDocument/2006/relationships/tags" Target="../tags/tag566.xml"/></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69.xml"/><Relationship Id="rId1" Type="http://schemas.openxmlformats.org/officeDocument/2006/relationships/tags" Target="../tags/tag568.xml"/></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71.xml"/><Relationship Id="rId1" Type="http://schemas.openxmlformats.org/officeDocument/2006/relationships/tags" Target="../tags/tag570.xml"/></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73.xml"/><Relationship Id="rId1" Type="http://schemas.openxmlformats.org/officeDocument/2006/relationships/tags" Target="../tags/tag572.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75.xml"/><Relationship Id="rId1" Type="http://schemas.openxmlformats.org/officeDocument/2006/relationships/tags" Target="../tags/tag57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s>
</file>

<file path=ppt/slideLayouts/_rels/slideLayout36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77.xml"/><Relationship Id="rId1" Type="http://schemas.openxmlformats.org/officeDocument/2006/relationships/tags" Target="../tags/tag576.xml"/></Relationships>
</file>

<file path=ppt/slideLayouts/_rels/slideLayout36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79.xml"/><Relationship Id="rId1" Type="http://schemas.openxmlformats.org/officeDocument/2006/relationships/tags" Target="../tags/tag578.xml"/></Relationships>
</file>

<file path=ppt/slideLayouts/_rels/slideLayout36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81.xml"/><Relationship Id="rId1" Type="http://schemas.openxmlformats.org/officeDocument/2006/relationships/tags" Target="../tags/tag580.xml"/></Relationships>
</file>

<file path=ppt/slideLayouts/_rels/slideLayout36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83.xml"/><Relationship Id="rId1" Type="http://schemas.openxmlformats.org/officeDocument/2006/relationships/tags" Target="../tags/tag582.xml"/></Relationships>
</file>

<file path=ppt/slideLayouts/_rels/slideLayout36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85.xml"/><Relationship Id="rId1" Type="http://schemas.openxmlformats.org/officeDocument/2006/relationships/tags" Target="../tags/tag584.xml"/></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87.xml"/><Relationship Id="rId1" Type="http://schemas.openxmlformats.org/officeDocument/2006/relationships/tags" Target="../tags/tag586.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7.xml"/></Relationships>
</file>

<file path=ppt/slideLayouts/_rels/slideLayout36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89.xml"/><Relationship Id="rId1" Type="http://schemas.openxmlformats.org/officeDocument/2006/relationships/tags" Target="../tags/tag588.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91.xml"/><Relationship Id="rId1" Type="http://schemas.openxmlformats.org/officeDocument/2006/relationships/tags" Target="../tags/tag590.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93.xml"/><Relationship Id="rId1" Type="http://schemas.openxmlformats.org/officeDocument/2006/relationships/tags" Target="../tags/tag59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95.xml"/><Relationship Id="rId1" Type="http://schemas.openxmlformats.org/officeDocument/2006/relationships/tags" Target="../tags/tag594.xml"/></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97.xml"/><Relationship Id="rId1" Type="http://schemas.openxmlformats.org/officeDocument/2006/relationships/tags" Target="../tags/tag596.xml"/></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99.xml"/><Relationship Id="rId1" Type="http://schemas.openxmlformats.org/officeDocument/2006/relationships/tags" Target="../tags/tag598.xml"/></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01.xml"/><Relationship Id="rId1" Type="http://schemas.openxmlformats.org/officeDocument/2006/relationships/tags" Target="../tags/tag600.xml"/></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03.xml"/><Relationship Id="rId1" Type="http://schemas.openxmlformats.org/officeDocument/2006/relationships/tags" Target="../tags/tag60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10.xml"/><Relationship Id="rId1" Type="http://schemas.openxmlformats.org/officeDocument/2006/relationships/tags" Target="../tags/tag609.xml"/></Relationships>
</file>

<file path=ppt/slideLayouts/_rels/slideLayout39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12.xml"/><Relationship Id="rId1" Type="http://schemas.openxmlformats.org/officeDocument/2006/relationships/tags" Target="../tags/tag611.xml"/></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14.xml"/><Relationship Id="rId1" Type="http://schemas.openxmlformats.org/officeDocument/2006/relationships/tags" Target="../tags/tag613.xml"/></Relationships>
</file>

<file path=ppt/slideLayouts/_rels/slideLayout39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16.xml"/><Relationship Id="rId1" Type="http://schemas.openxmlformats.org/officeDocument/2006/relationships/tags" Target="../tags/tag615.xml"/></Relationships>
</file>

<file path=ppt/slideLayouts/_rels/slideLayout39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18.xml"/><Relationship Id="rId1" Type="http://schemas.openxmlformats.org/officeDocument/2006/relationships/tags" Target="../tags/tag617.xml"/></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20.xml"/><Relationship Id="rId1" Type="http://schemas.openxmlformats.org/officeDocument/2006/relationships/tags" Target="../tags/tag619.xml"/></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22.xml"/><Relationship Id="rId1" Type="http://schemas.openxmlformats.org/officeDocument/2006/relationships/tags" Target="../tags/tag621.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24.xml"/><Relationship Id="rId1" Type="http://schemas.openxmlformats.org/officeDocument/2006/relationships/tags" Target="../tags/tag623.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26.xml"/><Relationship Id="rId1" Type="http://schemas.openxmlformats.org/officeDocument/2006/relationships/tags" Target="../tags/tag62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28.xml"/><Relationship Id="rId1" Type="http://schemas.openxmlformats.org/officeDocument/2006/relationships/tags" Target="../tags/tag627.xml"/></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0.xml"/><Relationship Id="rId1" Type="http://schemas.openxmlformats.org/officeDocument/2006/relationships/tags" Target="../tags/tag629.xml"/></Relationships>
</file>

<file path=ppt/slideLayouts/_rels/slideLayout40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2.xml"/><Relationship Id="rId1" Type="http://schemas.openxmlformats.org/officeDocument/2006/relationships/tags" Target="../tags/tag631.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40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4.xml"/><Relationship Id="rId1" Type="http://schemas.openxmlformats.org/officeDocument/2006/relationships/tags" Target="../tags/tag633.xml"/></Relationships>
</file>

<file path=ppt/slideLayouts/_rels/slideLayout40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6.xml"/><Relationship Id="rId1" Type="http://schemas.openxmlformats.org/officeDocument/2006/relationships/tags" Target="../tags/tag635.xml"/></Relationships>
</file>

<file path=ppt/slideLayouts/_rels/slideLayout40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38.xml"/><Relationship Id="rId1" Type="http://schemas.openxmlformats.org/officeDocument/2006/relationships/tags" Target="../tags/tag637.xml"/></Relationships>
</file>

<file path=ppt/slideLayouts/_rels/slideLayout40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40.xml"/><Relationship Id="rId1" Type="http://schemas.openxmlformats.org/officeDocument/2006/relationships/tags" Target="../tags/tag639.xml"/></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42.xml"/><Relationship Id="rId1" Type="http://schemas.openxmlformats.org/officeDocument/2006/relationships/tags" Target="../tags/tag641.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44.xml"/><Relationship Id="rId1" Type="http://schemas.openxmlformats.org/officeDocument/2006/relationships/tags" Target="../tags/tag64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s>
</file>

<file path=ppt/slideLayouts/_rels/slideLayout41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46.xml"/><Relationship Id="rId1" Type="http://schemas.openxmlformats.org/officeDocument/2006/relationships/tags" Target="../tags/tag645.xml"/></Relationships>
</file>

<file path=ppt/slideLayouts/_rels/slideLayout41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48.xml"/><Relationship Id="rId1" Type="http://schemas.openxmlformats.org/officeDocument/2006/relationships/tags" Target="../tags/tag647.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55.xml"/><Relationship Id="rId1" Type="http://schemas.openxmlformats.org/officeDocument/2006/relationships/tags" Target="../tags/tag654.xml"/></Relationships>
</file>

<file path=ppt/slideLayouts/_rels/slideLayout41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57.xml"/><Relationship Id="rId1" Type="http://schemas.openxmlformats.org/officeDocument/2006/relationships/tags" Target="../tags/tag656.xml"/></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59.xml"/><Relationship Id="rId1" Type="http://schemas.openxmlformats.org/officeDocument/2006/relationships/tags" Target="../tags/tag658.xml"/></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61.xml"/><Relationship Id="rId1" Type="http://schemas.openxmlformats.org/officeDocument/2006/relationships/tags" Target="../tags/tag660.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63.xml"/><Relationship Id="rId1" Type="http://schemas.openxmlformats.org/officeDocument/2006/relationships/tags" Target="../tags/tag66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s>
</file>

<file path=ppt/slideLayouts/_rels/slideLayout42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65.xml"/><Relationship Id="rId1" Type="http://schemas.openxmlformats.org/officeDocument/2006/relationships/tags" Target="../tags/tag664.xml"/></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67.xml"/><Relationship Id="rId1" Type="http://schemas.openxmlformats.org/officeDocument/2006/relationships/tags" Target="../tags/tag666.xml"/></Relationships>
</file>

<file path=ppt/slideLayouts/_rels/slideLayout42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69.xml"/><Relationship Id="rId1" Type="http://schemas.openxmlformats.org/officeDocument/2006/relationships/tags" Target="../tags/tag668.xml"/></Relationships>
</file>

<file path=ppt/slideLayouts/_rels/slideLayout42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71.xml"/><Relationship Id="rId1" Type="http://schemas.openxmlformats.org/officeDocument/2006/relationships/tags" Target="../tags/tag670.xml"/></Relationships>
</file>

<file path=ppt/slideLayouts/_rels/slideLayout42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73.xml"/><Relationship Id="rId1" Type="http://schemas.openxmlformats.org/officeDocument/2006/relationships/tags" Target="../tags/tag672.xml"/></Relationships>
</file>

<file path=ppt/slideLayouts/_rels/slideLayout42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75.xml"/><Relationship Id="rId1" Type="http://schemas.openxmlformats.org/officeDocument/2006/relationships/tags" Target="../tags/tag674.xml"/></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77.xml"/><Relationship Id="rId1" Type="http://schemas.openxmlformats.org/officeDocument/2006/relationships/tags" Target="../tags/tag676.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0.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79.xml"/><Relationship Id="rId1" Type="http://schemas.openxmlformats.org/officeDocument/2006/relationships/tags" Target="../tags/tag678.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81.xml"/><Relationship Id="rId1" Type="http://schemas.openxmlformats.org/officeDocument/2006/relationships/tags" Target="../tags/tag680.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s>
</file>

<file path=ppt/slideLayouts/_rels/slideLayout43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83.xml"/><Relationship Id="rId1" Type="http://schemas.openxmlformats.org/officeDocument/2006/relationships/tags" Target="../tags/tag682.xml"/></Relationships>
</file>

<file path=ppt/slideLayouts/_rels/slideLayout43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85.xml"/><Relationship Id="rId1" Type="http://schemas.openxmlformats.org/officeDocument/2006/relationships/tags" Target="../tags/tag684.xml"/></Relationships>
</file>

<file path=ppt/slideLayouts/_rels/slideLayout43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87.xml"/><Relationship Id="rId1" Type="http://schemas.openxmlformats.org/officeDocument/2006/relationships/tags" Target="../tags/tag686.xml"/></Relationships>
</file>

<file path=ppt/slideLayouts/_rels/slideLayout43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89.xml"/><Relationship Id="rId1" Type="http://schemas.openxmlformats.org/officeDocument/2006/relationships/tags" Target="../tags/tag688.xml"/></Relationships>
</file>

<file path=ppt/slideLayouts/_rels/slideLayout43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91.xml"/><Relationship Id="rId1" Type="http://schemas.openxmlformats.org/officeDocument/2006/relationships/tags" Target="../tags/tag690.xml"/></Relationships>
</file>

<file path=ppt/slideLayouts/_rels/slideLayout43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93.xml"/><Relationship Id="rId1" Type="http://schemas.openxmlformats.org/officeDocument/2006/relationships/tags" Target="../tags/tag692.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3.jpeg"/><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01.xml"/><Relationship Id="rId1" Type="http://schemas.openxmlformats.org/officeDocument/2006/relationships/tags" Target="../tags/tag700.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s>
</file>

<file path=ppt/slideLayouts/_rels/slideLayout44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03.xml"/><Relationship Id="rId1" Type="http://schemas.openxmlformats.org/officeDocument/2006/relationships/tags" Target="../tags/tag702.xml"/></Relationships>
</file>

<file path=ppt/slideLayouts/_rels/slideLayout44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05.xml"/><Relationship Id="rId1" Type="http://schemas.openxmlformats.org/officeDocument/2006/relationships/tags" Target="../tags/tag704.xml"/></Relationships>
</file>

<file path=ppt/slideLayouts/_rels/slideLayout44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07.xml"/><Relationship Id="rId1" Type="http://schemas.openxmlformats.org/officeDocument/2006/relationships/tags" Target="../tags/tag706.xml"/></Relationships>
</file>

<file path=ppt/slideLayouts/_rels/slideLayout44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09.xml"/><Relationship Id="rId1" Type="http://schemas.openxmlformats.org/officeDocument/2006/relationships/tags" Target="../tags/tag708.xml"/></Relationships>
</file>

<file path=ppt/slideLayouts/_rels/slideLayout44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11.xml"/><Relationship Id="rId1" Type="http://schemas.openxmlformats.org/officeDocument/2006/relationships/tags" Target="../tags/tag710.xml"/></Relationships>
</file>

<file path=ppt/slideLayouts/_rels/slideLayout44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13.xml"/><Relationship Id="rId1" Type="http://schemas.openxmlformats.org/officeDocument/2006/relationships/tags" Target="../tags/tag712.xml"/></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15.xml"/><Relationship Id="rId1" Type="http://schemas.openxmlformats.org/officeDocument/2006/relationships/tags" Target="../tags/tag714.xml"/></Relationships>
</file>

<file path=ppt/slideLayouts/_rels/slideLayout44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17.xml"/><Relationship Id="rId1" Type="http://schemas.openxmlformats.org/officeDocument/2006/relationships/tags" Target="../tags/tag716.xml"/></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19.xml"/><Relationship Id="rId1" Type="http://schemas.openxmlformats.org/officeDocument/2006/relationships/tags" Target="../tags/tag718.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21.xml"/><Relationship Id="rId1" Type="http://schemas.openxmlformats.org/officeDocument/2006/relationships/tags" Target="../tags/tag720.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s>
</file>

<file path=ppt/slideLayouts/_rels/slideLayout45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23.xml"/><Relationship Id="rId1" Type="http://schemas.openxmlformats.org/officeDocument/2006/relationships/tags" Target="../tags/tag722.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1.xml"/></Relationships>
</file>

<file path=ppt/slideLayouts/_rels/slideLayout45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25.xml"/><Relationship Id="rId1" Type="http://schemas.openxmlformats.org/officeDocument/2006/relationships/tags" Target="../tags/tag724.xml"/></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27.xml"/><Relationship Id="rId1" Type="http://schemas.openxmlformats.org/officeDocument/2006/relationships/tags" Target="../tags/tag726.xml"/></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29.xml"/><Relationship Id="rId1" Type="http://schemas.openxmlformats.org/officeDocument/2006/relationships/tags" Target="../tags/tag728.xml"/></Relationships>
</file>

<file path=ppt/slideLayouts/_rels/slideLayout45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31.xml"/><Relationship Id="rId1" Type="http://schemas.openxmlformats.org/officeDocument/2006/relationships/tags" Target="../tags/tag730.xml"/></Relationships>
</file>

<file path=ppt/slideLayouts/_rels/slideLayout45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33.xml"/><Relationship Id="rId1" Type="http://schemas.openxmlformats.org/officeDocument/2006/relationships/tags" Target="../tags/tag732.xml"/></Relationships>
</file>

<file path=ppt/slideLayouts/_rels/slideLayout45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35.xml"/><Relationship Id="rId1" Type="http://schemas.openxmlformats.org/officeDocument/2006/relationships/tags" Target="../tags/tag734.xml"/></Relationships>
</file>

<file path=ppt/slideLayouts/_rels/slideLayout45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37.xml"/><Relationship Id="rId1" Type="http://schemas.openxmlformats.org/officeDocument/2006/relationships/tags" Target="../tags/tag736.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39.xml"/><Relationship Id="rId1" Type="http://schemas.openxmlformats.org/officeDocument/2006/relationships/tags" Target="../tags/tag738.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21.xml"/><Relationship Id="rId1" Type="http://schemas.openxmlformats.org/officeDocument/2006/relationships/tags" Target="../tags/tag740.xml"/><Relationship Id="rId4" Type="http://schemas.openxmlformats.org/officeDocument/2006/relationships/image" Target="../media/image19.png"/></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1.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47.xml"/><Relationship Id="rId1" Type="http://schemas.openxmlformats.org/officeDocument/2006/relationships/tags" Target="../tags/tag746.xml"/></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49.xml"/><Relationship Id="rId1" Type="http://schemas.openxmlformats.org/officeDocument/2006/relationships/tags" Target="../tags/tag748.xml"/></Relationships>
</file>

<file path=ppt/slideLayouts/_rels/slideLayout46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51.xml"/><Relationship Id="rId1" Type="http://schemas.openxmlformats.org/officeDocument/2006/relationships/tags" Target="../tags/tag750.xml"/></Relationships>
</file>

<file path=ppt/slideLayouts/_rels/slideLayout46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53.xml"/><Relationship Id="rId1" Type="http://schemas.openxmlformats.org/officeDocument/2006/relationships/tags" Target="../tags/tag752.xml"/></Relationships>
</file>

<file path=ppt/slideLayouts/_rels/slideLayout46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55.xml"/><Relationship Id="rId1" Type="http://schemas.openxmlformats.org/officeDocument/2006/relationships/tags" Target="../tags/tag754.xml"/></Relationships>
</file>

<file path=ppt/slideLayouts/_rels/slideLayout46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57.xml"/><Relationship Id="rId1" Type="http://schemas.openxmlformats.org/officeDocument/2006/relationships/tags" Target="../tags/tag756.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59.xml"/><Relationship Id="rId1" Type="http://schemas.openxmlformats.org/officeDocument/2006/relationships/tags" Target="../tags/tag758.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61.xml"/><Relationship Id="rId1" Type="http://schemas.openxmlformats.org/officeDocument/2006/relationships/tags" Target="../tags/tag760.xml"/></Relationships>
</file>

<file path=ppt/slideLayouts/_rels/slideLayout47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63.xml"/><Relationship Id="rId1" Type="http://schemas.openxmlformats.org/officeDocument/2006/relationships/tags" Target="../tags/tag762.xml"/></Relationships>
</file>

<file path=ppt/slideLayouts/_rels/slideLayout47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65.xml"/><Relationship Id="rId1" Type="http://schemas.openxmlformats.org/officeDocument/2006/relationships/tags" Target="../tags/tag764.xml"/></Relationships>
</file>

<file path=ppt/slideLayouts/_rels/slideLayout4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67.xml"/><Relationship Id="rId1" Type="http://schemas.openxmlformats.org/officeDocument/2006/relationships/tags" Target="../tags/tag766.xml"/></Relationships>
</file>

<file path=ppt/slideLayouts/_rels/slideLayout4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69.xml"/><Relationship Id="rId1" Type="http://schemas.openxmlformats.org/officeDocument/2006/relationships/tags" Target="../tags/tag768.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71.xml"/><Relationship Id="rId1" Type="http://schemas.openxmlformats.org/officeDocument/2006/relationships/tags" Target="../tags/tag770.xml"/></Relationships>
</file>

<file path=ppt/slideLayouts/_rels/slideLayout47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73.xml"/><Relationship Id="rId1" Type="http://schemas.openxmlformats.org/officeDocument/2006/relationships/tags" Target="../tags/tag772.xml"/></Relationships>
</file>

<file path=ppt/slideLayouts/_rels/slideLayout47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75.xml"/><Relationship Id="rId1" Type="http://schemas.openxmlformats.org/officeDocument/2006/relationships/tags" Target="../tags/tag774.xml"/></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77.xml"/><Relationship Id="rId1" Type="http://schemas.openxmlformats.org/officeDocument/2006/relationships/tags" Target="../tags/tag77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79.xml"/><Relationship Id="rId1" Type="http://schemas.openxmlformats.org/officeDocument/2006/relationships/tags" Target="../tags/tag778.xml"/></Relationships>
</file>

<file path=ppt/slideLayouts/_rels/slideLayout48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81.xml"/><Relationship Id="rId1" Type="http://schemas.openxmlformats.org/officeDocument/2006/relationships/tags" Target="../tags/tag780.xml"/></Relationships>
</file>

<file path=ppt/slideLayouts/_rels/slideLayout48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83.xml"/><Relationship Id="rId1" Type="http://schemas.openxmlformats.org/officeDocument/2006/relationships/tags" Target="../tags/tag782.xml"/></Relationships>
</file>

<file path=ppt/slideLayouts/_rels/slideLayout48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785.xml"/><Relationship Id="rId1" Type="http://schemas.openxmlformats.org/officeDocument/2006/relationships/tags" Target="../tags/tag784.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2.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8.xml"/><Relationship Id="rId1" Type="http://schemas.openxmlformats.org/officeDocument/2006/relationships/tags" Target="../tags/tag97.xml"/></Relationships>
</file>

<file path=ppt/slideLayouts/_rels/slideLayout50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86.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tags" Target="../tags/tag99.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tags" Target="../tags/tag101.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4.xml"/><Relationship Id="rId1" Type="http://schemas.openxmlformats.org/officeDocument/2006/relationships/tags" Target="../tags/tag10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tags" Target="../tags/tag105.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8.xml"/><Relationship Id="rId1" Type="http://schemas.openxmlformats.org/officeDocument/2006/relationships/tags" Target="../tags/tag10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0.xml"/><Relationship Id="rId1" Type="http://schemas.openxmlformats.org/officeDocument/2006/relationships/tags" Target="../tags/tag109.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2.xml"/><Relationship Id="rId1" Type="http://schemas.openxmlformats.org/officeDocument/2006/relationships/tags" Target="../tags/tag11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4.xml"/><Relationship Id="rId1" Type="http://schemas.openxmlformats.org/officeDocument/2006/relationships/tags" Target="../tags/tag113.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6.xml"/><Relationship Id="rId1" Type="http://schemas.openxmlformats.org/officeDocument/2006/relationships/tags" Target="../tags/tag11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8.xml"/><Relationship Id="rId1" Type="http://schemas.openxmlformats.org/officeDocument/2006/relationships/tags" Target="../tags/tag117.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0.xml"/><Relationship Id="rId1" Type="http://schemas.openxmlformats.org/officeDocument/2006/relationships/tags" Target="../tags/tag119.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2.xml"/><Relationship Id="rId1" Type="http://schemas.openxmlformats.org/officeDocument/2006/relationships/tags" Target="../tags/tag12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4.xml"/><Relationship Id="rId1" Type="http://schemas.openxmlformats.org/officeDocument/2006/relationships/tags" Target="../tags/tag123.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6.xml"/><Relationship Id="rId1" Type="http://schemas.openxmlformats.org/officeDocument/2006/relationships/tags" Target="../tags/tag125.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8.xml"/><Relationship Id="rId1" Type="http://schemas.openxmlformats.org/officeDocument/2006/relationships/tags" Target="../tags/tag127.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0.xml"/><Relationship Id="rId1" Type="http://schemas.openxmlformats.org/officeDocument/2006/relationships/tags" Target="../tags/tag129.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2.xml"/><Relationship Id="rId1" Type="http://schemas.openxmlformats.org/officeDocument/2006/relationships/tags" Target="../tags/tag13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4.xml"/><Relationship Id="rId1" Type="http://schemas.openxmlformats.org/officeDocument/2006/relationships/tags" Target="../tags/tag13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6.xml"/><Relationship Id="rId1" Type="http://schemas.openxmlformats.org/officeDocument/2006/relationships/tags" Target="../tags/tag13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3.xml"/><Relationship Id="rId1" Type="http://schemas.openxmlformats.org/officeDocument/2006/relationships/tags" Target="../tags/tag142.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5.xml"/><Relationship Id="rId1" Type="http://schemas.openxmlformats.org/officeDocument/2006/relationships/tags" Target="../tags/tag144.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7.xml"/><Relationship Id="rId1" Type="http://schemas.openxmlformats.org/officeDocument/2006/relationships/tags" Target="../tags/tag146.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9.xml"/><Relationship Id="rId1" Type="http://schemas.openxmlformats.org/officeDocument/2006/relationships/tags" Target="../tags/tag148.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1.xml"/><Relationship Id="rId1" Type="http://schemas.openxmlformats.org/officeDocument/2006/relationships/tags" Target="../tags/tag15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3.xml"/><Relationship Id="rId1" Type="http://schemas.openxmlformats.org/officeDocument/2006/relationships/tags" Target="../tags/tag152.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5.xml"/><Relationship Id="rId1" Type="http://schemas.openxmlformats.org/officeDocument/2006/relationships/tags" Target="../tags/tag154.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7.xml"/><Relationship Id="rId1" Type="http://schemas.openxmlformats.org/officeDocument/2006/relationships/tags" Target="../tags/tag156.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9.xml"/><Relationship Id="rId1" Type="http://schemas.openxmlformats.org/officeDocument/2006/relationships/tags" Target="../tags/tag158.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1.xml"/><Relationship Id="rId1" Type="http://schemas.openxmlformats.org/officeDocument/2006/relationships/tags" Target="../tags/tag160.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3.xml"/><Relationship Id="rId1" Type="http://schemas.openxmlformats.org/officeDocument/2006/relationships/tags" Target="../tags/tag162.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5.xml"/><Relationship Id="rId1" Type="http://schemas.openxmlformats.org/officeDocument/2006/relationships/tags" Target="../tags/tag16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7.xml"/><Relationship Id="rId1" Type="http://schemas.openxmlformats.org/officeDocument/2006/relationships/tags" Target="../tags/tag166.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9.xml"/><Relationship Id="rId1" Type="http://schemas.openxmlformats.org/officeDocument/2006/relationships/tags" Target="../tags/tag168.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1.xml"/><Relationship Id="rId1" Type="http://schemas.openxmlformats.org/officeDocument/2006/relationships/tags" Target="../tags/tag170.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3.xml"/><Relationship Id="rId1" Type="http://schemas.openxmlformats.org/officeDocument/2006/relationships/tags" Target="../tags/tag172.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5.xml"/><Relationship Id="rId1" Type="http://schemas.openxmlformats.org/officeDocument/2006/relationships/tags" Target="../tags/tag174.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7.xml"/><Relationship Id="rId1" Type="http://schemas.openxmlformats.org/officeDocument/2006/relationships/tags" Target="../tags/tag176.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9.xml"/><Relationship Id="rId1" Type="http://schemas.openxmlformats.org/officeDocument/2006/relationships/tags" Target="../tags/tag178.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1.xml"/><Relationship Id="rId1" Type="http://schemas.openxmlformats.org/officeDocument/2006/relationships/tags" Target="../tags/tag180.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8.xml"/><Relationship Id="rId1" Type="http://schemas.openxmlformats.org/officeDocument/2006/relationships/tags" Target="../tags/tag18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pPr/>
              <a:t>3 February 2021</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xmlns=""/>
              </a:ext>
            </a:extLst>
          </a:blip>
          <a:stretch>
            <a:fillRect/>
          </a:stretch>
        </p:blipFill>
        <p:spPr>
          <a:xfrm>
            <a:off x="488487" y="620688"/>
            <a:ext cx="3246314" cy="1008112"/>
          </a:xfrm>
          <a:prstGeom prst="rect">
            <a:avLst/>
          </a:prstGeom>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6"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1"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0560198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15035129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6" y="1412778"/>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73799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6"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1"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5760184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4449956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6" y="1196754"/>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6264884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2"/>
          </p:nvPr>
        </p:nvSpPr>
        <p:spPr>
          <a:xfrm>
            <a:off x="295276" y="1196754"/>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1" y="1196754"/>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0689111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Tree>
    <p:extLst>
      <p:ext uri="{BB962C8B-B14F-4D97-AF65-F5344CB8AC3E}">
        <p14:creationId xmlns:p14="http://schemas.microsoft.com/office/powerpoint/2010/main" xmlns="" val="184102311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3" name="Text Placeholder 4"/>
          <p:cNvSpPr>
            <a:spLocks noGrp="1"/>
          </p:cNvSpPr>
          <p:nvPr>
            <p:ph type="body" sz="quarter" idx="14"/>
          </p:nvPr>
        </p:nvSpPr>
        <p:spPr>
          <a:xfrm>
            <a:off x="295276"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4450215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6"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81"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44763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53521876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90" y="2276874"/>
            <a:ext cx="8281291" cy="936625"/>
          </a:xfrm>
          <a:prstGeom prst="rect">
            <a:avLst/>
          </a:prstGeom>
          <a:no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513"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5" y="5805265"/>
            <a:ext cx="8388425"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139819967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1" y="1412777"/>
            <a:ext cx="2908573" cy="4680049"/>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Text Placeholder 4"/>
          <p:cNvSpPr>
            <a:spLocks noGrp="1"/>
          </p:cNvSpPr>
          <p:nvPr>
            <p:ph type="body" sz="quarter" idx="15"/>
          </p:nvPr>
        </p:nvSpPr>
        <p:spPr>
          <a:xfrm>
            <a:off x="3448447" y="1412778"/>
            <a:ext cx="5472608"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5782329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7" y="1412777"/>
            <a:ext cx="2404517" cy="468004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5"/>
          </p:nvPr>
        </p:nvSpPr>
        <p:spPr>
          <a:xfrm>
            <a:off x="323851" y="1412777"/>
            <a:ext cx="6004917" cy="4680048"/>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2877607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8" y="1412777"/>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7"/>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3532181"/>
            <a:ext cx="8597205" cy="2551450"/>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96274045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8"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9929009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30"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30"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3645024"/>
            <a:ext cx="2625530"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Text Placeholder 4"/>
          <p:cNvSpPr>
            <a:spLocks noGrp="1"/>
          </p:cNvSpPr>
          <p:nvPr>
            <p:ph type="body" sz="quarter" idx="17"/>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23946921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30"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30"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1412776"/>
            <a:ext cx="2625530"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Text Placeholder 4"/>
          <p:cNvSpPr>
            <a:spLocks noGrp="1"/>
          </p:cNvSpPr>
          <p:nvPr>
            <p:ph type="body" sz="quarter" idx="17"/>
          </p:nvPr>
        </p:nvSpPr>
        <p:spPr>
          <a:xfrm>
            <a:off x="323851" y="3703287"/>
            <a:ext cx="8597205" cy="238034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3911873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1" y="1412777"/>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323851" y="2975180"/>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323851" y="4537585"/>
            <a:ext cx="2908573" cy="154109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15536560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3" y="1412777"/>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6012483" y="2976533"/>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6012483" y="4540290"/>
            <a:ext cx="2908573" cy="1548783"/>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0" name="Text Placeholder 4"/>
          <p:cNvSpPr>
            <a:spLocks noGrp="1"/>
          </p:cNvSpPr>
          <p:nvPr>
            <p:ph type="body" sz="quarter" idx="17"/>
          </p:nvPr>
        </p:nvSpPr>
        <p:spPr>
          <a:xfrm>
            <a:off x="323851" y="1412779"/>
            <a:ext cx="5553983" cy="466590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835129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7"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0" dirty="0"/>
          </a:p>
        </p:txBody>
      </p:sp>
      <p:sp>
        <p:nvSpPr>
          <p:cNvPr id="12" name="Text Placeholder 5"/>
          <p:cNvSpPr>
            <a:spLocks noGrp="1"/>
          </p:cNvSpPr>
          <p:nvPr>
            <p:ph type="body" sz="quarter" idx="10" hasCustomPrompt="1"/>
          </p:nvPr>
        </p:nvSpPr>
        <p:spPr>
          <a:xfrm>
            <a:off x="2834998" y="2696461"/>
            <a:ext cx="3897243" cy="266322"/>
          </a:xfrm>
        </p:spPr>
        <p:txBody>
          <a:bodyPr lIns="36000" rIns="36000" anchor="ctr">
            <a:noAutofit/>
          </a:bodyPr>
          <a:lstStyle>
            <a:lvl1pPr>
              <a:defRPr sz="105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8" y="2963910"/>
            <a:ext cx="3897243" cy="266322"/>
          </a:xfrm>
        </p:spPr>
        <p:txBody>
          <a:bodyPr lIns="36000" rIns="36000" anchor="ctr">
            <a:noAutofit/>
          </a:bodyPr>
          <a:lstStyle>
            <a:lvl1pPr>
              <a:defRPr sz="825"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2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8" y="3768568"/>
            <a:ext cx="3734060" cy="266322"/>
          </a:xfrm>
        </p:spPr>
        <p:txBody>
          <a:bodyPr lIns="36000" rIns="36000" anchor="ctr">
            <a:noAutofit/>
          </a:bodyPr>
          <a:lstStyle>
            <a:lvl1pPr>
              <a:defRPr sz="825"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7" y="4043102"/>
            <a:ext cx="3734060"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6838" y="1835227"/>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6" y="565702"/>
            <a:ext cx="1848583" cy="461665"/>
          </a:xfrm>
          <a:prstGeom prst="rect">
            <a:avLst/>
          </a:prstGeom>
        </p:spPr>
        <p:txBody>
          <a:bodyPr wrap="none">
            <a:spAutoFit/>
          </a:bodyPr>
          <a:lstStyle/>
          <a:p>
            <a:r>
              <a:rPr kumimoji="0" lang="en-US" sz="24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18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825" b="0" baseline="0">
                <a:solidFill>
                  <a:schemeClr val="tx2"/>
                </a:solidFill>
              </a:defRPr>
            </a:lvl1pPr>
          </a:lstStyle>
          <a:p>
            <a:pPr lvl="0"/>
            <a:r>
              <a:rPr lang="en-ZA" dirty="0"/>
              <a:t>Fill in your address</a:t>
            </a:r>
          </a:p>
        </p:txBody>
      </p:sp>
      <p:sp>
        <p:nvSpPr>
          <p:cNvPr id="20" name="Right Triangle 19"/>
          <p:cNvSpPr/>
          <p:nvPr userDrawn="1"/>
        </p:nvSpPr>
        <p:spPr>
          <a:xfrm flipH="1">
            <a:off x="2834997" y="3284985"/>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272281442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9" y="3861050"/>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70"/>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105574223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0D1A6E6-075E-4828-AF88-09BD0A74259E}"/>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xmlns="" id="{5F3800DB-487B-4E23-AC0B-90C9ED4E1076}"/>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xmlns="" id="{664DF5B1-3694-42A9-866E-9F1FF6CF0C01}"/>
              </a:ext>
            </a:extLst>
          </p:cNvPr>
          <p:cNvSpPr>
            <a:spLocks noGrp="1"/>
          </p:cNvSpPr>
          <p:nvPr>
            <p:ph type="dt" sz="half" idx="10"/>
          </p:nvPr>
        </p:nvSpPr>
        <p:spPr/>
        <p:txBody>
          <a:bodyPr/>
          <a:lstStyle/>
          <a:p>
            <a:fld id="{EED1C14C-A143-42F5-B247-D0E800131009}" type="datetimeFigureOut">
              <a:rPr lang="en-US" smtClean="0"/>
              <a:pPr/>
              <a:t>2/3/2021</a:t>
            </a:fld>
            <a:endParaRPr lang="en-US" dirty="0"/>
          </a:p>
        </p:txBody>
      </p:sp>
      <p:sp>
        <p:nvSpPr>
          <p:cNvPr id="5" name="Footer Placeholder 4">
            <a:extLst>
              <a:ext uri="{FF2B5EF4-FFF2-40B4-BE49-F238E27FC236}">
                <a16:creationId xmlns:a16="http://schemas.microsoft.com/office/drawing/2014/main" xmlns="" id="{54718E67-8162-4BE0-9B01-22B89A120AD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xmlns="" id="{91568B9D-A8C9-40C5-85B0-14F435F39C81}"/>
              </a:ext>
            </a:extLst>
          </p:cNvPr>
          <p:cNvSpPr>
            <a:spLocks noGrp="1"/>
          </p:cNvSpPr>
          <p:nvPr>
            <p:ph type="sldNum" sz="quarter" idx="12"/>
          </p:nvPr>
        </p:nvSpPr>
        <p:spPr/>
        <p:txBody>
          <a:bodyPr/>
          <a:lstStyle/>
          <a:p>
            <a:fld id="{5B03D32D-F1BC-4E9C-97E1-36CFF5B22341}" type="slidenum">
              <a:rPr lang="en-US" smtClean="0"/>
              <a:pPr/>
              <a:t>‹#›</a:t>
            </a:fld>
            <a:endParaRPr lang="en-US" dirty="0"/>
          </a:p>
        </p:txBody>
      </p:sp>
    </p:spTree>
    <p:extLst>
      <p:ext uri="{BB962C8B-B14F-4D97-AF65-F5344CB8AC3E}">
        <p14:creationId xmlns:p14="http://schemas.microsoft.com/office/powerpoint/2010/main" xmlns="" val="137250025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5"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169"/>
              </a:spcBef>
              <a:defRPr sz="1463"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5" y="4532528"/>
            <a:ext cx="8208912" cy="508552"/>
          </a:xfrm>
        </p:spPr>
        <p:txBody>
          <a:bodyPr lIns="72000" tIns="0" rIns="72000" bIns="0" anchor="ctr">
            <a:normAutofit/>
          </a:bodyPr>
          <a:lstStyle>
            <a:lvl1pPr marL="0" indent="0" algn="r">
              <a:buNone/>
              <a:defRPr sz="1125" b="0">
                <a:solidFill>
                  <a:schemeClr val="bg1"/>
                </a:solidFill>
              </a:defRPr>
            </a:lvl1pPr>
            <a:lvl2pPr marL="257180" indent="0" algn="ctr">
              <a:buNone/>
              <a:defRPr>
                <a:solidFill>
                  <a:schemeClr val="tx1">
                    <a:tint val="75000"/>
                  </a:schemeClr>
                </a:solidFill>
              </a:defRPr>
            </a:lvl2pPr>
            <a:lvl3pPr marL="514361" indent="0" algn="ctr">
              <a:buNone/>
              <a:defRPr>
                <a:solidFill>
                  <a:schemeClr val="tx1">
                    <a:tint val="75000"/>
                  </a:schemeClr>
                </a:solidFill>
              </a:defRPr>
            </a:lvl3pPr>
            <a:lvl4pPr marL="771541" indent="0" algn="ctr">
              <a:buNone/>
              <a:defRPr>
                <a:solidFill>
                  <a:schemeClr val="tx1">
                    <a:tint val="75000"/>
                  </a:schemeClr>
                </a:solidFill>
              </a:defRPr>
            </a:lvl4pPr>
            <a:lvl5pPr marL="1028720" indent="0" algn="ctr">
              <a:buNone/>
              <a:defRPr>
                <a:solidFill>
                  <a:schemeClr val="tx1">
                    <a:tint val="75000"/>
                  </a:schemeClr>
                </a:solidFill>
              </a:defRPr>
            </a:lvl5pPr>
            <a:lvl6pPr marL="1285901" indent="0" algn="ctr">
              <a:buNone/>
              <a:defRPr>
                <a:solidFill>
                  <a:schemeClr val="tx1">
                    <a:tint val="75000"/>
                  </a:schemeClr>
                </a:solidFill>
              </a:defRPr>
            </a:lvl6pPr>
            <a:lvl7pPr marL="1543081" indent="0" algn="ctr">
              <a:buNone/>
              <a:defRPr>
                <a:solidFill>
                  <a:schemeClr val="tx1">
                    <a:tint val="75000"/>
                  </a:schemeClr>
                </a:solidFill>
              </a:defRPr>
            </a:lvl7pPr>
            <a:lvl8pPr marL="1800261" indent="0" algn="ctr">
              <a:buNone/>
              <a:defRPr>
                <a:solidFill>
                  <a:schemeClr val="tx1">
                    <a:tint val="75000"/>
                  </a:schemeClr>
                </a:solidFill>
              </a:defRPr>
            </a:lvl8pPr>
            <a:lvl9pPr marL="2057441"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9"/>
            <a:ext cx="1512168" cy="365125"/>
          </a:xfrm>
          <a:prstGeom prst="rect">
            <a:avLst/>
          </a:prstGeom>
        </p:spPr>
        <p:txBody>
          <a:bodyPr vert="horz" lIns="91440" tIns="45720" rIns="91440" bIns="45720" rtlCol="0" anchor="ctr"/>
          <a:lstStyle>
            <a:lvl1pPr algn="r">
              <a:defRPr sz="675">
                <a:solidFill>
                  <a:schemeClr val="bg1"/>
                </a:solidFill>
              </a:defRPr>
            </a:lvl1pPr>
          </a:lstStyle>
          <a:p>
            <a:fld id="{44DF0C3E-4E99-4E2E-BA98-3D852DE6B51F}" type="datetime3">
              <a:rPr lang="en-US" smtClean="0"/>
              <a:pPr/>
              <a:t>3 February 2021</a:t>
            </a:fld>
            <a:endParaRPr lang="en-GB" dirty="0"/>
          </a:p>
        </p:txBody>
      </p:sp>
      <p:sp>
        <p:nvSpPr>
          <p:cNvPr id="17" name="Text Placeholder 16"/>
          <p:cNvSpPr>
            <a:spLocks noGrp="1"/>
          </p:cNvSpPr>
          <p:nvPr>
            <p:ph type="body" sz="quarter" idx="10" hasCustomPrompt="1"/>
          </p:nvPr>
        </p:nvSpPr>
        <p:spPr>
          <a:xfrm>
            <a:off x="3635548" y="5398049"/>
            <a:ext cx="1584176" cy="365125"/>
          </a:xfrm>
        </p:spPr>
        <p:txBody>
          <a:bodyPr>
            <a:normAutofit/>
          </a:bodyPr>
          <a:lstStyle>
            <a:lvl1pPr algn="r">
              <a:defRPr sz="675"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9"/>
            <a:ext cx="1944216" cy="365125"/>
          </a:xfrm>
        </p:spPr>
        <p:txBody>
          <a:bodyPr>
            <a:normAutofit/>
          </a:bodyPr>
          <a:lstStyle>
            <a:lvl1pPr algn="r">
              <a:defRPr sz="675"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6"/>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75"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488488" y="620688"/>
            <a:ext cx="3246314" cy="1008112"/>
          </a:xfrm>
          <a:prstGeom prst="rect">
            <a:avLst/>
          </a:prstGeom>
        </p:spPr>
      </p:pic>
    </p:spTree>
    <p:extLst>
      <p:ext uri="{BB962C8B-B14F-4D97-AF65-F5344CB8AC3E}">
        <p14:creationId xmlns:p14="http://schemas.microsoft.com/office/powerpoint/2010/main" xmlns="" val="21972052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7" y="1196755"/>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0617300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7" y="1196755"/>
            <a:ext cx="4060701" cy="4896073"/>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1" y="1196755"/>
            <a:ext cx="4060701" cy="4896073"/>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4280146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37154422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7" y="1412780"/>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8218550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7" y="1412780"/>
            <a:ext cx="4060701" cy="4680049"/>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1" y="1412780"/>
            <a:ext cx="4060701" cy="4680049"/>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8199828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22872019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7" y="5681852"/>
            <a:ext cx="8597205" cy="409469"/>
          </a:xfrm>
        </p:spPr>
        <p:txBody>
          <a:bodyPr bIns="0" anchor="b">
            <a:noAutofit/>
          </a:bodyPr>
          <a:lstStyle>
            <a:lvl1pPr>
              <a:spcBef>
                <a:spcPts val="0"/>
              </a:spcBef>
              <a:defRPr sz="45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7" y="1196754"/>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996203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7" y="5681852"/>
            <a:ext cx="8597205" cy="409469"/>
          </a:xfrm>
        </p:spPr>
        <p:txBody>
          <a:bodyPr bIns="0" anchor="b">
            <a:noAutofit/>
          </a:bodyPr>
          <a:lstStyle>
            <a:lvl1pPr>
              <a:spcBef>
                <a:spcPts val="0"/>
              </a:spcBef>
              <a:defRPr sz="450" b="0"/>
            </a:lvl1pPr>
          </a:lstStyle>
          <a:p>
            <a:pPr lvl="0"/>
            <a:r>
              <a:rPr lang="en-US" dirty="0"/>
              <a:t>Source: Xxx</a:t>
            </a:r>
          </a:p>
        </p:txBody>
      </p:sp>
      <p:sp>
        <p:nvSpPr>
          <p:cNvPr id="10" name="Text Placeholder 4"/>
          <p:cNvSpPr>
            <a:spLocks noGrp="1"/>
          </p:cNvSpPr>
          <p:nvPr>
            <p:ph type="body" sz="quarter" idx="12"/>
          </p:nvPr>
        </p:nvSpPr>
        <p:spPr>
          <a:xfrm>
            <a:off x="295277" y="1196754"/>
            <a:ext cx="4060701" cy="4487075"/>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1" y="1196754"/>
            <a:ext cx="4060701" cy="4487075"/>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2420083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7" y="5681852"/>
            <a:ext cx="8597205" cy="409469"/>
          </a:xfrm>
        </p:spPr>
        <p:txBody>
          <a:bodyPr bIns="0" anchor="b">
            <a:noAutofit/>
          </a:bodyPr>
          <a:lstStyle>
            <a:lvl1pPr>
              <a:spcBef>
                <a:spcPts val="0"/>
              </a:spcBef>
              <a:defRPr sz="450" b="0"/>
            </a:lvl1pPr>
          </a:lstStyle>
          <a:p>
            <a:pPr lvl="0"/>
            <a:r>
              <a:rPr lang="en-US" dirty="0"/>
              <a:t>Source: Xxx</a:t>
            </a:r>
          </a:p>
        </p:txBody>
      </p:sp>
    </p:spTree>
    <p:extLst>
      <p:ext uri="{BB962C8B-B14F-4D97-AF65-F5344CB8AC3E}">
        <p14:creationId xmlns:p14="http://schemas.microsoft.com/office/powerpoint/2010/main" xmlns="" val="223390179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7" y="5681852"/>
            <a:ext cx="8597205" cy="409469"/>
          </a:xfrm>
        </p:spPr>
        <p:txBody>
          <a:bodyPr bIns="0" anchor="b">
            <a:noAutofit/>
          </a:bodyPr>
          <a:lstStyle>
            <a:lvl1pPr>
              <a:spcBef>
                <a:spcPts val="0"/>
              </a:spcBef>
              <a:defRPr sz="450" b="0"/>
            </a:lvl1pPr>
          </a:lstStyle>
          <a:p>
            <a:pPr lvl="0"/>
            <a:r>
              <a:rPr lang="en-US" dirty="0"/>
              <a:t>Source: Xxx</a:t>
            </a:r>
          </a:p>
        </p:txBody>
      </p:sp>
      <p:sp>
        <p:nvSpPr>
          <p:cNvPr id="13" name="Text Placeholder 4"/>
          <p:cNvSpPr>
            <a:spLocks noGrp="1"/>
          </p:cNvSpPr>
          <p:nvPr>
            <p:ph type="body" sz="quarter" idx="14"/>
          </p:nvPr>
        </p:nvSpPr>
        <p:spPr>
          <a:xfrm>
            <a:off x="295277"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1048769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7" y="1412780"/>
            <a:ext cx="4060701" cy="4281441"/>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7" y="5681852"/>
            <a:ext cx="8597205" cy="409469"/>
          </a:xfrm>
        </p:spPr>
        <p:txBody>
          <a:bodyPr bIns="0" anchor="b">
            <a:noAutofit/>
          </a:bodyPr>
          <a:lstStyle>
            <a:lvl1pPr>
              <a:spcBef>
                <a:spcPts val="0"/>
              </a:spcBef>
              <a:defRPr sz="450" b="0"/>
            </a:lvl1pPr>
          </a:lstStyle>
          <a:p>
            <a:pPr lvl="0"/>
            <a:r>
              <a:rPr lang="en-US" dirty="0"/>
              <a:t>Source: Xxx</a:t>
            </a:r>
          </a:p>
        </p:txBody>
      </p:sp>
      <p:sp>
        <p:nvSpPr>
          <p:cNvPr id="9"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81" y="1412780"/>
            <a:ext cx="4060701" cy="4281441"/>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2057598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7" y="5681852"/>
            <a:ext cx="8597205" cy="409469"/>
          </a:xfrm>
        </p:spPr>
        <p:txBody>
          <a:bodyPr bIns="0" anchor="b">
            <a:noAutofit/>
          </a:bodyPr>
          <a:lstStyle>
            <a:lvl1pPr>
              <a:spcBef>
                <a:spcPts val="0"/>
              </a:spcBef>
              <a:defRPr sz="450" b="0"/>
            </a:lvl1pPr>
          </a:lstStyle>
          <a:p>
            <a:pPr lvl="0"/>
            <a:r>
              <a:rPr lang="en-US" dirty="0"/>
              <a:t>Source: Xxx</a:t>
            </a:r>
          </a:p>
        </p:txBody>
      </p:sp>
      <p:sp>
        <p:nvSpPr>
          <p:cNvPr id="10"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94963691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90" y="2276876"/>
            <a:ext cx="8281291" cy="936625"/>
          </a:xfrm>
          <a:prstGeom prst="rect">
            <a:avLst/>
          </a:prstGeom>
          <a:noFill/>
        </p:spPr>
        <p:txBody>
          <a:bodyPr anchor="ctr">
            <a:normAutofit/>
          </a:bodyPr>
          <a:lstStyle>
            <a:lvl1pPr>
              <a:defRPr sz="18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514"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7" y="5805265"/>
            <a:ext cx="8388425"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75" dirty="0"/>
          </a:p>
        </p:txBody>
      </p:sp>
    </p:spTree>
    <p:extLst>
      <p:ext uri="{BB962C8B-B14F-4D97-AF65-F5344CB8AC3E}">
        <p14:creationId xmlns:p14="http://schemas.microsoft.com/office/powerpoint/2010/main" xmlns="" val="154978448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2" y="1412777"/>
            <a:ext cx="2908573" cy="4680049"/>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4" name="Text Placeholder 4"/>
          <p:cNvSpPr>
            <a:spLocks noGrp="1"/>
          </p:cNvSpPr>
          <p:nvPr>
            <p:ph type="body" sz="quarter" idx="15"/>
          </p:nvPr>
        </p:nvSpPr>
        <p:spPr>
          <a:xfrm>
            <a:off x="3448447" y="1412780"/>
            <a:ext cx="5472608" cy="4680049"/>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45041009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7" y="1412777"/>
            <a:ext cx="2404517" cy="468004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5" name="Text Placeholder 4"/>
          <p:cNvSpPr>
            <a:spLocks noGrp="1"/>
          </p:cNvSpPr>
          <p:nvPr>
            <p:ph type="body" sz="quarter" idx="15"/>
          </p:nvPr>
        </p:nvSpPr>
        <p:spPr>
          <a:xfrm>
            <a:off x="323852" y="1412777"/>
            <a:ext cx="6004917" cy="4680048"/>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77242800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8" y="1412777"/>
            <a:ext cx="3921674" cy="187220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7"/>
            <a:ext cx="3921674" cy="187220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5" name="Text Placeholder 4"/>
          <p:cNvSpPr>
            <a:spLocks noGrp="1"/>
          </p:cNvSpPr>
          <p:nvPr>
            <p:ph type="body" sz="quarter" idx="16"/>
          </p:nvPr>
        </p:nvSpPr>
        <p:spPr>
          <a:xfrm>
            <a:off x="323852" y="3532181"/>
            <a:ext cx="8597205" cy="2551450"/>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326272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96954566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8" y="3645024"/>
            <a:ext cx="3921674" cy="2304256"/>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5" name="Text Placeholder 4"/>
          <p:cNvSpPr>
            <a:spLocks noGrp="1"/>
          </p:cNvSpPr>
          <p:nvPr>
            <p:ph type="body" sz="quarter" idx="16"/>
          </p:nvPr>
        </p:nvSpPr>
        <p:spPr>
          <a:xfrm>
            <a:off x="323852" y="1412776"/>
            <a:ext cx="8597205" cy="2143224"/>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91323951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9" y="3645024"/>
            <a:ext cx="2625530" cy="2304256"/>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7" name="Picture Placeholder 3"/>
          <p:cNvSpPr>
            <a:spLocks noGrp="1"/>
          </p:cNvSpPr>
          <p:nvPr>
            <p:ph type="pic" sz="quarter" idx="15" hasCustomPrompt="1"/>
          </p:nvPr>
        </p:nvSpPr>
        <p:spPr>
          <a:xfrm>
            <a:off x="3292908" y="3645024"/>
            <a:ext cx="2625530" cy="2304256"/>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8" name="Picture Placeholder 3"/>
          <p:cNvSpPr>
            <a:spLocks noGrp="1"/>
          </p:cNvSpPr>
          <p:nvPr>
            <p:ph type="pic" sz="quarter" idx="16" hasCustomPrompt="1"/>
          </p:nvPr>
        </p:nvSpPr>
        <p:spPr>
          <a:xfrm>
            <a:off x="6295528" y="3645024"/>
            <a:ext cx="2625530" cy="2304256"/>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9" name="Text Placeholder 4"/>
          <p:cNvSpPr>
            <a:spLocks noGrp="1"/>
          </p:cNvSpPr>
          <p:nvPr>
            <p:ph type="body" sz="quarter" idx="17"/>
          </p:nvPr>
        </p:nvSpPr>
        <p:spPr>
          <a:xfrm>
            <a:off x="323852" y="1412776"/>
            <a:ext cx="8597205" cy="2143224"/>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2711700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9" y="1412776"/>
            <a:ext cx="2625530" cy="2160240"/>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7" name="Picture Placeholder 3"/>
          <p:cNvSpPr>
            <a:spLocks noGrp="1"/>
          </p:cNvSpPr>
          <p:nvPr>
            <p:ph type="pic" sz="quarter" idx="15" hasCustomPrompt="1"/>
          </p:nvPr>
        </p:nvSpPr>
        <p:spPr>
          <a:xfrm>
            <a:off x="3292908" y="1412776"/>
            <a:ext cx="2625530" cy="2160240"/>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8" name="Picture Placeholder 3"/>
          <p:cNvSpPr>
            <a:spLocks noGrp="1"/>
          </p:cNvSpPr>
          <p:nvPr>
            <p:ph type="pic" sz="quarter" idx="16" hasCustomPrompt="1"/>
          </p:nvPr>
        </p:nvSpPr>
        <p:spPr>
          <a:xfrm>
            <a:off x="6295528" y="1412776"/>
            <a:ext cx="2625530" cy="2160240"/>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20" name="Text Placeholder 4"/>
          <p:cNvSpPr>
            <a:spLocks noGrp="1"/>
          </p:cNvSpPr>
          <p:nvPr>
            <p:ph type="body" sz="quarter" idx="17"/>
          </p:nvPr>
        </p:nvSpPr>
        <p:spPr>
          <a:xfrm>
            <a:off x="323852" y="3703287"/>
            <a:ext cx="8597205" cy="2380344"/>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0646759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2" y="1412777"/>
            <a:ext cx="2908573" cy="151216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9" name="Picture Placeholder 3"/>
          <p:cNvSpPr>
            <a:spLocks noGrp="1"/>
          </p:cNvSpPr>
          <p:nvPr>
            <p:ph type="pic" sz="quarter" idx="15" hasCustomPrompt="1"/>
          </p:nvPr>
        </p:nvSpPr>
        <p:spPr>
          <a:xfrm>
            <a:off x="323852" y="2975180"/>
            <a:ext cx="2908573" cy="151216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20" name="Picture Placeholder 3"/>
          <p:cNvSpPr>
            <a:spLocks noGrp="1"/>
          </p:cNvSpPr>
          <p:nvPr>
            <p:ph type="pic" sz="quarter" idx="16" hasCustomPrompt="1"/>
          </p:nvPr>
        </p:nvSpPr>
        <p:spPr>
          <a:xfrm>
            <a:off x="323852" y="4537585"/>
            <a:ext cx="2908573" cy="154109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51029445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4" y="1412777"/>
            <a:ext cx="2908573" cy="151216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9" name="Picture Placeholder 3"/>
          <p:cNvSpPr>
            <a:spLocks noGrp="1"/>
          </p:cNvSpPr>
          <p:nvPr>
            <p:ph type="pic" sz="quarter" idx="15" hasCustomPrompt="1"/>
          </p:nvPr>
        </p:nvSpPr>
        <p:spPr>
          <a:xfrm>
            <a:off x="6012484" y="2976533"/>
            <a:ext cx="2908573" cy="151216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20" name="Picture Placeholder 3"/>
          <p:cNvSpPr>
            <a:spLocks noGrp="1"/>
          </p:cNvSpPr>
          <p:nvPr>
            <p:ph type="pic" sz="quarter" idx="16" hasCustomPrompt="1"/>
          </p:nvPr>
        </p:nvSpPr>
        <p:spPr>
          <a:xfrm>
            <a:off x="6012484" y="4540292"/>
            <a:ext cx="2908573" cy="1548783"/>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0" name="Text Placeholder 4"/>
          <p:cNvSpPr>
            <a:spLocks noGrp="1"/>
          </p:cNvSpPr>
          <p:nvPr>
            <p:ph type="body" sz="quarter" idx="17"/>
          </p:nvPr>
        </p:nvSpPr>
        <p:spPr>
          <a:xfrm>
            <a:off x="323851" y="1412781"/>
            <a:ext cx="5553983" cy="4665905"/>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5857472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7"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dirty="0"/>
          </a:p>
        </p:txBody>
      </p:sp>
      <p:sp>
        <p:nvSpPr>
          <p:cNvPr id="12" name="Text Placeholder 5"/>
          <p:cNvSpPr>
            <a:spLocks noGrp="1"/>
          </p:cNvSpPr>
          <p:nvPr>
            <p:ph type="body" sz="quarter" idx="10" hasCustomPrompt="1"/>
          </p:nvPr>
        </p:nvSpPr>
        <p:spPr>
          <a:xfrm>
            <a:off x="2834999" y="2696461"/>
            <a:ext cx="3897243" cy="266322"/>
          </a:xfrm>
        </p:spPr>
        <p:txBody>
          <a:bodyPr lIns="36000" rIns="36000" anchor="ctr">
            <a:noAutofit/>
          </a:bodyPr>
          <a:lstStyle>
            <a:lvl1pPr>
              <a:defRPr sz="788">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9" y="2963910"/>
            <a:ext cx="3897243" cy="266322"/>
          </a:xfrm>
        </p:spPr>
        <p:txBody>
          <a:bodyPr lIns="36000" rIns="36000" anchor="ctr">
            <a:noAutofit/>
          </a:bodyPr>
          <a:lstStyle>
            <a:lvl1pPr>
              <a:defRPr sz="619"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619"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20250" tIns="40500" rIns="20250" bIns="40500" rtlCol="0" anchor="ctr">
            <a:noAutofit/>
          </a:bodyPr>
          <a:lstStyle/>
          <a:p>
            <a:pPr lvl="0" indent="0">
              <a:spcBef>
                <a:spcPts val="169"/>
              </a:spcBef>
              <a:buFont typeface="Arial" pitchFamily="34" charset="0"/>
              <a:buNone/>
            </a:pPr>
            <a:r>
              <a:rPr lang="en-GB" sz="619"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20" y="3494035"/>
            <a:ext cx="1440160" cy="266322"/>
          </a:xfrm>
        </p:spPr>
        <p:txBody>
          <a:bodyPr lIns="36000" rIns="36000" anchor="ctr">
            <a:noAutofit/>
          </a:bodyPr>
          <a:lstStyle>
            <a:lvl1pPr>
              <a:defRPr sz="619" b="0">
                <a:solidFill>
                  <a:schemeClr val="tx2"/>
                </a:solidFill>
              </a:defRPr>
            </a:lvl1pPr>
          </a:lstStyle>
          <a:p>
            <a:pPr lvl="0"/>
            <a:r>
              <a:rPr lang="en-US" dirty="0"/>
              <a:t>+27 (0)21 XXX XXXX</a:t>
            </a:r>
            <a:endParaRPr lang="en-GB" dirty="0"/>
          </a:p>
        </p:txBody>
      </p:sp>
      <p:sp>
        <p:nvSpPr>
          <p:cNvPr id="17" name="Rectangle 16"/>
          <p:cNvSpPr/>
          <p:nvPr userDrawn="1"/>
        </p:nvSpPr>
        <p:spPr>
          <a:xfrm>
            <a:off x="4780438" y="3497483"/>
            <a:ext cx="402674" cy="261610"/>
          </a:xfrm>
          <a:prstGeom prst="rect">
            <a:avLst/>
          </a:prstGeom>
        </p:spPr>
        <p:txBody>
          <a:bodyPr vert="horz" lIns="20250" tIns="40500" rIns="20250" bIns="40500" rtlCol="0" anchor="ctr">
            <a:noAutofit/>
          </a:bodyPr>
          <a:lstStyle/>
          <a:p>
            <a:pPr lvl="0" indent="0">
              <a:spcBef>
                <a:spcPts val="169"/>
              </a:spcBef>
              <a:buFont typeface="Arial" pitchFamily="34" charset="0"/>
              <a:buNone/>
            </a:pPr>
            <a:r>
              <a:rPr lang="en-GB" sz="619"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8" y="3768568"/>
            <a:ext cx="3734060" cy="266322"/>
          </a:xfrm>
        </p:spPr>
        <p:txBody>
          <a:bodyPr lIns="36000" rIns="36000" anchor="ctr">
            <a:noAutofit/>
          </a:bodyPr>
          <a:lstStyle>
            <a:lvl1pPr>
              <a:defRPr sz="619"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8" y="4043102"/>
            <a:ext cx="3734060" cy="261610"/>
          </a:xfrm>
          <a:prstGeom prst="rect">
            <a:avLst/>
          </a:prstGeom>
        </p:spPr>
        <p:txBody>
          <a:bodyPr vert="horz" lIns="20250" tIns="40500" rIns="20250" bIns="40500" rtlCol="0" anchor="ctr">
            <a:noAutofit/>
          </a:bodyPr>
          <a:lstStyle/>
          <a:p>
            <a:pPr lvl="0" indent="0">
              <a:spcBef>
                <a:spcPts val="169"/>
              </a:spcBef>
              <a:buFont typeface="Arial" pitchFamily="34" charset="0"/>
              <a:buNone/>
            </a:pPr>
            <a:r>
              <a:rPr lang="en-GB" sz="619"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6838" y="1835228"/>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6" y="565703"/>
            <a:ext cx="1431802" cy="369332"/>
          </a:xfrm>
          <a:prstGeom prst="rect">
            <a:avLst/>
          </a:prstGeom>
        </p:spPr>
        <p:txBody>
          <a:bodyPr wrap="none">
            <a:spAutoFit/>
          </a:bodyPr>
          <a:lstStyle/>
          <a:p>
            <a:r>
              <a:rPr kumimoji="0" lang="en-US" sz="18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1350" b="0" dirty="0">
              <a:solidFill>
                <a:schemeClr val="bg1"/>
              </a:solidFill>
            </a:endParaRPr>
          </a:p>
        </p:txBody>
      </p:sp>
      <p:sp>
        <p:nvSpPr>
          <p:cNvPr id="24" name="Text Placeholder 5"/>
          <p:cNvSpPr>
            <a:spLocks noGrp="1"/>
          </p:cNvSpPr>
          <p:nvPr>
            <p:ph type="body" sz="quarter" idx="15" hasCustomPrompt="1"/>
          </p:nvPr>
        </p:nvSpPr>
        <p:spPr>
          <a:xfrm>
            <a:off x="2834997" y="4333520"/>
            <a:ext cx="3349330" cy="266322"/>
          </a:xfrm>
        </p:spPr>
        <p:txBody>
          <a:bodyPr lIns="36000" rIns="36000" anchor="ctr">
            <a:noAutofit/>
          </a:bodyPr>
          <a:lstStyle>
            <a:lvl1pPr>
              <a:defRPr sz="619" b="0" baseline="0">
                <a:solidFill>
                  <a:schemeClr val="tx2"/>
                </a:solidFill>
              </a:defRPr>
            </a:lvl1pPr>
          </a:lstStyle>
          <a:p>
            <a:pPr lvl="0"/>
            <a:r>
              <a:rPr lang="en-ZA" dirty="0"/>
              <a:t>Fill in your address</a:t>
            </a:r>
          </a:p>
        </p:txBody>
      </p:sp>
      <p:sp>
        <p:nvSpPr>
          <p:cNvPr id="20" name="Right Triangle 19"/>
          <p:cNvSpPr/>
          <p:nvPr userDrawn="1"/>
        </p:nvSpPr>
        <p:spPr>
          <a:xfrm flipH="1">
            <a:off x="2834997" y="3284988"/>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75" dirty="0"/>
          </a:p>
        </p:txBody>
      </p:sp>
    </p:spTree>
    <p:extLst>
      <p:ext uri="{BB962C8B-B14F-4D97-AF65-F5344CB8AC3E}">
        <p14:creationId xmlns:p14="http://schemas.microsoft.com/office/powerpoint/2010/main" xmlns="" val="403967856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90" y="3861052"/>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350"/>
              </a:spcAft>
            </a:pPr>
            <a:r>
              <a:rPr lang="en-US" sz="18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75" dirty="0"/>
          </a:p>
        </p:txBody>
      </p:sp>
    </p:spTree>
    <p:extLst>
      <p:ext uri="{BB962C8B-B14F-4D97-AF65-F5344CB8AC3E}">
        <p14:creationId xmlns:p14="http://schemas.microsoft.com/office/powerpoint/2010/main" xmlns="" val="360304960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pPr/>
              <a:t>3 February 2021</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xmlns=""/>
              </a:ext>
            </a:extLst>
          </a:blip>
          <a:stretch>
            <a:fillRect/>
          </a:stretch>
        </p:blipFill>
        <p:spPr>
          <a:xfrm>
            <a:off x="488487" y="620688"/>
            <a:ext cx="3246314" cy="1008112"/>
          </a:xfrm>
          <a:prstGeom prst="rect">
            <a:avLst/>
          </a:prstGeom>
        </p:spPr>
      </p:pic>
    </p:spTree>
    <p:extLst>
      <p:ext uri="{BB962C8B-B14F-4D97-AF65-F5344CB8AC3E}">
        <p14:creationId xmlns:p14="http://schemas.microsoft.com/office/powerpoint/2010/main" xmlns="" val="156117590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4714423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47882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1574017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3268243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9621191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316597898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1369532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07175806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37799313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40811591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8047447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632220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34092325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64846199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8851809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9900924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62528765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8447089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59966569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01075181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78703419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11753078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65010444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15" y="0"/>
            <a:ext cx="9142571" cy="6858000"/>
          </a:xfrm>
          <a:prstGeom prst="rect">
            <a:avLst/>
          </a:prstGeom>
        </p:spPr>
      </p:pic>
      <p:sp>
        <p:nvSpPr>
          <p:cNvPr id="2" name="Title 1"/>
          <p:cNvSpPr>
            <a:spLocks noGrp="1"/>
          </p:cNvSpPr>
          <p:nvPr>
            <p:ph type="ctrTitle" hasCustomPrompt="1"/>
          </p:nvPr>
        </p:nvSpPr>
        <p:spPr>
          <a:xfrm>
            <a:off x="295277"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7" y="1266826"/>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354866616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D1FBA09-0B7C-46C4-AB80-3AF0454CEF1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61896DE7-C854-47CF-9C59-BB201FD4577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E9D1FEB4-73D3-46A1-91BA-4E13ACC15661}"/>
              </a:ext>
            </a:extLst>
          </p:cNvPr>
          <p:cNvSpPr>
            <a:spLocks noGrp="1"/>
          </p:cNvSpPr>
          <p:nvPr>
            <p:ph type="dt" sz="half" idx="10"/>
          </p:nvPr>
        </p:nvSpPr>
        <p:spPr/>
        <p:txBody>
          <a:bodyPr/>
          <a:lstStyle/>
          <a:p>
            <a:fld id="{573B1D1C-4177-4F85-BC3E-5C82FB777E5C}" type="datetimeFigureOut">
              <a:rPr lang="en-US" smtClean="0"/>
              <a:pPr/>
              <a:t>2/3/2021</a:t>
            </a:fld>
            <a:endParaRPr lang="en-US" dirty="0"/>
          </a:p>
        </p:txBody>
      </p:sp>
      <p:sp>
        <p:nvSpPr>
          <p:cNvPr id="5" name="Footer Placeholder 4">
            <a:extLst>
              <a:ext uri="{FF2B5EF4-FFF2-40B4-BE49-F238E27FC236}">
                <a16:creationId xmlns:a16="http://schemas.microsoft.com/office/drawing/2014/main" xmlns="" id="{B71C711D-8339-4172-B857-6312244B53C0}"/>
              </a:ext>
            </a:extLst>
          </p:cNvPr>
          <p:cNvSpPr>
            <a:spLocks noGrp="1"/>
          </p:cNvSpPr>
          <p:nvPr>
            <p:ph type="ftr" sz="quarter" idx="11"/>
          </p:nvPr>
        </p:nvSpPr>
        <p:spPr>
          <a:xfrm>
            <a:off x="4043080" y="6468150"/>
            <a:ext cx="4138573" cy="230832"/>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xmlns="" id="{3CFDADEE-0C13-4D51-957B-CC0B3EF45421}"/>
              </a:ext>
            </a:extLst>
          </p:cNvPr>
          <p:cNvSpPr>
            <a:spLocks noGrp="1"/>
          </p:cNvSpPr>
          <p:nvPr>
            <p:ph type="sldNum" sz="quarter" idx="12"/>
          </p:nvPr>
        </p:nvSpPr>
        <p:spPr/>
        <p:txBody>
          <a:bodyPr/>
          <a:lstStyle/>
          <a:p>
            <a:fld id="{BD77D2D9-0641-4FD3-9DEB-B682FF3871AC}" type="slidenum">
              <a:rPr lang="en-US" smtClean="0"/>
              <a:pPr/>
              <a:t>‹#›</a:t>
            </a:fld>
            <a:endParaRPr lang="en-US" dirty="0"/>
          </a:p>
        </p:txBody>
      </p:sp>
    </p:spTree>
    <p:extLst>
      <p:ext uri="{BB962C8B-B14F-4D97-AF65-F5344CB8AC3E}">
        <p14:creationId xmlns:p14="http://schemas.microsoft.com/office/powerpoint/2010/main" xmlns="" val="95250933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91580" y="306896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791580" y="4172487"/>
            <a:ext cx="8208912" cy="508552"/>
          </a:xfrm>
        </p:spPr>
        <p:txBody>
          <a:bodyPr lIns="72000" tIns="0" rIns="72000" bIns="0" anchor="ctr">
            <a:normAutofit/>
          </a:bodyPr>
          <a:lstStyle>
            <a:lvl1pPr marL="0" indent="0" algn="r">
              <a:buNone/>
              <a:defRPr sz="150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488324" y="5038006"/>
            <a:ext cx="1512168" cy="365125"/>
          </a:xfrm>
          <a:prstGeom prst="rect">
            <a:avLst/>
          </a:prstGeom>
        </p:spPr>
        <p:txBody>
          <a:bodyPr vert="horz" lIns="91440" tIns="45720" rIns="91440" bIns="45720" rtlCol="0" anchor="ctr"/>
          <a:lstStyle>
            <a:lvl1pPr algn="r">
              <a:defRPr sz="900">
                <a:solidFill>
                  <a:schemeClr val="bg1"/>
                </a:solidFill>
              </a:defRPr>
            </a:lvl1pPr>
          </a:lstStyle>
          <a:p>
            <a:fld id="{D467E4ED-A27C-4B6F-A48D-EBE8938796EA}" type="datetimeFigureOut">
              <a:rPr lang="en-ZA" smtClean="0"/>
              <a:pPr/>
              <a:t>2021/02/03</a:t>
            </a:fld>
            <a:endParaRPr lang="en-ZA" dirty="0"/>
          </a:p>
        </p:txBody>
      </p:sp>
      <p:sp>
        <p:nvSpPr>
          <p:cNvPr id="17" name="Text Placeholder 16"/>
          <p:cNvSpPr>
            <a:spLocks noGrp="1"/>
          </p:cNvSpPr>
          <p:nvPr>
            <p:ph type="body" sz="quarter" idx="10" hasCustomPrompt="1"/>
          </p:nvPr>
        </p:nvSpPr>
        <p:spPr>
          <a:xfrm>
            <a:off x="3959584" y="5038006"/>
            <a:ext cx="1584176" cy="365125"/>
          </a:xfrm>
        </p:spPr>
        <p:txBody>
          <a:bodyPr>
            <a:normAutofit/>
          </a:bodyPr>
          <a:lstStyle>
            <a:lvl1pPr algn="r">
              <a:defRPr sz="9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544108" y="5038006"/>
            <a:ext cx="1944216" cy="365125"/>
          </a:xfrm>
        </p:spPr>
        <p:txBody>
          <a:bodyPr>
            <a:normAutofit/>
          </a:bodyPr>
          <a:lstStyle>
            <a:lvl1pPr algn="r">
              <a:defRPr sz="9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3893263"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51593441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10" name="Text Placeholder 4"/>
          <p:cNvSpPr>
            <a:spLocks noGrp="1"/>
          </p:cNvSpPr>
          <p:nvPr>
            <p:ph type="body" sz="quarter" idx="10"/>
          </p:nvPr>
        </p:nvSpPr>
        <p:spPr>
          <a:xfrm>
            <a:off x="295276" y="1196754"/>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088295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BBB3E30-D5CC-4AC8-BB3A-53543C14974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xmlns="" val="65097795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14" name="Text Placeholder 4"/>
          <p:cNvSpPr>
            <a:spLocks noGrp="1"/>
          </p:cNvSpPr>
          <p:nvPr>
            <p:ph type="body" sz="quarter" idx="10"/>
          </p:nvPr>
        </p:nvSpPr>
        <p:spPr>
          <a:xfrm>
            <a:off x="295276"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0"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7705864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1" name="Text Placeholder 4"/>
          <p:cNvSpPr>
            <a:spLocks noGrp="1"/>
          </p:cNvSpPr>
          <p:nvPr>
            <p:ph type="body" sz="quarter" idx="10"/>
          </p:nvPr>
        </p:nvSpPr>
        <p:spPr>
          <a:xfrm>
            <a:off x="295276" y="1412778"/>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6649615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4"/>
            <a:ext cx="8281291" cy="936625"/>
          </a:xfrm>
          <a:prstGeom prst="rect">
            <a:avLst/>
          </a:prstGeom>
          <a:solidFill>
            <a:schemeClr val="tx2"/>
          </a:solid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xmlns="" val="0"/>
              </a:ext>
            </a:extLst>
          </a:blip>
          <a:srcRect/>
          <a:stretch/>
        </p:blipFill>
        <p:spPr>
          <a:xfrm>
            <a:off x="57150" y="5516882"/>
            <a:ext cx="9086850" cy="170799"/>
          </a:xfrm>
          <a:prstGeom prst="rect">
            <a:avLst/>
          </a:prstGeom>
        </p:spPr>
      </p:pic>
      <p:pic>
        <p:nvPicPr>
          <p:cNvPr id="12" name="Picture 107" descr="C:\Users\Conny\Desktop\WCG\WCG - Logo\PNG\Logos blue\WCG - Logo - General - Blue.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80"/>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4787519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p:nvSpPr>
        <p:spPr>
          <a:xfrm>
            <a:off x="1763689" y="3861050"/>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b="0" cap="none" baseline="0" dirty="0">
                <a:solidFill>
                  <a:prstClr val="white"/>
                </a:solidFill>
                <a:latin typeface="Century Gothic"/>
                <a:cs typeface="Century Gothic"/>
              </a:rPr>
              <a:t>Thank you</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xmlns="" val="0"/>
              </a:ext>
            </a:extLst>
          </a:blip>
          <a:srcRect/>
          <a:stretch/>
        </p:blipFill>
        <p:spPr>
          <a:xfrm>
            <a:off x="0" y="3223802"/>
            <a:ext cx="9144000" cy="246743"/>
          </a:xfrm>
          <a:prstGeom prst="rect">
            <a:avLst/>
          </a:prstGeom>
        </p:spPr>
      </p:pic>
    </p:spTree>
    <p:extLst>
      <p:ext uri="{BB962C8B-B14F-4D97-AF65-F5344CB8AC3E}">
        <p14:creationId xmlns:p14="http://schemas.microsoft.com/office/powerpoint/2010/main" xmlns="" val="13039641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xmlns="" val="367035574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Tree>
    <p:extLst>
      <p:ext uri="{BB962C8B-B14F-4D97-AF65-F5344CB8AC3E}">
        <p14:creationId xmlns:p14="http://schemas.microsoft.com/office/powerpoint/2010/main" xmlns="" val="77271683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0D1A6E6-075E-4828-AF88-09BD0A74259E}"/>
              </a:ext>
            </a:extLst>
          </p:cNvPr>
          <p:cNvSpPr>
            <a:spLocks noGrp="1"/>
          </p:cNvSpPr>
          <p:nvPr>
            <p:ph type="ctrTitle"/>
          </p:nvPr>
        </p:nvSpPr>
        <p:spPr>
          <a:xfrm>
            <a:off x="1143000" y="1122363"/>
            <a:ext cx="6858000" cy="2387600"/>
          </a:xfrm>
        </p:spPr>
        <p:txBody>
          <a:bodyPr anchor="b"/>
          <a:lstStyle>
            <a:lvl1pPr algn="ctr">
              <a:defRPr sz="3375"/>
            </a:lvl1pPr>
          </a:lstStyle>
          <a:p>
            <a:r>
              <a:rPr lang="en-US"/>
              <a:t>Click to edit Master title style</a:t>
            </a:r>
          </a:p>
        </p:txBody>
      </p:sp>
      <p:sp>
        <p:nvSpPr>
          <p:cNvPr id="3" name="Subtitle 2">
            <a:extLst>
              <a:ext uri="{FF2B5EF4-FFF2-40B4-BE49-F238E27FC236}">
                <a16:creationId xmlns:a16="http://schemas.microsoft.com/office/drawing/2014/main" xmlns="" id="{5F3800DB-487B-4E23-AC0B-90C9ED4E1076}"/>
              </a:ext>
            </a:extLst>
          </p:cNvPr>
          <p:cNvSpPr>
            <a:spLocks noGrp="1"/>
          </p:cNvSpPr>
          <p:nvPr>
            <p:ph type="subTitle" idx="1"/>
          </p:nvPr>
        </p:nvSpPr>
        <p:spPr>
          <a:xfrm>
            <a:off x="1143000" y="3602038"/>
            <a:ext cx="6858000" cy="1655762"/>
          </a:xfrm>
        </p:spPr>
        <p:txBody>
          <a:bodyPr/>
          <a:lstStyle>
            <a:lvl1pPr marL="0" indent="0" algn="ctr">
              <a:buNone/>
              <a:defRPr sz="1350"/>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4" name="Date Placeholder 3">
            <a:extLst>
              <a:ext uri="{FF2B5EF4-FFF2-40B4-BE49-F238E27FC236}">
                <a16:creationId xmlns:a16="http://schemas.microsoft.com/office/drawing/2014/main" xmlns="" id="{664DF5B1-3694-42A9-866E-9F1FF6CF0C01}"/>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xmlns="" id="{54718E67-8162-4BE0-9B01-22B89A120AD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xmlns="" id="{91568B9D-A8C9-40C5-85B0-14F435F39C81}"/>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xmlns="" val="118592083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D3553A7-B597-47B7-A4FD-17F7F3EBF64C}"/>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xmlns="" id="{1014EE2B-D204-412F-8327-02860EBD706B}"/>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xmlns="" id="{4D61CCF9-7935-4174-B90E-5829410DCC7D}"/>
              </a:ext>
            </a:extLst>
          </p:cNvPr>
          <p:cNvSpPr>
            <a:spLocks noGrp="1"/>
          </p:cNvSpPr>
          <p:nvPr>
            <p:ph type="dt" sz="half" idx="10"/>
          </p:nvPr>
        </p:nvSpPr>
        <p:spPr/>
        <p:txBody>
          <a:bodyPr/>
          <a:lstStyle/>
          <a:p>
            <a:fld id="{2D10988C-77FE-486A-9A1A-093B26723D17}" type="datetimeFigureOut">
              <a:rPr lang="en-US" smtClean="0">
                <a:solidFill>
                  <a:prstClr val="black">
                    <a:tint val="75000"/>
                  </a:prstClr>
                </a:solidFill>
              </a:rPr>
              <a:pPr/>
              <a:t>2/3/2021</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xmlns="" id="{C7D3BE6E-E208-4D02-BF69-6AE24A03B7DC}"/>
              </a:ext>
            </a:extLst>
          </p:cNvPr>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xmlns="" id="{37C9B712-C68C-4E68-95CE-B83C65F71B65}"/>
              </a:ext>
            </a:extLst>
          </p:cNvPr>
          <p:cNvSpPr>
            <a:spLocks noGrp="1"/>
          </p:cNvSpPr>
          <p:nvPr>
            <p:ph type="sldNum" sz="quarter" idx="12"/>
          </p:nvPr>
        </p:nvSpPr>
        <p:spPr/>
        <p:txBody>
          <a:bodyPr/>
          <a:lstStyle/>
          <a:p>
            <a:fld id="{C5559059-0FB8-44D9-B59D-F3BB29F483F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xmlns="" val="342496168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2273D32-A829-4FA2-BB0D-371DF32F5E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0FE92524-4085-4BD1-A487-1A0BF51D088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E2E9F834-868A-4E76-B549-948AC2E96EE8}"/>
              </a:ext>
            </a:extLst>
          </p:cNvPr>
          <p:cNvSpPr>
            <a:spLocks noGrp="1"/>
          </p:cNvSpPr>
          <p:nvPr>
            <p:ph type="dt" sz="half" idx="10"/>
          </p:nvPr>
        </p:nvSpPr>
        <p:spPr/>
        <p:txBody>
          <a:bodyPr/>
          <a:lstStyle/>
          <a:p>
            <a:fld id="{2D10988C-77FE-486A-9A1A-093B26723D17}" type="datetimeFigureOut">
              <a:rPr lang="en-US" smtClean="0">
                <a:solidFill>
                  <a:prstClr val="black">
                    <a:tint val="75000"/>
                  </a:prstClr>
                </a:solidFill>
              </a:rPr>
              <a:pPr/>
              <a:t>2/3/2021</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xmlns="" id="{A337C8DA-32A9-48FB-AC04-EC7E5E373270}"/>
              </a:ext>
            </a:extLst>
          </p:cNvPr>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xmlns="" id="{71FE885A-A56F-4DD3-A65A-56AA3CBE05BD}"/>
              </a:ext>
            </a:extLst>
          </p:cNvPr>
          <p:cNvSpPr>
            <a:spLocks noGrp="1"/>
          </p:cNvSpPr>
          <p:nvPr>
            <p:ph type="sldNum" sz="quarter" idx="12"/>
          </p:nvPr>
        </p:nvSpPr>
        <p:spPr/>
        <p:txBody>
          <a:bodyPr/>
          <a:lstStyle/>
          <a:p>
            <a:fld id="{C5559059-0FB8-44D9-B59D-F3BB29F483F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xmlns="" val="280784351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51E8C52-0B47-4981-B0AE-9B04344CC45E}"/>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xmlns="" id="{9A6ED98D-12D3-47D3-A9D9-1454EA4E77B0}"/>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292812A1-276E-4D86-93EF-01A3840C9D84}"/>
              </a:ext>
            </a:extLst>
          </p:cNvPr>
          <p:cNvSpPr>
            <a:spLocks noGrp="1"/>
          </p:cNvSpPr>
          <p:nvPr>
            <p:ph type="dt" sz="half" idx="10"/>
          </p:nvPr>
        </p:nvSpPr>
        <p:spPr/>
        <p:txBody>
          <a:bodyPr/>
          <a:lstStyle/>
          <a:p>
            <a:fld id="{2D10988C-77FE-486A-9A1A-093B26723D17}" type="datetimeFigureOut">
              <a:rPr lang="en-US" smtClean="0">
                <a:solidFill>
                  <a:prstClr val="black">
                    <a:tint val="75000"/>
                  </a:prstClr>
                </a:solidFill>
              </a:rPr>
              <a:pPr/>
              <a:t>2/3/2021</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xmlns="" id="{96166424-1153-479B-AB23-C6E35DCC1D9F}"/>
              </a:ext>
            </a:extLst>
          </p:cNvPr>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xmlns="" id="{C5E005A1-97BD-46A0-BF37-7D481EF6CF44}"/>
              </a:ext>
            </a:extLst>
          </p:cNvPr>
          <p:cNvSpPr>
            <a:spLocks noGrp="1"/>
          </p:cNvSpPr>
          <p:nvPr>
            <p:ph type="sldNum" sz="quarter" idx="12"/>
          </p:nvPr>
        </p:nvSpPr>
        <p:spPr/>
        <p:txBody>
          <a:bodyPr/>
          <a:lstStyle/>
          <a:p>
            <a:fld id="{C5559059-0FB8-44D9-B59D-F3BB29F483F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xmlns="" val="257139581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92E7C75-32DB-4DA2-89D8-018BEE74B0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3649534F-2C39-40C2-AA30-B2171FE934E2}"/>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F47FD145-63DC-46DE-928F-C0E01CF6EE1D}"/>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xmlns="" id="{9D136FAF-967D-4062-BC94-A3F143184B8E}"/>
              </a:ext>
            </a:extLst>
          </p:cNvPr>
          <p:cNvSpPr>
            <a:spLocks noGrp="1"/>
          </p:cNvSpPr>
          <p:nvPr>
            <p:ph type="dt" sz="half" idx="10"/>
          </p:nvPr>
        </p:nvSpPr>
        <p:spPr/>
        <p:txBody>
          <a:bodyPr/>
          <a:lstStyle/>
          <a:p>
            <a:fld id="{2D10988C-77FE-486A-9A1A-093B26723D17}" type="datetimeFigureOut">
              <a:rPr lang="en-US" smtClean="0">
                <a:solidFill>
                  <a:prstClr val="black">
                    <a:tint val="75000"/>
                  </a:prstClr>
                </a:solidFill>
              </a:rPr>
              <a:pPr/>
              <a:t>2/3/2021</a:t>
            </a:fld>
            <a:endParaRPr lang="en-US" dirty="0">
              <a:solidFill>
                <a:prstClr val="black">
                  <a:tint val="75000"/>
                </a:prstClr>
              </a:solidFill>
            </a:endParaRPr>
          </a:p>
        </p:txBody>
      </p:sp>
      <p:sp>
        <p:nvSpPr>
          <p:cNvPr id="6" name="Footer Placeholder 5">
            <a:extLst>
              <a:ext uri="{FF2B5EF4-FFF2-40B4-BE49-F238E27FC236}">
                <a16:creationId xmlns:a16="http://schemas.microsoft.com/office/drawing/2014/main" xmlns="" id="{2A0034F5-2D62-4F62-92D9-1B2618468B0D}"/>
              </a:ext>
            </a:extLst>
          </p:cNvPr>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a:extLst>
              <a:ext uri="{FF2B5EF4-FFF2-40B4-BE49-F238E27FC236}">
                <a16:creationId xmlns:a16="http://schemas.microsoft.com/office/drawing/2014/main" xmlns="" id="{DF2957D0-D88F-4CE5-9490-491985D7671E}"/>
              </a:ext>
            </a:extLst>
          </p:cNvPr>
          <p:cNvSpPr>
            <a:spLocks noGrp="1"/>
          </p:cNvSpPr>
          <p:nvPr>
            <p:ph type="sldNum" sz="quarter" idx="12"/>
          </p:nvPr>
        </p:nvSpPr>
        <p:spPr/>
        <p:txBody>
          <a:bodyPr/>
          <a:lstStyle/>
          <a:p>
            <a:fld id="{C5559059-0FB8-44D9-B59D-F3BB29F483F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xmlns="" val="382031005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8F5349D-ECED-4CD0-8FD3-E05D7B3577C9}"/>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17EC8AC6-0DC7-4181-ADB9-3F9DA4FA7C9B}"/>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4969D608-E188-40C5-A582-C2D1E8CCD308}"/>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8FAF67D4-FB07-4C6F-B419-E9EFDE767CC7}"/>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BA679916-F460-4DF1-9E53-848928ABA38D}"/>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xmlns="" id="{E0CBBFEB-5BF6-4B23-8D57-0C8491546D05}"/>
              </a:ext>
            </a:extLst>
          </p:cNvPr>
          <p:cNvSpPr>
            <a:spLocks noGrp="1"/>
          </p:cNvSpPr>
          <p:nvPr>
            <p:ph type="dt" sz="half" idx="10"/>
          </p:nvPr>
        </p:nvSpPr>
        <p:spPr/>
        <p:txBody>
          <a:bodyPr/>
          <a:lstStyle/>
          <a:p>
            <a:fld id="{2D10988C-77FE-486A-9A1A-093B26723D17}" type="datetimeFigureOut">
              <a:rPr lang="en-US" smtClean="0">
                <a:solidFill>
                  <a:prstClr val="black">
                    <a:tint val="75000"/>
                  </a:prstClr>
                </a:solidFill>
              </a:rPr>
              <a:pPr/>
              <a:t>2/3/2021</a:t>
            </a:fld>
            <a:endParaRPr lang="en-US" dirty="0">
              <a:solidFill>
                <a:prstClr val="black">
                  <a:tint val="75000"/>
                </a:prstClr>
              </a:solidFill>
            </a:endParaRPr>
          </a:p>
        </p:txBody>
      </p:sp>
      <p:sp>
        <p:nvSpPr>
          <p:cNvPr id="8" name="Footer Placeholder 7">
            <a:extLst>
              <a:ext uri="{FF2B5EF4-FFF2-40B4-BE49-F238E27FC236}">
                <a16:creationId xmlns:a16="http://schemas.microsoft.com/office/drawing/2014/main" xmlns="" id="{29FA1E04-B0AC-4AE7-A39D-36D854ACCB8F}"/>
              </a:ext>
            </a:extLst>
          </p:cNvPr>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a:extLst>
              <a:ext uri="{FF2B5EF4-FFF2-40B4-BE49-F238E27FC236}">
                <a16:creationId xmlns:a16="http://schemas.microsoft.com/office/drawing/2014/main" xmlns="" id="{E1C06039-B5D2-4BAF-B916-78B342CC28D3}"/>
              </a:ext>
            </a:extLst>
          </p:cNvPr>
          <p:cNvSpPr>
            <a:spLocks noGrp="1"/>
          </p:cNvSpPr>
          <p:nvPr>
            <p:ph type="sldNum" sz="quarter" idx="12"/>
          </p:nvPr>
        </p:nvSpPr>
        <p:spPr/>
        <p:txBody>
          <a:bodyPr/>
          <a:lstStyle/>
          <a:p>
            <a:fld id="{C5559059-0FB8-44D9-B59D-F3BB29F483F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xmlns="" val="240660898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0C53740-0EF2-4D44-A46F-7740ACA0B7F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54CD8BCD-CA49-4A03-AAFE-431CE1DBBA04}"/>
              </a:ext>
            </a:extLst>
          </p:cNvPr>
          <p:cNvSpPr>
            <a:spLocks noGrp="1"/>
          </p:cNvSpPr>
          <p:nvPr>
            <p:ph type="dt" sz="half" idx="10"/>
          </p:nvPr>
        </p:nvSpPr>
        <p:spPr/>
        <p:txBody>
          <a:bodyPr/>
          <a:lstStyle/>
          <a:p>
            <a:fld id="{2D10988C-77FE-486A-9A1A-093B26723D17}" type="datetimeFigureOut">
              <a:rPr lang="en-US" smtClean="0">
                <a:solidFill>
                  <a:prstClr val="black">
                    <a:tint val="75000"/>
                  </a:prstClr>
                </a:solidFill>
              </a:rPr>
              <a:pPr/>
              <a:t>2/3/2021</a:t>
            </a:fld>
            <a:endParaRPr lang="en-US" dirty="0">
              <a:solidFill>
                <a:prstClr val="black">
                  <a:tint val="75000"/>
                </a:prstClr>
              </a:solidFill>
            </a:endParaRPr>
          </a:p>
        </p:txBody>
      </p:sp>
      <p:sp>
        <p:nvSpPr>
          <p:cNvPr id="4" name="Footer Placeholder 3">
            <a:extLst>
              <a:ext uri="{FF2B5EF4-FFF2-40B4-BE49-F238E27FC236}">
                <a16:creationId xmlns:a16="http://schemas.microsoft.com/office/drawing/2014/main" xmlns="" id="{CB9D0D7B-40B7-4473-809E-A8C95E858D62}"/>
              </a:ext>
            </a:extLst>
          </p:cNvPr>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a:extLst>
              <a:ext uri="{FF2B5EF4-FFF2-40B4-BE49-F238E27FC236}">
                <a16:creationId xmlns:a16="http://schemas.microsoft.com/office/drawing/2014/main" xmlns="" id="{69852D9F-2002-4A9A-81A0-5E7DB4A5BC7A}"/>
              </a:ext>
            </a:extLst>
          </p:cNvPr>
          <p:cNvSpPr>
            <a:spLocks noGrp="1"/>
          </p:cNvSpPr>
          <p:nvPr>
            <p:ph type="sldNum" sz="quarter" idx="12"/>
          </p:nvPr>
        </p:nvSpPr>
        <p:spPr/>
        <p:txBody>
          <a:bodyPr/>
          <a:lstStyle/>
          <a:p>
            <a:fld id="{C5559059-0FB8-44D9-B59D-F3BB29F483F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xmlns="" val="56798969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B293E917-4179-4C4B-A2F5-BED49D2F31F7}"/>
              </a:ext>
            </a:extLst>
          </p:cNvPr>
          <p:cNvSpPr>
            <a:spLocks noGrp="1"/>
          </p:cNvSpPr>
          <p:nvPr>
            <p:ph type="dt" sz="half" idx="10"/>
          </p:nvPr>
        </p:nvSpPr>
        <p:spPr/>
        <p:txBody>
          <a:bodyPr/>
          <a:lstStyle/>
          <a:p>
            <a:fld id="{2D10988C-77FE-486A-9A1A-093B26723D17}" type="datetimeFigureOut">
              <a:rPr lang="en-US" smtClean="0">
                <a:solidFill>
                  <a:prstClr val="black">
                    <a:tint val="75000"/>
                  </a:prstClr>
                </a:solidFill>
              </a:rPr>
              <a:pPr/>
              <a:t>2/3/2021</a:t>
            </a:fld>
            <a:endParaRPr lang="en-US" dirty="0">
              <a:solidFill>
                <a:prstClr val="black">
                  <a:tint val="75000"/>
                </a:prstClr>
              </a:solidFill>
            </a:endParaRPr>
          </a:p>
        </p:txBody>
      </p:sp>
      <p:sp>
        <p:nvSpPr>
          <p:cNvPr id="3" name="Footer Placeholder 2">
            <a:extLst>
              <a:ext uri="{FF2B5EF4-FFF2-40B4-BE49-F238E27FC236}">
                <a16:creationId xmlns:a16="http://schemas.microsoft.com/office/drawing/2014/main" xmlns="" id="{FBA3BA9F-5CD5-4356-9932-2BF5309CDFDA}"/>
              </a:ext>
            </a:extLst>
          </p:cNvPr>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a:extLst>
              <a:ext uri="{FF2B5EF4-FFF2-40B4-BE49-F238E27FC236}">
                <a16:creationId xmlns:a16="http://schemas.microsoft.com/office/drawing/2014/main" xmlns="" id="{7E702771-A479-4C85-92D8-C878384209B3}"/>
              </a:ext>
            </a:extLst>
          </p:cNvPr>
          <p:cNvSpPr>
            <a:spLocks noGrp="1"/>
          </p:cNvSpPr>
          <p:nvPr>
            <p:ph type="sldNum" sz="quarter" idx="12"/>
          </p:nvPr>
        </p:nvSpPr>
        <p:spPr/>
        <p:txBody>
          <a:bodyPr/>
          <a:lstStyle/>
          <a:p>
            <a:fld id="{C5559059-0FB8-44D9-B59D-F3BB29F483F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xmlns="" val="11500045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D39D7C9-827B-4A37-A5B1-DB21C8C583F2}"/>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xmlns="" id="{2ADA6788-657E-4335-A1B9-4393686F8199}"/>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889FA36E-3108-4566-82F9-9D35222AF9EB}"/>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xmlns="" id="{7E6A6F5F-51C3-4A78-AAEB-2BBE27240635}"/>
              </a:ext>
            </a:extLst>
          </p:cNvPr>
          <p:cNvSpPr>
            <a:spLocks noGrp="1"/>
          </p:cNvSpPr>
          <p:nvPr>
            <p:ph type="dt" sz="half" idx="10"/>
          </p:nvPr>
        </p:nvSpPr>
        <p:spPr/>
        <p:txBody>
          <a:bodyPr/>
          <a:lstStyle/>
          <a:p>
            <a:fld id="{2D10988C-77FE-486A-9A1A-093B26723D17}" type="datetimeFigureOut">
              <a:rPr lang="en-US" smtClean="0">
                <a:solidFill>
                  <a:prstClr val="black">
                    <a:tint val="75000"/>
                  </a:prstClr>
                </a:solidFill>
              </a:rPr>
              <a:pPr/>
              <a:t>2/3/2021</a:t>
            </a:fld>
            <a:endParaRPr lang="en-US" dirty="0">
              <a:solidFill>
                <a:prstClr val="black">
                  <a:tint val="75000"/>
                </a:prstClr>
              </a:solidFill>
            </a:endParaRPr>
          </a:p>
        </p:txBody>
      </p:sp>
      <p:sp>
        <p:nvSpPr>
          <p:cNvPr id="6" name="Footer Placeholder 5">
            <a:extLst>
              <a:ext uri="{FF2B5EF4-FFF2-40B4-BE49-F238E27FC236}">
                <a16:creationId xmlns:a16="http://schemas.microsoft.com/office/drawing/2014/main" xmlns="" id="{010894F5-BC25-4136-A848-22A52FB7FCE5}"/>
              </a:ext>
            </a:extLst>
          </p:cNvPr>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a:extLst>
              <a:ext uri="{FF2B5EF4-FFF2-40B4-BE49-F238E27FC236}">
                <a16:creationId xmlns:a16="http://schemas.microsoft.com/office/drawing/2014/main" xmlns="" id="{3C921D54-0860-4E02-9DAA-94054ACEE862}"/>
              </a:ext>
            </a:extLst>
          </p:cNvPr>
          <p:cNvSpPr>
            <a:spLocks noGrp="1"/>
          </p:cNvSpPr>
          <p:nvPr>
            <p:ph type="sldNum" sz="quarter" idx="12"/>
          </p:nvPr>
        </p:nvSpPr>
        <p:spPr/>
        <p:txBody>
          <a:bodyPr/>
          <a:lstStyle/>
          <a:p>
            <a:fld id="{C5559059-0FB8-44D9-B59D-F3BB29F483F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xmlns="" val="194180575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B7971CE-D3C7-44DC-B607-ADD26173665A}"/>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xmlns="" id="{D169D804-2D10-40AD-9F27-28ABEE3BDF15}"/>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a16="http://schemas.microsoft.com/office/drawing/2014/main" xmlns="" id="{5C614441-09D9-4E9E-B9D7-DA9504C93EEF}"/>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xmlns="" id="{DB93F14A-7B26-40BA-B6E6-9A5D9A32DF5F}"/>
              </a:ext>
            </a:extLst>
          </p:cNvPr>
          <p:cNvSpPr>
            <a:spLocks noGrp="1"/>
          </p:cNvSpPr>
          <p:nvPr>
            <p:ph type="dt" sz="half" idx="10"/>
          </p:nvPr>
        </p:nvSpPr>
        <p:spPr/>
        <p:txBody>
          <a:bodyPr/>
          <a:lstStyle/>
          <a:p>
            <a:fld id="{2D10988C-77FE-486A-9A1A-093B26723D17}" type="datetimeFigureOut">
              <a:rPr lang="en-US" smtClean="0">
                <a:solidFill>
                  <a:prstClr val="black">
                    <a:tint val="75000"/>
                  </a:prstClr>
                </a:solidFill>
              </a:rPr>
              <a:pPr/>
              <a:t>2/3/2021</a:t>
            </a:fld>
            <a:endParaRPr lang="en-US" dirty="0">
              <a:solidFill>
                <a:prstClr val="black">
                  <a:tint val="75000"/>
                </a:prstClr>
              </a:solidFill>
            </a:endParaRPr>
          </a:p>
        </p:txBody>
      </p:sp>
      <p:sp>
        <p:nvSpPr>
          <p:cNvPr id="6" name="Footer Placeholder 5">
            <a:extLst>
              <a:ext uri="{FF2B5EF4-FFF2-40B4-BE49-F238E27FC236}">
                <a16:creationId xmlns:a16="http://schemas.microsoft.com/office/drawing/2014/main" xmlns="" id="{DF675880-D2E8-48E9-9631-93B3EAB7E57E}"/>
              </a:ext>
            </a:extLst>
          </p:cNvPr>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a:extLst>
              <a:ext uri="{FF2B5EF4-FFF2-40B4-BE49-F238E27FC236}">
                <a16:creationId xmlns:a16="http://schemas.microsoft.com/office/drawing/2014/main" xmlns="" id="{5C657CBB-401C-4035-89BA-12A08B36171E}"/>
              </a:ext>
            </a:extLst>
          </p:cNvPr>
          <p:cNvSpPr>
            <a:spLocks noGrp="1"/>
          </p:cNvSpPr>
          <p:nvPr>
            <p:ph type="sldNum" sz="quarter" idx="12"/>
          </p:nvPr>
        </p:nvSpPr>
        <p:spPr/>
        <p:txBody>
          <a:bodyPr/>
          <a:lstStyle/>
          <a:p>
            <a:fld id="{C5559059-0FB8-44D9-B59D-F3BB29F483F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xmlns="" val="352066612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7BA568E-9FEE-41E3-AED6-7BB6CBC74D2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DF16387C-CD27-4FAB-BBE9-87EBC21D7E1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420449B5-5561-4B5B-BE0B-795FBD6F0664}"/>
              </a:ext>
            </a:extLst>
          </p:cNvPr>
          <p:cNvSpPr>
            <a:spLocks noGrp="1"/>
          </p:cNvSpPr>
          <p:nvPr>
            <p:ph type="dt" sz="half" idx="10"/>
          </p:nvPr>
        </p:nvSpPr>
        <p:spPr/>
        <p:txBody>
          <a:bodyPr/>
          <a:lstStyle/>
          <a:p>
            <a:fld id="{2D10988C-77FE-486A-9A1A-093B26723D17}" type="datetimeFigureOut">
              <a:rPr lang="en-US" smtClean="0">
                <a:solidFill>
                  <a:prstClr val="black">
                    <a:tint val="75000"/>
                  </a:prstClr>
                </a:solidFill>
              </a:rPr>
              <a:pPr/>
              <a:t>2/3/2021</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xmlns="" id="{47690D62-B407-49D3-B859-5940A47604CC}"/>
              </a:ext>
            </a:extLst>
          </p:cNvPr>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xmlns="" id="{207C450C-A1C2-4028-B70F-9C1B99BF93B2}"/>
              </a:ext>
            </a:extLst>
          </p:cNvPr>
          <p:cNvSpPr>
            <a:spLocks noGrp="1"/>
          </p:cNvSpPr>
          <p:nvPr>
            <p:ph type="sldNum" sz="quarter" idx="12"/>
          </p:nvPr>
        </p:nvSpPr>
        <p:spPr/>
        <p:txBody>
          <a:bodyPr/>
          <a:lstStyle/>
          <a:p>
            <a:fld id="{C5559059-0FB8-44D9-B59D-F3BB29F483F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xmlns="" val="109934282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B21F7757-D68B-4C6F-86B4-44D1D1EB6781}"/>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9DCFCB17-D469-4F73-88CD-7C9CFFB46C47}"/>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D78F9878-AC4A-4839-A8FB-69212DC0ED99}"/>
              </a:ext>
            </a:extLst>
          </p:cNvPr>
          <p:cNvSpPr>
            <a:spLocks noGrp="1"/>
          </p:cNvSpPr>
          <p:nvPr>
            <p:ph type="dt" sz="half" idx="10"/>
          </p:nvPr>
        </p:nvSpPr>
        <p:spPr/>
        <p:txBody>
          <a:bodyPr/>
          <a:lstStyle/>
          <a:p>
            <a:fld id="{2D10988C-77FE-486A-9A1A-093B26723D17}" type="datetimeFigureOut">
              <a:rPr lang="en-US" smtClean="0">
                <a:solidFill>
                  <a:prstClr val="black">
                    <a:tint val="75000"/>
                  </a:prstClr>
                </a:solidFill>
              </a:rPr>
              <a:pPr/>
              <a:t>2/3/2021</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xmlns="" id="{8BD64DB4-90E2-41FE-BF03-9EC6F529DFBD}"/>
              </a:ext>
            </a:extLst>
          </p:cNvPr>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xmlns="" id="{370913AB-9D0B-49DA-98EB-613B1A99015F}"/>
              </a:ext>
            </a:extLst>
          </p:cNvPr>
          <p:cNvSpPr>
            <a:spLocks noGrp="1"/>
          </p:cNvSpPr>
          <p:nvPr>
            <p:ph type="sldNum" sz="quarter" idx="12"/>
          </p:nvPr>
        </p:nvSpPr>
        <p:spPr/>
        <p:txBody>
          <a:bodyPr/>
          <a:lstStyle/>
          <a:p>
            <a:fld id="{C5559059-0FB8-44D9-B59D-F3BB29F483F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xmlns="" val="39583917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037444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150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7"/>
            <a:ext cx="1512168" cy="365125"/>
          </a:xfrm>
          <a:prstGeom prst="rect">
            <a:avLst/>
          </a:prstGeom>
        </p:spPr>
        <p:txBody>
          <a:bodyPr vert="horz" lIns="91440" tIns="45720" rIns="91440" bIns="45720" rtlCol="0" anchor="ctr"/>
          <a:lstStyle>
            <a:lvl1pPr algn="r">
              <a:defRPr sz="900">
                <a:solidFill>
                  <a:schemeClr val="bg1"/>
                </a:solidFill>
              </a:defRPr>
            </a:lvl1pPr>
          </a:lstStyle>
          <a:p>
            <a:fld id="{44DF0C3E-4E99-4E2E-BA98-3D852DE6B51F}" type="datetime3">
              <a:rPr lang="en-US" smtClean="0"/>
              <a:pPr/>
              <a:t>3 February 2021</a:t>
            </a:fld>
            <a:endParaRPr lang="en-GB" dirty="0"/>
          </a:p>
        </p:txBody>
      </p:sp>
      <p:sp>
        <p:nvSpPr>
          <p:cNvPr id="17" name="Text Placeholder 16"/>
          <p:cNvSpPr>
            <a:spLocks noGrp="1"/>
          </p:cNvSpPr>
          <p:nvPr>
            <p:ph type="body" sz="quarter" idx="10" hasCustomPrompt="1"/>
          </p:nvPr>
        </p:nvSpPr>
        <p:spPr>
          <a:xfrm>
            <a:off x="3635548" y="5398047"/>
            <a:ext cx="1584176" cy="365125"/>
          </a:xfrm>
        </p:spPr>
        <p:txBody>
          <a:bodyPr>
            <a:normAutofit/>
          </a:bodyPr>
          <a:lstStyle>
            <a:lvl1pPr algn="r">
              <a:defRPr sz="9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7"/>
            <a:ext cx="1944216" cy="365125"/>
          </a:xfrm>
        </p:spPr>
        <p:txBody>
          <a:bodyPr>
            <a:normAutofit/>
          </a:bodyPr>
          <a:lstStyle>
            <a:lvl1pPr algn="r">
              <a:defRPr sz="900"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4"/>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xmlns=""/>
              </a:ext>
            </a:extLst>
          </a:blip>
          <a:stretch>
            <a:fillRect/>
          </a:stretch>
        </p:blipFill>
        <p:spPr>
          <a:xfrm>
            <a:off x="488488" y="620688"/>
            <a:ext cx="3246314" cy="1008112"/>
          </a:xfrm>
          <a:prstGeom prst="rect">
            <a:avLst/>
          </a:prstGeom>
        </p:spPr>
      </p:pic>
    </p:spTree>
    <p:extLst>
      <p:ext uri="{BB962C8B-B14F-4D97-AF65-F5344CB8AC3E}">
        <p14:creationId xmlns:p14="http://schemas.microsoft.com/office/powerpoint/2010/main" xmlns="" val="370359944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Text Placeholder 4"/>
          <p:cNvSpPr>
            <a:spLocks noGrp="1"/>
          </p:cNvSpPr>
          <p:nvPr>
            <p:ph type="body" sz="quarter" idx="10"/>
          </p:nvPr>
        </p:nvSpPr>
        <p:spPr>
          <a:xfrm>
            <a:off x="295276" y="1196754"/>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3988881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6"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0"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1302206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414684854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6" y="1412778"/>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544027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6"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0"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0562307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264213678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6"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649041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2"/>
          </p:nvPr>
        </p:nvSpPr>
        <p:spPr>
          <a:xfrm>
            <a:off x="295276"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0"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48142698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Tree>
    <p:extLst>
      <p:ext uri="{BB962C8B-B14F-4D97-AF65-F5344CB8AC3E}">
        <p14:creationId xmlns:p14="http://schemas.microsoft.com/office/powerpoint/2010/main" xmlns="" val="302386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3" name="Text Placeholder 4"/>
          <p:cNvSpPr>
            <a:spLocks noGrp="1"/>
          </p:cNvSpPr>
          <p:nvPr>
            <p:ph type="body" sz="quarter" idx="14"/>
          </p:nvPr>
        </p:nvSpPr>
        <p:spPr>
          <a:xfrm>
            <a:off x="295276"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9707362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6"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80"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0135272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4974912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4"/>
            <a:ext cx="8281291" cy="936625"/>
          </a:xfrm>
          <a:prstGeom prst="rect">
            <a:avLst/>
          </a:prstGeom>
          <a:no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179513"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7"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24029629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1" y="1412775"/>
            <a:ext cx="2908573" cy="4680049"/>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Text Placeholder 4"/>
          <p:cNvSpPr>
            <a:spLocks noGrp="1"/>
          </p:cNvSpPr>
          <p:nvPr>
            <p:ph type="body" sz="quarter" idx="15"/>
          </p:nvPr>
        </p:nvSpPr>
        <p:spPr>
          <a:xfrm>
            <a:off x="3448447" y="1412778"/>
            <a:ext cx="5472608"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5902136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7" y="1412776"/>
            <a:ext cx="2404517" cy="468004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5"/>
          </p:nvPr>
        </p:nvSpPr>
        <p:spPr>
          <a:xfrm>
            <a:off x="323851" y="1412777"/>
            <a:ext cx="6004917" cy="4680048"/>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06422146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3532181"/>
            <a:ext cx="8597205" cy="2551450"/>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9172890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13759505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Text Placeholder 4"/>
          <p:cNvSpPr>
            <a:spLocks noGrp="1"/>
          </p:cNvSpPr>
          <p:nvPr>
            <p:ph type="body" sz="quarter" idx="17"/>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7373492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Text Placeholder 4"/>
          <p:cNvSpPr>
            <a:spLocks noGrp="1"/>
          </p:cNvSpPr>
          <p:nvPr>
            <p:ph type="body" sz="quarter" idx="17"/>
          </p:nvPr>
        </p:nvSpPr>
        <p:spPr>
          <a:xfrm>
            <a:off x="323851" y="3703287"/>
            <a:ext cx="8597205" cy="238034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7839730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1"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323851" y="2975180"/>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323851" y="4537584"/>
            <a:ext cx="2908573" cy="154109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2458914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3"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6012483" y="2976533"/>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6012483" y="4540291"/>
            <a:ext cx="2908573" cy="1548783"/>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0" name="Text Placeholder 4"/>
          <p:cNvSpPr>
            <a:spLocks noGrp="1"/>
          </p:cNvSpPr>
          <p:nvPr>
            <p:ph type="body" sz="quarter" idx="17"/>
          </p:nvPr>
        </p:nvSpPr>
        <p:spPr>
          <a:xfrm>
            <a:off x="323851" y="1412779"/>
            <a:ext cx="5553983" cy="466590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1110437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Back Slide &quot;Thank You&quot;">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2" name="Text Placeholder 5"/>
          <p:cNvSpPr>
            <a:spLocks noGrp="1"/>
          </p:cNvSpPr>
          <p:nvPr>
            <p:ph type="body" sz="quarter" idx="10" hasCustomPrompt="1"/>
          </p:nvPr>
        </p:nvSpPr>
        <p:spPr>
          <a:xfrm>
            <a:off x="2834998" y="2696461"/>
            <a:ext cx="3897243" cy="266322"/>
          </a:xfrm>
        </p:spPr>
        <p:txBody>
          <a:bodyPr lIns="36000" rIns="36000" anchor="ctr">
            <a:noAutofit/>
          </a:bodyPr>
          <a:lstStyle>
            <a:lvl1pPr>
              <a:defRPr sz="105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8" y="2963910"/>
            <a:ext cx="3897243" cy="266322"/>
          </a:xfrm>
        </p:spPr>
        <p:txBody>
          <a:bodyPr lIns="36000" rIns="36000" anchor="ctr">
            <a:noAutofit/>
          </a:bodyPr>
          <a:lstStyle>
            <a:lvl1pPr>
              <a:defRPr sz="825"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2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7" name="Rectangle 16"/>
          <p:cNvSpPr/>
          <p:nvPr userDrawn="1"/>
        </p:nvSpPr>
        <p:spPr>
          <a:xfrm>
            <a:off x="4780437"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8" y="3768568"/>
            <a:ext cx="3734059" cy="266322"/>
          </a:xfrm>
        </p:spPr>
        <p:txBody>
          <a:bodyPr lIns="36000" rIns="36000" anchor="ctr">
            <a:noAutofit/>
          </a:bodyPr>
          <a:lstStyle>
            <a:lvl1pPr>
              <a:defRPr sz="825"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7" y="4043102"/>
            <a:ext cx="3734059"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2196838" y="1835227"/>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6" y="565703"/>
            <a:ext cx="1848583" cy="461665"/>
          </a:xfrm>
          <a:prstGeom prst="rect">
            <a:avLst/>
          </a:prstGeom>
        </p:spPr>
        <p:txBody>
          <a:bodyPr wrap="none">
            <a:spAutoFit/>
          </a:bodyPr>
          <a:lstStyle/>
          <a:p>
            <a:r>
              <a:rPr kumimoji="0" lang="en-US" sz="24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1800" b="0" dirty="0">
              <a:solidFill>
                <a:schemeClr val="bg1"/>
              </a:solidFill>
            </a:endParaRPr>
          </a:p>
        </p:txBody>
      </p:sp>
      <p:sp>
        <p:nvSpPr>
          <p:cNvPr id="24" name="Text Placeholder 5"/>
          <p:cNvSpPr>
            <a:spLocks noGrp="1"/>
          </p:cNvSpPr>
          <p:nvPr>
            <p:ph type="body" sz="quarter" idx="15" hasCustomPrompt="1"/>
          </p:nvPr>
        </p:nvSpPr>
        <p:spPr>
          <a:xfrm>
            <a:off x="2834997" y="4333520"/>
            <a:ext cx="3349330" cy="266322"/>
          </a:xfrm>
        </p:spPr>
        <p:txBody>
          <a:bodyPr lIns="36000" rIns="36000" anchor="ctr">
            <a:noAutofit/>
          </a:bodyPr>
          <a:lstStyle>
            <a:lvl1pPr>
              <a:defRPr sz="825"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6"/>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211243814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ack Slide &quot;Thank You&quot;">
    <p:spTree>
      <p:nvGrpSpPr>
        <p:cNvPr id="1" name=""/>
        <p:cNvGrpSpPr/>
        <p:nvPr/>
      </p:nvGrpSpPr>
      <p:grpSpPr>
        <a:xfrm>
          <a:off x="0" y="0"/>
          <a:ext cx="0" cy="0"/>
          <a:chOff x="0" y="0"/>
          <a:chExt cx="0" cy="0"/>
        </a:xfrm>
      </p:grpSpPr>
      <p:sp>
        <p:nvSpPr>
          <p:cNvPr id="9" name="Title 1"/>
          <p:cNvSpPr txBox="1">
            <a:spLocks/>
          </p:cNvSpPr>
          <p:nvPr userDrawn="1"/>
        </p:nvSpPr>
        <p:spPr>
          <a:xfrm>
            <a:off x="1763689" y="3861050"/>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70"/>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188264744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150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7"/>
            <a:ext cx="1512168" cy="365125"/>
          </a:xfrm>
          <a:prstGeom prst="rect">
            <a:avLst/>
          </a:prstGeom>
        </p:spPr>
        <p:txBody>
          <a:bodyPr vert="horz" lIns="91440" tIns="45720" rIns="91440" bIns="45720" rtlCol="0" anchor="ctr"/>
          <a:lstStyle>
            <a:lvl1pPr algn="r">
              <a:defRPr sz="900">
                <a:solidFill>
                  <a:schemeClr val="bg1"/>
                </a:solidFill>
              </a:defRPr>
            </a:lvl1pPr>
          </a:lstStyle>
          <a:p>
            <a:fld id="{44DF0C3E-4E99-4E2E-BA98-3D852DE6B51F}" type="datetime3">
              <a:rPr lang="en-US" smtClean="0"/>
              <a:pPr/>
              <a:t>3 February 2021</a:t>
            </a:fld>
            <a:endParaRPr lang="en-GB" dirty="0"/>
          </a:p>
        </p:txBody>
      </p:sp>
      <p:sp>
        <p:nvSpPr>
          <p:cNvPr id="17" name="Text Placeholder 16"/>
          <p:cNvSpPr>
            <a:spLocks noGrp="1"/>
          </p:cNvSpPr>
          <p:nvPr>
            <p:ph type="body" sz="quarter" idx="10" hasCustomPrompt="1"/>
          </p:nvPr>
        </p:nvSpPr>
        <p:spPr>
          <a:xfrm>
            <a:off x="3635548" y="5398047"/>
            <a:ext cx="1584176" cy="365125"/>
          </a:xfrm>
        </p:spPr>
        <p:txBody>
          <a:bodyPr>
            <a:normAutofit/>
          </a:bodyPr>
          <a:lstStyle>
            <a:lvl1pPr algn="r">
              <a:defRPr sz="9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7"/>
            <a:ext cx="1944216" cy="365125"/>
          </a:xfrm>
        </p:spPr>
        <p:txBody>
          <a:bodyPr>
            <a:normAutofit/>
          </a:bodyPr>
          <a:lstStyle>
            <a:lvl1pPr algn="r">
              <a:defRPr sz="900"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4"/>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xmlns=""/>
              </a:ext>
            </a:extLst>
          </a:blip>
          <a:stretch>
            <a:fillRect/>
          </a:stretch>
        </p:blipFill>
        <p:spPr>
          <a:xfrm>
            <a:off x="488488" y="620688"/>
            <a:ext cx="3246314" cy="1008112"/>
          </a:xfrm>
          <a:prstGeom prst="rect">
            <a:avLst/>
          </a:prstGeom>
        </p:spPr>
      </p:pic>
    </p:spTree>
    <p:extLst>
      <p:ext uri="{BB962C8B-B14F-4D97-AF65-F5344CB8AC3E}">
        <p14:creationId xmlns:p14="http://schemas.microsoft.com/office/powerpoint/2010/main" xmlns="" val="12325482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Text Placeholder 4"/>
          <p:cNvSpPr>
            <a:spLocks noGrp="1"/>
          </p:cNvSpPr>
          <p:nvPr>
            <p:ph type="body" sz="quarter" idx="10"/>
          </p:nvPr>
        </p:nvSpPr>
        <p:spPr>
          <a:xfrm>
            <a:off x="295276" y="1196754"/>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7276774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6"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0"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1189277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393784381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6" y="1412778"/>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7891620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6"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0"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6284768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10664104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6"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7469944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2"/>
          </p:nvPr>
        </p:nvSpPr>
        <p:spPr>
          <a:xfrm>
            <a:off x="295276"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0"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46619820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Tree>
    <p:extLst>
      <p:ext uri="{BB962C8B-B14F-4D97-AF65-F5344CB8AC3E}">
        <p14:creationId xmlns:p14="http://schemas.microsoft.com/office/powerpoint/2010/main" xmlns="" val="93075978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3" name="Text Placeholder 4"/>
          <p:cNvSpPr>
            <a:spLocks noGrp="1"/>
          </p:cNvSpPr>
          <p:nvPr>
            <p:ph type="body" sz="quarter" idx="14"/>
          </p:nvPr>
        </p:nvSpPr>
        <p:spPr>
          <a:xfrm>
            <a:off x="295276"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2459164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ack Slide &quot;Thank You&quot;">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99106676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6"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80"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6749421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7718681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4"/>
            <a:ext cx="8281291" cy="936625"/>
          </a:xfrm>
          <a:prstGeom prst="rect">
            <a:avLst/>
          </a:prstGeom>
          <a:no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179513"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7"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392735374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1" y="1412775"/>
            <a:ext cx="2908573" cy="4680049"/>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Text Placeholder 4"/>
          <p:cNvSpPr>
            <a:spLocks noGrp="1"/>
          </p:cNvSpPr>
          <p:nvPr>
            <p:ph type="body" sz="quarter" idx="15"/>
          </p:nvPr>
        </p:nvSpPr>
        <p:spPr>
          <a:xfrm>
            <a:off x="3448447" y="1412778"/>
            <a:ext cx="5472608"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9682407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7" y="1412776"/>
            <a:ext cx="2404517" cy="468004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5"/>
          </p:nvPr>
        </p:nvSpPr>
        <p:spPr>
          <a:xfrm>
            <a:off x="323851" y="1412777"/>
            <a:ext cx="6004917" cy="4680048"/>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3804388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3532181"/>
            <a:ext cx="8597205" cy="2551450"/>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24968444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2356637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Text Placeholder 4"/>
          <p:cNvSpPr>
            <a:spLocks noGrp="1"/>
          </p:cNvSpPr>
          <p:nvPr>
            <p:ph type="body" sz="quarter" idx="17"/>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0840690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Text Placeholder 4"/>
          <p:cNvSpPr>
            <a:spLocks noGrp="1"/>
          </p:cNvSpPr>
          <p:nvPr>
            <p:ph type="body" sz="quarter" idx="17"/>
          </p:nvPr>
        </p:nvSpPr>
        <p:spPr>
          <a:xfrm>
            <a:off x="323851" y="3703287"/>
            <a:ext cx="8597205" cy="238034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25359034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1"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323851" y="2975180"/>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323851" y="4537584"/>
            <a:ext cx="2908573" cy="154109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3212505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ck Slide &quot;Thank You&quot;">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292546668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3"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6012483" y="2976533"/>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6012483" y="4540291"/>
            <a:ext cx="2908573" cy="1548783"/>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0" name="Text Placeholder 4"/>
          <p:cNvSpPr>
            <a:spLocks noGrp="1"/>
          </p:cNvSpPr>
          <p:nvPr>
            <p:ph type="body" sz="quarter" idx="17"/>
          </p:nvPr>
        </p:nvSpPr>
        <p:spPr>
          <a:xfrm>
            <a:off x="323851" y="1412779"/>
            <a:ext cx="5553983" cy="466590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1831907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Back Slide &quot;Thank You&quot;">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2" name="Text Placeholder 5"/>
          <p:cNvSpPr>
            <a:spLocks noGrp="1"/>
          </p:cNvSpPr>
          <p:nvPr>
            <p:ph type="body" sz="quarter" idx="10" hasCustomPrompt="1"/>
          </p:nvPr>
        </p:nvSpPr>
        <p:spPr>
          <a:xfrm>
            <a:off x="2834998" y="2696461"/>
            <a:ext cx="3897243" cy="266322"/>
          </a:xfrm>
        </p:spPr>
        <p:txBody>
          <a:bodyPr lIns="36000" rIns="36000" anchor="ctr">
            <a:noAutofit/>
          </a:bodyPr>
          <a:lstStyle>
            <a:lvl1pPr>
              <a:defRPr sz="105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8" y="2963910"/>
            <a:ext cx="3897243" cy="266322"/>
          </a:xfrm>
        </p:spPr>
        <p:txBody>
          <a:bodyPr lIns="36000" rIns="36000" anchor="ctr">
            <a:noAutofit/>
          </a:bodyPr>
          <a:lstStyle>
            <a:lvl1pPr>
              <a:defRPr sz="825"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2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7" name="Rectangle 16"/>
          <p:cNvSpPr/>
          <p:nvPr userDrawn="1"/>
        </p:nvSpPr>
        <p:spPr>
          <a:xfrm>
            <a:off x="4780437"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8" y="3768568"/>
            <a:ext cx="3734059" cy="266322"/>
          </a:xfrm>
        </p:spPr>
        <p:txBody>
          <a:bodyPr lIns="36000" rIns="36000" anchor="ctr">
            <a:noAutofit/>
          </a:bodyPr>
          <a:lstStyle>
            <a:lvl1pPr>
              <a:defRPr sz="825"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7" y="4043102"/>
            <a:ext cx="3734059"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2196838" y="1835227"/>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6" y="565703"/>
            <a:ext cx="1848583" cy="461665"/>
          </a:xfrm>
          <a:prstGeom prst="rect">
            <a:avLst/>
          </a:prstGeom>
        </p:spPr>
        <p:txBody>
          <a:bodyPr wrap="none">
            <a:spAutoFit/>
          </a:bodyPr>
          <a:lstStyle/>
          <a:p>
            <a:r>
              <a:rPr kumimoji="0" lang="en-US" sz="24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1800" b="0" dirty="0">
              <a:solidFill>
                <a:schemeClr val="bg1"/>
              </a:solidFill>
            </a:endParaRPr>
          </a:p>
        </p:txBody>
      </p:sp>
      <p:sp>
        <p:nvSpPr>
          <p:cNvPr id="24" name="Text Placeholder 5"/>
          <p:cNvSpPr>
            <a:spLocks noGrp="1"/>
          </p:cNvSpPr>
          <p:nvPr>
            <p:ph type="body" sz="quarter" idx="15" hasCustomPrompt="1"/>
          </p:nvPr>
        </p:nvSpPr>
        <p:spPr>
          <a:xfrm>
            <a:off x="2834997" y="4333520"/>
            <a:ext cx="3349330" cy="266322"/>
          </a:xfrm>
        </p:spPr>
        <p:txBody>
          <a:bodyPr lIns="36000" rIns="36000" anchor="ctr">
            <a:noAutofit/>
          </a:bodyPr>
          <a:lstStyle>
            <a:lvl1pPr>
              <a:defRPr sz="825"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6"/>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263832640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ack Slide &quot;Thank You&quot;">
    <p:spTree>
      <p:nvGrpSpPr>
        <p:cNvPr id="1" name=""/>
        <p:cNvGrpSpPr/>
        <p:nvPr/>
      </p:nvGrpSpPr>
      <p:grpSpPr>
        <a:xfrm>
          <a:off x="0" y="0"/>
          <a:ext cx="0" cy="0"/>
          <a:chOff x="0" y="0"/>
          <a:chExt cx="0" cy="0"/>
        </a:xfrm>
      </p:grpSpPr>
      <p:sp>
        <p:nvSpPr>
          <p:cNvPr id="9" name="Title 1"/>
          <p:cNvSpPr txBox="1">
            <a:spLocks/>
          </p:cNvSpPr>
          <p:nvPr userDrawn="1"/>
        </p:nvSpPr>
        <p:spPr>
          <a:xfrm>
            <a:off x="1763689" y="3861050"/>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70"/>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79474207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xmlns="" val="352546258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0B963C4-EE6C-43AF-978B-E3889028668F}" type="datetimeFigureOut">
              <a:rPr lang="en-US" smtClean="0"/>
              <a:pPr/>
              <a:t>2/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7BD4645-B278-48D8-A107-54AB10819F58}" type="slidenum">
              <a:rPr lang="en-US" smtClean="0"/>
              <a:pPr/>
              <a:t>‹#›</a:t>
            </a:fld>
            <a:endParaRPr lang="en-US" dirty="0"/>
          </a:p>
        </p:txBody>
      </p:sp>
    </p:spTree>
    <p:extLst>
      <p:ext uri="{BB962C8B-B14F-4D97-AF65-F5344CB8AC3E}">
        <p14:creationId xmlns:p14="http://schemas.microsoft.com/office/powerpoint/2010/main" xmlns="" val="170989445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0B963C4-EE6C-43AF-978B-E3889028668F}" type="datetimeFigureOut">
              <a:rPr lang="en-US" smtClean="0"/>
              <a:pPr/>
              <a:t>2/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7BD4645-B278-48D8-A107-54AB10819F58}" type="slidenum">
              <a:rPr lang="en-US" smtClean="0"/>
              <a:pPr/>
              <a:t>‹#›</a:t>
            </a:fld>
            <a:endParaRPr lang="en-US" dirty="0"/>
          </a:p>
        </p:txBody>
      </p:sp>
    </p:spTree>
    <p:extLst>
      <p:ext uri="{BB962C8B-B14F-4D97-AF65-F5344CB8AC3E}">
        <p14:creationId xmlns:p14="http://schemas.microsoft.com/office/powerpoint/2010/main" xmlns="" val="221784429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0B963C4-EE6C-43AF-978B-E3889028668F}" type="datetimeFigureOut">
              <a:rPr lang="en-US" smtClean="0"/>
              <a:pPr/>
              <a:t>2/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7BD4645-B278-48D8-A107-54AB10819F58}" type="slidenum">
              <a:rPr lang="en-US" smtClean="0"/>
              <a:pPr/>
              <a:t>‹#›</a:t>
            </a:fld>
            <a:endParaRPr lang="en-US" dirty="0"/>
          </a:p>
        </p:txBody>
      </p:sp>
    </p:spTree>
    <p:extLst>
      <p:ext uri="{BB962C8B-B14F-4D97-AF65-F5344CB8AC3E}">
        <p14:creationId xmlns:p14="http://schemas.microsoft.com/office/powerpoint/2010/main" xmlns="" val="214600644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0B963C4-EE6C-43AF-978B-E3889028668F}" type="datetimeFigureOut">
              <a:rPr lang="en-US" smtClean="0"/>
              <a:pPr/>
              <a:t>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7BD4645-B278-48D8-A107-54AB10819F58}" type="slidenum">
              <a:rPr lang="en-US" smtClean="0"/>
              <a:pPr/>
              <a:t>‹#›</a:t>
            </a:fld>
            <a:endParaRPr lang="en-US" dirty="0"/>
          </a:p>
        </p:txBody>
      </p:sp>
    </p:spTree>
    <p:extLst>
      <p:ext uri="{BB962C8B-B14F-4D97-AF65-F5344CB8AC3E}">
        <p14:creationId xmlns:p14="http://schemas.microsoft.com/office/powerpoint/2010/main" xmlns="" val="340262898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0B963C4-EE6C-43AF-978B-E3889028668F}" type="datetimeFigureOut">
              <a:rPr lang="en-US" smtClean="0"/>
              <a:pPr/>
              <a:t>2/3/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7BD4645-B278-48D8-A107-54AB10819F58}" type="slidenum">
              <a:rPr lang="en-US" smtClean="0"/>
              <a:pPr/>
              <a:t>‹#›</a:t>
            </a:fld>
            <a:endParaRPr lang="en-US" dirty="0"/>
          </a:p>
        </p:txBody>
      </p:sp>
    </p:spTree>
    <p:extLst>
      <p:ext uri="{BB962C8B-B14F-4D97-AF65-F5344CB8AC3E}">
        <p14:creationId xmlns:p14="http://schemas.microsoft.com/office/powerpoint/2010/main" xmlns="" val="3074395399"/>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0B963C4-EE6C-43AF-978B-E3889028668F}" type="datetimeFigureOut">
              <a:rPr lang="en-US" smtClean="0"/>
              <a:pPr/>
              <a:t>2/3/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77BD4645-B278-48D8-A107-54AB10819F58}" type="slidenum">
              <a:rPr lang="en-US" smtClean="0"/>
              <a:pPr/>
              <a:t>‹#›</a:t>
            </a:fld>
            <a:endParaRPr lang="en-US" dirty="0"/>
          </a:p>
        </p:txBody>
      </p:sp>
    </p:spTree>
    <p:extLst>
      <p:ext uri="{BB962C8B-B14F-4D97-AF65-F5344CB8AC3E}">
        <p14:creationId xmlns:p14="http://schemas.microsoft.com/office/powerpoint/2010/main" xmlns="" val="7810140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150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7"/>
            <a:ext cx="1512168" cy="365125"/>
          </a:xfrm>
          <a:prstGeom prst="rect">
            <a:avLst/>
          </a:prstGeom>
        </p:spPr>
        <p:txBody>
          <a:bodyPr vert="horz" lIns="91440" tIns="45720" rIns="91440" bIns="45720" rtlCol="0" anchor="ctr"/>
          <a:lstStyle>
            <a:lvl1pPr algn="r">
              <a:defRPr sz="900">
                <a:solidFill>
                  <a:schemeClr val="bg1"/>
                </a:solidFill>
              </a:defRPr>
            </a:lvl1pPr>
          </a:lstStyle>
          <a:p>
            <a:fld id="{44DF0C3E-4E99-4E2E-BA98-3D852DE6B51F}" type="datetime3">
              <a:rPr lang="en-US" smtClean="0"/>
              <a:pPr/>
              <a:t>3 February 2021</a:t>
            </a:fld>
            <a:endParaRPr lang="en-GB" dirty="0"/>
          </a:p>
        </p:txBody>
      </p:sp>
      <p:sp>
        <p:nvSpPr>
          <p:cNvPr id="17" name="Text Placeholder 16"/>
          <p:cNvSpPr>
            <a:spLocks noGrp="1"/>
          </p:cNvSpPr>
          <p:nvPr>
            <p:ph type="body" sz="quarter" idx="10" hasCustomPrompt="1"/>
          </p:nvPr>
        </p:nvSpPr>
        <p:spPr>
          <a:xfrm>
            <a:off x="3635548" y="5398047"/>
            <a:ext cx="1584176" cy="365125"/>
          </a:xfrm>
        </p:spPr>
        <p:txBody>
          <a:bodyPr>
            <a:normAutofit/>
          </a:bodyPr>
          <a:lstStyle>
            <a:lvl1pPr algn="r">
              <a:defRPr sz="9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7"/>
            <a:ext cx="1944216" cy="365125"/>
          </a:xfrm>
        </p:spPr>
        <p:txBody>
          <a:bodyPr>
            <a:normAutofit/>
          </a:bodyPr>
          <a:lstStyle>
            <a:lvl1pPr algn="r">
              <a:defRPr sz="900"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4"/>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xmlns=""/>
              </a:ext>
            </a:extLst>
          </a:blip>
          <a:stretch>
            <a:fillRect/>
          </a:stretch>
        </p:blipFill>
        <p:spPr>
          <a:xfrm>
            <a:off x="488488" y="620688"/>
            <a:ext cx="3246314" cy="1008112"/>
          </a:xfrm>
          <a:prstGeom prst="rect">
            <a:avLst/>
          </a:prstGeom>
        </p:spPr>
      </p:pic>
    </p:spTree>
    <p:extLst>
      <p:ext uri="{BB962C8B-B14F-4D97-AF65-F5344CB8AC3E}">
        <p14:creationId xmlns:p14="http://schemas.microsoft.com/office/powerpoint/2010/main" xmlns="" val="217323242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0B963C4-EE6C-43AF-978B-E3889028668F}" type="datetimeFigureOut">
              <a:rPr lang="en-US" smtClean="0"/>
              <a:pPr/>
              <a:t>2/3/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7BD4645-B278-48D8-A107-54AB10819F58}" type="slidenum">
              <a:rPr lang="en-US" smtClean="0"/>
              <a:pPr/>
              <a:t>‹#›</a:t>
            </a:fld>
            <a:endParaRPr lang="en-US" dirty="0"/>
          </a:p>
        </p:txBody>
      </p:sp>
    </p:spTree>
    <p:extLst>
      <p:ext uri="{BB962C8B-B14F-4D97-AF65-F5344CB8AC3E}">
        <p14:creationId xmlns:p14="http://schemas.microsoft.com/office/powerpoint/2010/main" xmlns="" val="208017810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0B963C4-EE6C-43AF-978B-E3889028668F}" type="datetimeFigureOut">
              <a:rPr lang="en-US" smtClean="0"/>
              <a:pPr/>
              <a:t>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7BD4645-B278-48D8-A107-54AB10819F58}" type="slidenum">
              <a:rPr lang="en-US" smtClean="0"/>
              <a:pPr/>
              <a:t>‹#›</a:t>
            </a:fld>
            <a:endParaRPr lang="en-US" dirty="0"/>
          </a:p>
        </p:txBody>
      </p:sp>
    </p:spTree>
    <p:extLst>
      <p:ext uri="{BB962C8B-B14F-4D97-AF65-F5344CB8AC3E}">
        <p14:creationId xmlns:p14="http://schemas.microsoft.com/office/powerpoint/2010/main" xmlns="" val="239138411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0B963C4-EE6C-43AF-978B-E3889028668F}" type="datetimeFigureOut">
              <a:rPr lang="en-US" smtClean="0"/>
              <a:pPr/>
              <a:t>2/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7BD4645-B278-48D8-A107-54AB10819F58}" type="slidenum">
              <a:rPr lang="en-US" smtClean="0"/>
              <a:pPr/>
              <a:t>‹#›</a:t>
            </a:fld>
            <a:endParaRPr lang="en-US" dirty="0"/>
          </a:p>
        </p:txBody>
      </p:sp>
    </p:spTree>
    <p:extLst>
      <p:ext uri="{BB962C8B-B14F-4D97-AF65-F5344CB8AC3E}">
        <p14:creationId xmlns:p14="http://schemas.microsoft.com/office/powerpoint/2010/main" xmlns="" val="162829534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0B963C4-EE6C-43AF-978B-E3889028668F}" type="datetimeFigureOut">
              <a:rPr lang="en-US" smtClean="0"/>
              <a:pPr/>
              <a:t>2/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7BD4645-B278-48D8-A107-54AB10819F58}" type="slidenum">
              <a:rPr lang="en-US" smtClean="0"/>
              <a:pPr/>
              <a:t>‹#›</a:t>
            </a:fld>
            <a:endParaRPr lang="en-US" dirty="0"/>
          </a:p>
        </p:txBody>
      </p:sp>
    </p:spTree>
    <p:extLst>
      <p:ext uri="{BB962C8B-B14F-4D97-AF65-F5344CB8AC3E}">
        <p14:creationId xmlns:p14="http://schemas.microsoft.com/office/powerpoint/2010/main" xmlns="" val="52483147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0B963C4-EE6C-43AF-978B-E3889028668F}" type="datetimeFigureOut">
              <a:rPr lang="en-US" smtClean="0"/>
              <a:pPr/>
              <a:t>2/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7BD4645-B278-48D8-A107-54AB10819F58}" type="slidenum">
              <a:rPr lang="en-US" smtClean="0"/>
              <a:pPr/>
              <a:t>‹#›</a:t>
            </a:fld>
            <a:endParaRPr lang="en-US" dirty="0"/>
          </a:p>
        </p:txBody>
      </p:sp>
    </p:spTree>
    <p:extLst>
      <p:ext uri="{BB962C8B-B14F-4D97-AF65-F5344CB8AC3E}">
        <p14:creationId xmlns:p14="http://schemas.microsoft.com/office/powerpoint/2010/main" xmlns="" val="243537430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pPr/>
              <a:t>3 February 2021</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xmlns=""/>
              </a:ext>
            </a:extLst>
          </a:blip>
          <a:stretch>
            <a:fillRect/>
          </a:stretch>
        </p:blipFill>
        <p:spPr>
          <a:xfrm>
            <a:off x="488487" y="620688"/>
            <a:ext cx="3246314" cy="1008112"/>
          </a:xfrm>
          <a:prstGeom prst="rect">
            <a:avLst/>
          </a:prstGeom>
        </p:spPr>
      </p:pic>
    </p:spTree>
    <p:extLst>
      <p:ext uri="{BB962C8B-B14F-4D97-AF65-F5344CB8AC3E}">
        <p14:creationId xmlns:p14="http://schemas.microsoft.com/office/powerpoint/2010/main" xmlns="" val="177550534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2844340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7225814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160387791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822595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6" y="1196754"/>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4940088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5763680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170697197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4862846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72319127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54448875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83656972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926333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0325930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87039937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785973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6"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0"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6087671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03021731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72062547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59480188"/>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0727654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4757675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041676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70523375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Back Slide &quot;Thank You&quot;">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101908121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ack Slide &quot;Thank You&quot;">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62263057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pPr/>
              <a:t>3 February 2021</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488487" y="620688"/>
            <a:ext cx="3246314" cy="1008112"/>
          </a:xfrm>
          <a:prstGeom prst="rect">
            <a:avLst/>
          </a:prstGeom>
        </p:spPr>
      </p:pic>
    </p:spTree>
    <p:extLst>
      <p:ext uri="{BB962C8B-B14F-4D97-AF65-F5344CB8AC3E}">
        <p14:creationId xmlns:p14="http://schemas.microsoft.com/office/powerpoint/2010/main" xmlns="" val="20814186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376854365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159956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8360164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141984304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332699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5728320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334064013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2928121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506786163"/>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16329300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2615661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6" y="1412778"/>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1193498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4957795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6297944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962756958"/>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89847198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519264405"/>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7470381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576517928"/>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42036024"/>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95816865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1506851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6"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0"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1473744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0145971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Back Slide &quot;Thank You&quot;">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2581138721"/>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ack Slide &quot;Thank You&quot;">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162391900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3401E848-0BB3-45F0-B990-BCB93B844EA6}"/>
              </a:ext>
            </a:extLst>
          </p:cNvPr>
          <p:cNvSpPr>
            <a:spLocks noGrp="1"/>
          </p:cNvSpPr>
          <p:nvPr>
            <p:ph type="dt" sz="half" idx="10"/>
          </p:nvPr>
        </p:nvSpPr>
        <p:spPr/>
        <p:txBody>
          <a:bodyPr/>
          <a:lstStyle/>
          <a:p>
            <a:fld id="{3BAB38B6-4801-4D39-B813-FAD8CDC3CAE6}" type="datetimeFigureOut">
              <a:rPr lang="en-ZA" smtClean="0"/>
              <a:pPr/>
              <a:t>2021/02/03</a:t>
            </a:fld>
            <a:endParaRPr lang="en-ZA" dirty="0"/>
          </a:p>
        </p:txBody>
      </p:sp>
      <p:sp>
        <p:nvSpPr>
          <p:cNvPr id="3" name="Footer Placeholder 2">
            <a:extLst>
              <a:ext uri="{FF2B5EF4-FFF2-40B4-BE49-F238E27FC236}">
                <a16:creationId xmlns:a16="http://schemas.microsoft.com/office/drawing/2014/main" xmlns="" id="{044AB1ED-5877-4DA4-9DF1-908AFD842293}"/>
              </a:ext>
            </a:extLst>
          </p:cNvPr>
          <p:cNvSpPr>
            <a:spLocks noGrp="1"/>
          </p:cNvSpPr>
          <p:nvPr>
            <p:ph type="ftr" sz="quarter" idx="11"/>
          </p:nvPr>
        </p:nvSpPr>
        <p:spPr>
          <a:xfrm>
            <a:off x="4043080" y="6468150"/>
            <a:ext cx="4138573" cy="230832"/>
          </a:xfrm>
          <a:prstGeom prst="rect">
            <a:avLst/>
          </a:prstGeom>
        </p:spPr>
        <p:txBody>
          <a:bodyPr/>
          <a:lstStyle/>
          <a:p>
            <a:endParaRPr lang="en-ZA" dirty="0"/>
          </a:p>
        </p:txBody>
      </p:sp>
      <p:sp>
        <p:nvSpPr>
          <p:cNvPr id="4" name="Slide Number Placeholder 3">
            <a:extLst>
              <a:ext uri="{FF2B5EF4-FFF2-40B4-BE49-F238E27FC236}">
                <a16:creationId xmlns:a16="http://schemas.microsoft.com/office/drawing/2014/main" xmlns="" id="{C6C9D9A3-5E53-4184-BDD3-74340D3F96C2}"/>
              </a:ext>
            </a:extLst>
          </p:cNvPr>
          <p:cNvSpPr>
            <a:spLocks noGrp="1"/>
          </p:cNvSpPr>
          <p:nvPr>
            <p:ph type="sldNum" sz="quarter" idx="12"/>
          </p:nvPr>
        </p:nvSpPr>
        <p:spPr/>
        <p:txBody>
          <a:bodyPr/>
          <a:lstStyle/>
          <a:p>
            <a:fld id="{92B23DA1-AB36-4777-9E3E-C099BDE8A80F}" type="slidenum">
              <a:rPr lang="en-ZA" smtClean="0"/>
              <a:pPr/>
              <a:t>‹#›</a:t>
            </a:fld>
            <a:endParaRPr lang="en-ZA" dirty="0"/>
          </a:p>
        </p:txBody>
      </p:sp>
    </p:spTree>
    <p:extLst>
      <p:ext uri="{BB962C8B-B14F-4D97-AF65-F5344CB8AC3E}">
        <p14:creationId xmlns:p14="http://schemas.microsoft.com/office/powerpoint/2010/main" xmlns="" val="330727382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5"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169"/>
              </a:spcBef>
              <a:defRPr sz="1463"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5" y="4532528"/>
            <a:ext cx="8208912" cy="508552"/>
          </a:xfrm>
        </p:spPr>
        <p:txBody>
          <a:bodyPr lIns="72000" tIns="0" rIns="72000" bIns="0" anchor="ctr">
            <a:normAutofit/>
          </a:bodyPr>
          <a:lstStyle>
            <a:lvl1pPr marL="0" indent="0" algn="r">
              <a:buNone/>
              <a:defRPr sz="1125" b="0">
                <a:solidFill>
                  <a:schemeClr val="bg1"/>
                </a:solidFill>
              </a:defRPr>
            </a:lvl1pPr>
            <a:lvl2pPr marL="257180" indent="0" algn="ctr">
              <a:buNone/>
              <a:defRPr>
                <a:solidFill>
                  <a:schemeClr val="tx1">
                    <a:tint val="75000"/>
                  </a:schemeClr>
                </a:solidFill>
              </a:defRPr>
            </a:lvl2pPr>
            <a:lvl3pPr marL="514361" indent="0" algn="ctr">
              <a:buNone/>
              <a:defRPr>
                <a:solidFill>
                  <a:schemeClr val="tx1">
                    <a:tint val="75000"/>
                  </a:schemeClr>
                </a:solidFill>
              </a:defRPr>
            </a:lvl3pPr>
            <a:lvl4pPr marL="771540" indent="0" algn="ctr">
              <a:buNone/>
              <a:defRPr>
                <a:solidFill>
                  <a:schemeClr val="tx1">
                    <a:tint val="75000"/>
                  </a:schemeClr>
                </a:solidFill>
              </a:defRPr>
            </a:lvl4pPr>
            <a:lvl5pPr marL="1028721" indent="0" algn="ctr">
              <a:buNone/>
              <a:defRPr>
                <a:solidFill>
                  <a:schemeClr val="tx1">
                    <a:tint val="75000"/>
                  </a:schemeClr>
                </a:solidFill>
              </a:defRPr>
            </a:lvl5pPr>
            <a:lvl6pPr marL="1285901" indent="0" algn="ctr">
              <a:buNone/>
              <a:defRPr>
                <a:solidFill>
                  <a:schemeClr val="tx1">
                    <a:tint val="75000"/>
                  </a:schemeClr>
                </a:solidFill>
              </a:defRPr>
            </a:lvl6pPr>
            <a:lvl7pPr marL="1543081" indent="0" algn="ctr">
              <a:buNone/>
              <a:defRPr>
                <a:solidFill>
                  <a:schemeClr val="tx1">
                    <a:tint val="75000"/>
                  </a:schemeClr>
                </a:solidFill>
              </a:defRPr>
            </a:lvl7pPr>
            <a:lvl8pPr marL="1800261" indent="0" algn="ctr">
              <a:buNone/>
              <a:defRPr>
                <a:solidFill>
                  <a:schemeClr val="tx1">
                    <a:tint val="75000"/>
                  </a:schemeClr>
                </a:solidFill>
              </a:defRPr>
            </a:lvl8pPr>
            <a:lvl9pPr marL="2057441"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9"/>
            <a:ext cx="1512168" cy="365125"/>
          </a:xfrm>
          <a:prstGeom prst="rect">
            <a:avLst/>
          </a:prstGeom>
        </p:spPr>
        <p:txBody>
          <a:bodyPr vert="horz" lIns="91440" tIns="45720" rIns="91440" bIns="45720" rtlCol="0" anchor="ctr"/>
          <a:lstStyle>
            <a:lvl1pPr algn="r">
              <a:defRPr sz="675">
                <a:solidFill>
                  <a:schemeClr val="bg1"/>
                </a:solidFill>
              </a:defRPr>
            </a:lvl1pPr>
          </a:lstStyle>
          <a:p>
            <a:fld id="{44DF0C3E-4E99-4E2E-BA98-3D852DE6B51F}" type="datetime3">
              <a:rPr lang="en-US" smtClean="0"/>
              <a:pPr/>
              <a:t>3 February 2021</a:t>
            </a:fld>
            <a:endParaRPr lang="en-GB" dirty="0"/>
          </a:p>
        </p:txBody>
      </p:sp>
      <p:sp>
        <p:nvSpPr>
          <p:cNvPr id="17" name="Text Placeholder 16"/>
          <p:cNvSpPr>
            <a:spLocks noGrp="1"/>
          </p:cNvSpPr>
          <p:nvPr>
            <p:ph type="body" sz="quarter" idx="10" hasCustomPrompt="1"/>
          </p:nvPr>
        </p:nvSpPr>
        <p:spPr>
          <a:xfrm>
            <a:off x="3635548" y="5398049"/>
            <a:ext cx="1584176" cy="365125"/>
          </a:xfrm>
        </p:spPr>
        <p:txBody>
          <a:bodyPr>
            <a:normAutofit/>
          </a:bodyPr>
          <a:lstStyle>
            <a:lvl1pPr algn="r">
              <a:defRPr sz="675"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9"/>
            <a:ext cx="1944216" cy="365125"/>
          </a:xfrm>
        </p:spPr>
        <p:txBody>
          <a:bodyPr>
            <a:normAutofit/>
          </a:bodyPr>
          <a:lstStyle>
            <a:lvl1pPr algn="r">
              <a:defRPr sz="675"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6"/>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75"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488488" y="620688"/>
            <a:ext cx="3246314" cy="1008112"/>
          </a:xfrm>
          <a:prstGeom prst="rect">
            <a:avLst/>
          </a:prstGeom>
        </p:spPr>
      </p:pic>
    </p:spTree>
    <p:extLst>
      <p:ext uri="{BB962C8B-B14F-4D97-AF65-F5344CB8AC3E}">
        <p14:creationId xmlns:p14="http://schemas.microsoft.com/office/powerpoint/2010/main" xmlns="" val="27963847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7" y="1196755"/>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1340260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7" y="1196755"/>
            <a:ext cx="4060701" cy="4896073"/>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1" y="1196755"/>
            <a:ext cx="4060701" cy="4896073"/>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6391778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266765334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7" y="1412780"/>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15137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7" y="1412780"/>
            <a:ext cx="4060701" cy="4680049"/>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1" y="1412780"/>
            <a:ext cx="4060701" cy="4680049"/>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564148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392759418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391676659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7" y="5681852"/>
            <a:ext cx="8597205" cy="409469"/>
          </a:xfrm>
        </p:spPr>
        <p:txBody>
          <a:bodyPr bIns="0" anchor="b">
            <a:noAutofit/>
          </a:bodyPr>
          <a:lstStyle>
            <a:lvl1pPr>
              <a:spcBef>
                <a:spcPts val="0"/>
              </a:spcBef>
              <a:defRPr sz="45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7" y="1196756"/>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9214220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7" y="5681852"/>
            <a:ext cx="8597205" cy="409469"/>
          </a:xfrm>
        </p:spPr>
        <p:txBody>
          <a:bodyPr bIns="0" anchor="b">
            <a:noAutofit/>
          </a:bodyPr>
          <a:lstStyle>
            <a:lvl1pPr>
              <a:spcBef>
                <a:spcPts val="0"/>
              </a:spcBef>
              <a:defRPr sz="450" b="0"/>
            </a:lvl1pPr>
          </a:lstStyle>
          <a:p>
            <a:pPr lvl="0"/>
            <a:r>
              <a:rPr lang="en-US" dirty="0"/>
              <a:t>Source: Xxx</a:t>
            </a:r>
          </a:p>
        </p:txBody>
      </p:sp>
      <p:sp>
        <p:nvSpPr>
          <p:cNvPr id="10" name="Text Placeholder 4"/>
          <p:cNvSpPr>
            <a:spLocks noGrp="1"/>
          </p:cNvSpPr>
          <p:nvPr>
            <p:ph type="body" sz="quarter" idx="12"/>
          </p:nvPr>
        </p:nvSpPr>
        <p:spPr>
          <a:xfrm>
            <a:off x="295277" y="1196756"/>
            <a:ext cx="4060701" cy="4487075"/>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1" y="1196756"/>
            <a:ext cx="4060701" cy="4487075"/>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25521166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7" y="5681852"/>
            <a:ext cx="8597205" cy="409469"/>
          </a:xfrm>
        </p:spPr>
        <p:txBody>
          <a:bodyPr bIns="0" anchor="b">
            <a:noAutofit/>
          </a:bodyPr>
          <a:lstStyle>
            <a:lvl1pPr>
              <a:spcBef>
                <a:spcPts val="0"/>
              </a:spcBef>
              <a:defRPr sz="450" b="0"/>
            </a:lvl1pPr>
          </a:lstStyle>
          <a:p>
            <a:pPr lvl="0"/>
            <a:r>
              <a:rPr lang="en-US" dirty="0"/>
              <a:t>Source: Xxx</a:t>
            </a:r>
          </a:p>
        </p:txBody>
      </p:sp>
    </p:spTree>
    <p:extLst>
      <p:ext uri="{BB962C8B-B14F-4D97-AF65-F5344CB8AC3E}">
        <p14:creationId xmlns:p14="http://schemas.microsoft.com/office/powerpoint/2010/main" xmlns="" val="395552382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7" y="5681852"/>
            <a:ext cx="8597205" cy="409469"/>
          </a:xfrm>
        </p:spPr>
        <p:txBody>
          <a:bodyPr bIns="0" anchor="b">
            <a:noAutofit/>
          </a:bodyPr>
          <a:lstStyle>
            <a:lvl1pPr>
              <a:spcBef>
                <a:spcPts val="0"/>
              </a:spcBef>
              <a:defRPr sz="450" b="0"/>
            </a:lvl1pPr>
          </a:lstStyle>
          <a:p>
            <a:pPr lvl="0"/>
            <a:r>
              <a:rPr lang="en-US" dirty="0"/>
              <a:t>Source: Xxx</a:t>
            </a:r>
          </a:p>
        </p:txBody>
      </p:sp>
      <p:sp>
        <p:nvSpPr>
          <p:cNvPr id="13" name="Text Placeholder 4"/>
          <p:cNvSpPr>
            <a:spLocks noGrp="1"/>
          </p:cNvSpPr>
          <p:nvPr>
            <p:ph type="body" sz="quarter" idx="14"/>
          </p:nvPr>
        </p:nvSpPr>
        <p:spPr>
          <a:xfrm>
            <a:off x="295277"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652286932"/>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7" y="1412780"/>
            <a:ext cx="4060701" cy="4281441"/>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7" y="5681852"/>
            <a:ext cx="8597205" cy="409469"/>
          </a:xfrm>
        </p:spPr>
        <p:txBody>
          <a:bodyPr bIns="0" anchor="b">
            <a:noAutofit/>
          </a:bodyPr>
          <a:lstStyle>
            <a:lvl1pPr>
              <a:spcBef>
                <a:spcPts val="0"/>
              </a:spcBef>
              <a:defRPr sz="450" b="0"/>
            </a:lvl1pPr>
          </a:lstStyle>
          <a:p>
            <a:pPr lvl="0"/>
            <a:r>
              <a:rPr lang="en-US" dirty="0"/>
              <a:t>Source: Xxx</a:t>
            </a:r>
          </a:p>
        </p:txBody>
      </p:sp>
      <p:sp>
        <p:nvSpPr>
          <p:cNvPr id="9"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81" y="1412780"/>
            <a:ext cx="4060701" cy="4281441"/>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19831742"/>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7" y="5681852"/>
            <a:ext cx="8597205" cy="409469"/>
          </a:xfrm>
        </p:spPr>
        <p:txBody>
          <a:bodyPr bIns="0" anchor="b">
            <a:noAutofit/>
          </a:bodyPr>
          <a:lstStyle>
            <a:lvl1pPr>
              <a:spcBef>
                <a:spcPts val="0"/>
              </a:spcBef>
              <a:defRPr sz="450" b="0"/>
            </a:lvl1pPr>
          </a:lstStyle>
          <a:p>
            <a:pPr lvl="0"/>
            <a:r>
              <a:rPr lang="en-US" dirty="0"/>
              <a:t>Source: Xxx</a:t>
            </a:r>
          </a:p>
        </p:txBody>
      </p:sp>
      <p:sp>
        <p:nvSpPr>
          <p:cNvPr id="10"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632766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91" y="2276876"/>
            <a:ext cx="8281291" cy="936625"/>
          </a:xfrm>
          <a:prstGeom prst="rect">
            <a:avLst/>
          </a:prstGeom>
          <a:noFill/>
        </p:spPr>
        <p:txBody>
          <a:bodyPr anchor="ctr">
            <a:normAutofit/>
          </a:bodyPr>
          <a:lstStyle>
            <a:lvl1pPr>
              <a:defRPr sz="18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514"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5"/>
            <a:ext cx="8388425"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75" dirty="0"/>
          </a:p>
        </p:txBody>
      </p:sp>
    </p:spTree>
    <p:extLst>
      <p:ext uri="{BB962C8B-B14F-4D97-AF65-F5344CB8AC3E}">
        <p14:creationId xmlns:p14="http://schemas.microsoft.com/office/powerpoint/2010/main" xmlns="" val="409746052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2" y="1412779"/>
            <a:ext cx="2908573" cy="4680049"/>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4" name="Text Placeholder 4"/>
          <p:cNvSpPr>
            <a:spLocks noGrp="1"/>
          </p:cNvSpPr>
          <p:nvPr>
            <p:ph type="body" sz="quarter" idx="15"/>
          </p:nvPr>
        </p:nvSpPr>
        <p:spPr>
          <a:xfrm>
            <a:off x="3448447" y="1412780"/>
            <a:ext cx="5472608" cy="4680049"/>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37897103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8" y="1412777"/>
            <a:ext cx="2404517" cy="468004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5" name="Text Placeholder 4"/>
          <p:cNvSpPr>
            <a:spLocks noGrp="1"/>
          </p:cNvSpPr>
          <p:nvPr>
            <p:ph type="body" sz="quarter" idx="15"/>
          </p:nvPr>
        </p:nvSpPr>
        <p:spPr>
          <a:xfrm>
            <a:off x="323852" y="1412777"/>
            <a:ext cx="6004917" cy="4680048"/>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479923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6"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7841798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9" y="1412777"/>
            <a:ext cx="3921674" cy="187220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7"/>
            <a:ext cx="3921674" cy="187220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5" name="Text Placeholder 4"/>
          <p:cNvSpPr>
            <a:spLocks noGrp="1"/>
          </p:cNvSpPr>
          <p:nvPr>
            <p:ph type="body" sz="quarter" idx="16"/>
          </p:nvPr>
        </p:nvSpPr>
        <p:spPr>
          <a:xfrm>
            <a:off x="323852" y="3532181"/>
            <a:ext cx="8597205" cy="2551450"/>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92253128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9" y="3645024"/>
            <a:ext cx="3921674" cy="2304256"/>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5" name="Text Placeholder 4"/>
          <p:cNvSpPr>
            <a:spLocks noGrp="1"/>
          </p:cNvSpPr>
          <p:nvPr>
            <p:ph type="body" sz="quarter" idx="16"/>
          </p:nvPr>
        </p:nvSpPr>
        <p:spPr>
          <a:xfrm>
            <a:off x="323852" y="1412776"/>
            <a:ext cx="8597205" cy="2143224"/>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0151846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30" cy="2304256"/>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7" name="Picture Placeholder 3"/>
          <p:cNvSpPr>
            <a:spLocks noGrp="1"/>
          </p:cNvSpPr>
          <p:nvPr>
            <p:ph type="pic" sz="quarter" idx="15" hasCustomPrompt="1"/>
          </p:nvPr>
        </p:nvSpPr>
        <p:spPr>
          <a:xfrm>
            <a:off x="3292908" y="3645024"/>
            <a:ext cx="2625530" cy="2304256"/>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8" name="Picture Placeholder 3"/>
          <p:cNvSpPr>
            <a:spLocks noGrp="1"/>
          </p:cNvSpPr>
          <p:nvPr>
            <p:ph type="pic" sz="quarter" idx="16" hasCustomPrompt="1"/>
          </p:nvPr>
        </p:nvSpPr>
        <p:spPr>
          <a:xfrm>
            <a:off x="6295528" y="3645024"/>
            <a:ext cx="2625530" cy="2304256"/>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9" name="Text Placeholder 4"/>
          <p:cNvSpPr>
            <a:spLocks noGrp="1"/>
          </p:cNvSpPr>
          <p:nvPr>
            <p:ph type="body" sz="quarter" idx="17"/>
          </p:nvPr>
        </p:nvSpPr>
        <p:spPr>
          <a:xfrm>
            <a:off x="323852" y="1412776"/>
            <a:ext cx="8597205" cy="2143224"/>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6988018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30" cy="2160240"/>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7" name="Picture Placeholder 3"/>
          <p:cNvSpPr>
            <a:spLocks noGrp="1"/>
          </p:cNvSpPr>
          <p:nvPr>
            <p:ph type="pic" sz="quarter" idx="15" hasCustomPrompt="1"/>
          </p:nvPr>
        </p:nvSpPr>
        <p:spPr>
          <a:xfrm>
            <a:off x="3292908" y="1412776"/>
            <a:ext cx="2625530" cy="2160240"/>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8" name="Picture Placeholder 3"/>
          <p:cNvSpPr>
            <a:spLocks noGrp="1"/>
          </p:cNvSpPr>
          <p:nvPr>
            <p:ph type="pic" sz="quarter" idx="16" hasCustomPrompt="1"/>
          </p:nvPr>
        </p:nvSpPr>
        <p:spPr>
          <a:xfrm>
            <a:off x="6295528" y="1412776"/>
            <a:ext cx="2625530" cy="2160240"/>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20" name="Text Placeholder 4"/>
          <p:cNvSpPr>
            <a:spLocks noGrp="1"/>
          </p:cNvSpPr>
          <p:nvPr>
            <p:ph type="body" sz="quarter" idx="17"/>
          </p:nvPr>
        </p:nvSpPr>
        <p:spPr>
          <a:xfrm>
            <a:off x="323852" y="3703287"/>
            <a:ext cx="8597205" cy="2380344"/>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48847806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2" y="1412777"/>
            <a:ext cx="2908573" cy="151216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9" name="Picture Placeholder 3"/>
          <p:cNvSpPr>
            <a:spLocks noGrp="1"/>
          </p:cNvSpPr>
          <p:nvPr>
            <p:ph type="pic" sz="quarter" idx="15" hasCustomPrompt="1"/>
          </p:nvPr>
        </p:nvSpPr>
        <p:spPr>
          <a:xfrm>
            <a:off x="323852" y="2975180"/>
            <a:ext cx="2908573" cy="151216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20" name="Picture Placeholder 3"/>
          <p:cNvSpPr>
            <a:spLocks noGrp="1"/>
          </p:cNvSpPr>
          <p:nvPr>
            <p:ph type="pic" sz="quarter" idx="16" hasCustomPrompt="1"/>
          </p:nvPr>
        </p:nvSpPr>
        <p:spPr>
          <a:xfrm>
            <a:off x="323852" y="4537585"/>
            <a:ext cx="2908573" cy="154109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43110309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4" y="1412777"/>
            <a:ext cx="2908573" cy="151216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9" name="Picture Placeholder 3"/>
          <p:cNvSpPr>
            <a:spLocks noGrp="1"/>
          </p:cNvSpPr>
          <p:nvPr>
            <p:ph type="pic" sz="quarter" idx="15" hasCustomPrompt="1"/>
          </p:nvPr>
        </p:nvSpPr>
        <p:spPr>
          <a:xfrm>
            <a:off x="6012484" y="2976533"/>
            <a:ext cx="2908573" cy="151216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20" name="Picture Placeholder 3"/>
          <p:cNvSpPr>
            <a:spLocks noGrp="1"/>
          </p:cNvSpPr>
          <p:nvPr>
            <p:ph type="pic" sz="quarter" idx="16" hasCustomPrompt="1"/>
          </p:nvPr>
        </p:nvSpPr>
        <p:spPr>
          <a:xfrm>
            <a:off x="6012484" y="4540292"/>
            <a:ext cx="2908573" cy="1548783"/>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0" name="Text Placeholder 4"/>
          <p:cNvSpPr>
            <a:spLocks noGrp="1"/>
          </p:cNvSpPr>
          <p:nvPr>
            <p:ph type="body" sz="quarter" idx="17"/>
          </p:nvPr>
        </p:nvSpPr>
        <p:spPr>
          <a:xfrm>
            <a:off x="323852" y="1412781"/>
            <a:ext cx="5553983" cy="4665905"/>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627309888"/>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7"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18" dirty="0"/>
          </a:p>
        </p:txBody>
      </p:sp>
      <p:sp>
        <p:nvSpPr>
          <p:cNvPr id="12" name="Text Placeholder 5"/>
          <p:cNvSpPr>
            <a:spLocks noGrp="1"/>
          </p:cNvSpPr>
          <p:nvPr>
            <p:ph type="body" sz="quarter" idx="10" hasCustomPrompt="1"/>
          </p:nvPr>
        </p:nvSpPr>
        <p:spPr>
          <a:xfrm>
            <a:off x="2834999" y="2696461"/>
            <a:ext cx="3897243" cy="266322"/>
          </a:xfrm>
        </p:spPr>
        <p:txBody>
          <a:bodyPr lIns="36000" rIns="36000" anchor="ctr">
            <a:noAutofit/>
          </a:bodyPr>
          <a:lstStyle>
            <a:lvl1pPr>
              <a:defRPr sz="788">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9" y="2963910"/>
            <a:ext cx="3897243" cy="266322"/>
          </a:xfrm>
        </p:spPr>
        <p:txBody>
          <a:bodyPr lIns="36000" rIns="36000" anchor="ctr">
            <a:noAutofit/>
          </a:bodyPr>
          <a:lstStyle>
            <a:lvl1pPr>
              <a:defRPr sz="619"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619"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20250" tIns="40500" rIns="20250" bIns="40500" rtlCol="0" anchor="ctr">
            <a:noAutofit/>
          </a:bodyPr>
          <a:lstStyle/>
          <a:p>
            <a:pPr lvl="0" indent="0">
              <a:spcBef>
                <a:spcPts val="169"/>
              </a:spcBef>
              <a:buFont typeface="Arial" pitchFamily="34" charset="0"/>
              <a:buNone/>
            </a:pPr>
            <a:r>
              <a:rPr lang="en-GB" sz="619"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20" y="3494035"/>
            <a:ext cx="1440160" cy="266322"/>
          </a:xfrm>
        </p:spPr>
        <p:txBody>
          <a:bodyPr lIns="36000" rIns="36000" anchor="ctr">
            <a:noAutofit/>
          </a:bodyPr>
          <a:lstStyle>
            <a:lvl1pPr>
              <a:defRPr sz="619" b="0">
                <a:solidFill>
                  <a:schemeClr val="tx2"/>
                </a:solidFill>
              </a:defRPr>
            </a:lvl1pPr>
          </a:lstStyle>
          <a:p>
            <a:pPr lvl="0"/>
            <a:r>
              <a:rPr lang="en-US" dirty="0"/>
              <a:t>+27 (0)21 XXX XXXX</a:t>
            </a:r>
            <a:endParaRPr lang="en-GB" dirty="0"/>
          </a:p>
        </p:txBody>
      </p:sp>
      <p:sp>
        <p:nvSpPr>
          <p:cNvPr id="17" name="Rectangle 16"/>
          <p:cNvSpPr/>
          <p:nvPr userDrawn="1"/>
        </p:nvSpPr>
        <p:spPr>
          <a:xfrm>
            <a:off x="4780437" y="3497483"/>
            <a:ext cx="402674" cy="261610"/>
          </a:xfrm>
          <a:prstGeom prst="rect">
            <a:avLst/>
          </a:prstGeom>
        </p:spPr>
        <p:txBody>
          <a:bodyPr vert="horz" lIns="20250" tIns="40500" rIns="20250" bIns="40500" rtlCol="0" anchor="ctr">
            <a:noAutofit/>
          </a:bodyPr>
          <a:lstStyle/>
          <a:p>
            <a:pPr lvl="0" indent="0">
              <a:spcBef>
                <a:spcPts val="169"/>
              </a:spcBef>
              <a:buFont typeface="Arial" pitchFamily="34" charset="0"/>
              <a:buNone/>
            </a:pPr>
            <a:r>
              <a:rPr lang="en-GB" sz="619"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8" y="3768568"/>
            <a:ext cx="3734060" cy="266322"/>
          </a:xfrm>
        </p:spPr>
        <p:txBody>
          <a:bodyPr lIns="36000" rIns="36000" anchor="ctr">
            <a:noAutofit/>
          </a:bodyPr>
          <a:lstStyle>
            <a:lvl1pPr>
              <a:defRPr sz="619"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8" y="4043102"/>
            <a:ext cx="3734060" cy="261610"/>
          </a:xfrm>
          <a:prstGeom prst="rect">
            <a:avLst/>
          </a:prstGeom>
        </p:spPr>
        <p:txBody>
          <a:bodyPr vert="horz" lIns="20250" tIns="40500" rIns="20250" bIns="40500" rtlCol="0" anchor="ctr">
            <a:noAutofit/>
          </a:bodyPr>
          <a:lstStyle/>
          <a:p>
            <a:pPr lvl="0" indent="0">
              <a:spcBef>
                <a:spcPts val="169"/>
              </a:spcBef>
              <a:buFont typeface="Arial" pitchFamily="34" charset="0"/>
              <a:buNone/>
            </a:pPr>
            <a:r>
              <a:rPr lang="en-GB" sz="619"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6838" y="1835229"/>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6" y="565703"/>
            <a:ext cx="1431802" cy="369332"/>
          </a:xfrm>
          <a:prstGeom prst="rect">
            <a:avLst/>
          </a:prstGeom>
        </p:spPr>
        <p:txBody>
          <a:bodyPr wrap="none">
            <a:spAutoFit/>
          </a:bodyPr>
          <a:lstStyle/>
          <a:p>
            <a:r>
              <a:rPr kumimoji="0" lang="en-US" sz="18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1350" b="0" dirty="0">
              <a:solidFill>
                <a:schemeClr val="bg1"/>
              </a:solidFill>
            </a:endParaRPr>
          </a:p>
        </p:txBody>
      </p:sp>
      <p:sp>
        <p:nvSpPr>
          <p:cNvPr id="24" name="Text Placeholder 5"/>
          <p:cNvSpPr>
            <a:spLocks noGrp="1"/>
          </p:cNvSpPr>
          <p:nvPr>
            <p:ph type="body" sz="quarter" idx="15" hasCustomPrompt="1"/>
          </p:nvPr>
        </p:nvSpPr>
        <p:spPr>
          <a:xfrm>
            <a:off x="2834997" y="4333520"/>
            <a:ext cx="3349330" cy="266322"/>
          </a:xfrm>
        </p:spPr>
        <p:txBody>
          <a:bodyPr lIns="36000" rIns="36000" anchor="ctr">
            <a:noAutofit/>
          </a:bodyPr>
          <a:lstStyle>
            <a:lvl1pPr>
              <a:defRPr sz="619" b="0" baseline="0">
                <a:solidFill>
                  <a:schemeClr val="tx2"/>
                </a:solidFill>
              </a:defRPr>
            </a:lvl1pPr>
          </a:lstStyle>
          <a:p>
            <a:pPr lvl="0"/>
            <a:r>
              <a:rPr lang="en-ZA" dirty="0"/>
              <a:t>Fill in your address</a:t>
            </a:r>
          </a:p>
        </p:txBody>
      </p:sp>
      <p:sp>
        <p:nvSpPr>
          <p:cNvPr id="20" name="Right Triangle 19"/>
          <p:cNvSpPr/>
          <p:nvPr userDrawn="1"/>
        </p:nvSpPr>
        <p:spPr>
          <a:xfrm flipH="1">
            <a:off x="2834997" y="3284987"/>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75" dirty="0"/>
          </a:p>
        </p:txBody>
      </p:sp>
    </p:spTree>
    <p:extLst>
      <p:ext uri="{BB962C8B-B14F-4D97-AF65-F5344CB8AC3E}">
        <p14:creationId xmlns:p14="http://schemas.microsoft.com/office/powerpoint/2010/main" xmlns="" val="214669240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9" y="3861052"/>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350"/>
              </a:spcAft>
            </a:pPr>
            <a:r>
              <a:rPr lang="en-US" sz="18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75" dirty="0"/>
          </a:p>
        </p:txBody>
      </p:sp>
    </p:spTree>
    <p:extLst>
      <p:ext uri="{BB962C8B-B14F-4D97-AF65-F5344CB8AC3E}">
        <p14:creationId xmlns:p14="http://schemas.microsoft.com/office/powerpoint/2010/main" xmlns="" val="213790018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7A59D77-90A3-4DFE-8F09-C763A6CED0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1FAB3CF2-0053-4D51-82BC-47BF728F8F6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DC5AED37-8A47-4796-A6DD-75CCD706AF11}"/>
              </a:ext>
            </a:extLst>
          </p:cNvPr>
          <p:cNvSpPr>
            <a:spLocks noGrp="1"/>
          </p:cNvSpPr>
          <p:nvPr>
            <p:ph type="dt" sz="half" idx="10"/>
          </p:nvPr>
        </p:nvSpPr>
        <p:spPr/>
        <p:txBody>
          <a:bodyPr/>
          <a:lstStyle/>
          <a:p>
            <a:fld id="{49D2B094-AF8A-4C0A-9C8B-537924D25A29}" type="datetimeFigureOut">
              <a:rPr lang="en-US" smtClean="0"/>
              <a:pPr/>
              <a:t>2/3/2021</a:t>
            </a:fld>
            <a:endParaRPr lang="en-US" dirty="0"/>
          </a:p>
        </p:txBody>
      </p:sp>
      <p:sp>
        <p:nvSpPr>
          <p:cNvPr id="5" name="Footer Placeholder 4">
            <a:extLst>
              <a:ext uri="{FF2B5EF4-FFF2-40B4-BE49-F238E27FC236}">
                <a16:creationId xmlns:a16="http://schemas.microsoft.com/office/drawing/2014/main" xmlns="" id="{3B2EDE3B-0DFF-4E95-8609-17B988F4B00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xmlns="" id="{CF034EE4-9B16-4CCD-94E0-2DBE1D378DBC}"/>
              </a:ext>
            </a:extLst>
          </p:cNvPr>
          <p:cNvSpPr>
            <a:spLocks noGrp="1"/>
          </p:cNvSpPr>
          <p:nvPr>
            <p:ph type="sldNum" sz="quarter" idx="12"/>
          </p:nvPr>
        </p:nvSpPr>
        <p:spPr/>
        <p:txBody>
          <a:bodyPr/>
          <a:lstStyle/>
          <a:p>
            <a:fld id="{B6A2FBE6-51F5-4FBF-B7A8-FBAEDEAF1607}" type="slidenum">
              <a:rPr lang="en-US" smtClean="0"/>
              <a:pPr/>
              <a:t>‹#›</a:t>
            </a:fld>
            <a:endParaRPr lang="en-US" dirty="0"/>
          </a:p>
        </p:txBody>
      </p:sp>
    </p:spTree>
    <p:extLst>
      <p:ext uri="{BB962C8B-B14F-4D97-AF65-F5344CB8AC3E}">
        <p14:creationId xmlns:p14="http://schemas.microsoft.com/office/powerpoint/2010/main" xmlns="" val="326385235"/>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169"/>
              </a:spcBef>
              <a:defRPr sz="1463"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1125"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9"/>
            <a:ext cx="1512168" cy="365125"/>
          </a:xfrm>
          <a:prstGeom prst="rect">
            <a:avLst/>
          </a:prstGeom>
        </p:spPr>
        <p:txBody>
          <a:bodyPr vert="horz" lIns="91440" tIns="45720" rIns="91440" bIns="45720" rtlCol="0" anchor="ctr"/>
          <a:lstStyle>
            <a:lvl1pPr algn="r">
              <a:defRPr sz="675">
                <a:solidFill>
                  <a:schemeClr val="bg1"/>
                </a:solidFill>
              </a:defRPr>
            </a:lvl1pPr>
          </a:lstStyle>
          <a:p>
            <a:fld id="{44DF0C3E-4E99-4E2E-BA98-3D852DE6B51F}" type="datetime3">
              <a:rPr lang="en-US" smtClean="0"/>
              <a:pPr/>
              <a:t>3 February 2021</a:t>
            </a:fld>
            <a:endParaRPr lang="en-GB" dirty="0"/>
          </a:p>
        </p:txBody>
      </p:sp>
      <p:sp>
        <p:nvSpPr>
          <p:cNvPr id="17" name="Text Placeholder 16"/>
          <p:cNvSpPr>
            <a:spLocks noGrp="1"/>
          </p:cNvSpPr>
          <p:nvPr>
            <p:ph type="body" sz="quarter" idx="10" hasCustomPrompt="1"/>
          </p:nvPr>
        </p:nvSpPr>
        <p:spPr>
          <a:xfrm>
            <a:off x="3635548" y="5398049"/>
            <a:ext cx="1584176" cy="365125"/>
          </a:xfrm>
        </p:spPr>
        <p:txBody>
          <a:bodyPr>
            <a:normAutofit/>
          </a:bodyPr>
          <a:lstStyle>
            <a:lvl1pPr algn="r">
              <a:defRPr sz="675"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9"/>
            <a:ext cx="1944216" cy="365125"/>
          </a:xfrm>
        </p:spPr>
        <p:txBody>
          <a:bodyPr>
            <a:normAutofit/>
          </a:bodyPr>
          <a:lstStyle>
            <a:lvl1pPr algn="r">
              <a:defRPr sz="675"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6"/>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75"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xmlns=""/>
              </a:ext>
            </a:extLst>
          </a:blip>
          <a:stretch>
            <a:fillRect/>
          </a:stretch>
        </p:blipFill>
        <p:spPr>
          <a:xfrm>
            <a:off x="488488" y="620688"/>
            <a:ext cx="3246314" cy="1008112"/>
          </a:xfrm>
          <a:prstGeom prst="rect">
            <a:avLst/>
          </a:prstGeom>
        </p:spPr>
      </p:pic>
    </p:spTree>
    <p:extLst>
      <p:ext uri="{BB962C8B-B14F-4D97-AF65-F5344CB8AC3E}">
        <p14:creationId xmlns:p14="http://schemas.microsoft.com/office/powerpoint/2010/main" xmlns="" val="14513288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2"/>
          </p:nvPr>
        </p:nvSpPr>
        <p:spPr>
          <a:xfrm>
            <a:off x="295276"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0"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75134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7" y="1196755"/>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9182069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7" y="1196755"/>
            <a:ext cx="4060701" cy="4896073"/>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1" y="1196755"/>
            <a:ext cx="4060701" cy="4896073"/>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35761798"/>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3391129099"/>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7" y="1412780"/>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16351590"/>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7" y="1412780"/>
            <a:ext cx="4060701" cy="4680049"/>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1" y="1412780"/>
            <a:ext cx="4060701" cy="4680049"/>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6774403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131777655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7" y="5681852"/>
            <a:ext cx="8597205" cy="409469"/>
          </a:xfrm>
        </p:spPr>
        <p:txBody>
          <a:bodyPr bIns="0" anchor="b">
            <a:noAutofit/>
          </a:bodyPr>
          <a:lstStyle>
            <a:lvl1pPr>
              <a:spcBef>
                <a:spcPts val="0"/>
              </a:spcBef>
              <a:defRPr sz="45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7"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5104281"/>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7" y="5681852"/>
            <a:ext cx="8597205" cy="409469"/>
          </a:xfrm>
        </p:spPr>
        <p:txBody>
          <a:bodyPr bIns="0" anchor="b">
            <a:noAutofit/>
          </a:bodyPr>
          <a:lstStyle>
            <a:lvl1pPr>
              <a:spcBef>
                <a:spcPts val="0"/>
              </a:spcBef>
              <a:defRPr sz="450" b="0"/>
            </a:lvl1pPr>
          </a:lstStyle>
          <a:p>
            <a:pPr lvl="0"/>
            <a:r>
              <a:rPr lang="en-US" dirty="0"/>
              <a:t>Source: Xxx</a:t>
            </a:r>
          </a:p>
        </p:txBody>
      </p:sp>
      <p:sp>
        <p:nvSpPr>
          <p:cNvPr id="10" name="Text Placeholder 4"/>
          <p:cNvSpPr>
            <a:spLocks noGrp="1"/>
          </p:cNvSpPr>
          <p:nvPr>
            <p:ph type="body" sz="quarter" idx="12"/>
          </p:nvPr>
        </p:nvSpPr>
        <p:spPr>
          <a:xfrm>
            <a:off x="295277" y="1196752"/>
            <a:ext cx="4060701" cy="4487075"/>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1" y="1196752"/>
            <a:ext cx="4060701" cy="4487075"/>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87495195"/>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7" y="5681852"/>
            <a:ext cx="8597205" cy="409469"/>
          </a:xfrm>
        </p:spPr>
        <p:txBody>
          <a:bodyPr bIns="0" anchor="b">
            <a:noAutofit/>
          </a:bodyPr>
          <a:lstStyle>
            <a:lvl1pPr>
              <a:spcBef>
                <a:spcPts val="0"/>
              </a:spcBef>
              <a:defRPr sz="450" b="0"/>
            </a:lvl1pPr>
          </a:lstStyle>
          <a:p>
            <a:pPr lvl="0"/>
            <a:r>
              <a:rPr lang="en-US" dirty="0"/>
              <a:t>Source: Xxx</a:t>
            </a:r>
          </a:p>
        </p:txBody>
      </p:sp>
    </p:spTree>
    <p:extLst>
      <p:ext uri="{BB962C8B-B14F-4D97-AF65-F5344CB8AC3E}">
        <p14:creationId xmlns:p14="http://schemas.microsoft.com/office/powerpoint/2010/main" xmlns="" val="1222711570"/>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7" y="5681852"/>
            <a:ext cx="8597205" cy="409469"/>
          </a:xfrm>
        </p:spPr>
        <p:txBody>
          <a:bodyPr bIns="0" anchor="b">
            <a:noAutofit/>
          </a:bodyPr>
          <a:lstStyle>
            <a:lvl1pPr>
              <a:spcBef>
                <a:spcPts val="0"/>
              </a:spcBef>
              <a:defRPr sz="450" b="0"/>
            </a:lvl1pPr>
          </a:lstStyle>
          <a:p>
            <a:pPr lvl="0"/>
            <a:r>
              <a:rPr lang="en-US" dirty="0"/>
              <a:t>Source: Xxx</a:t>
            </a:r>
          </a:p>
        </p:txBody>
      </p:sp>
      <p:sp>
        <p:nvSpPr>
          <p:cNvPr id="13" name="Text Placeholder 4"/>
          <p:cNvSpPr>
            <a:spLocks noGrp="1"/>
          </p:cNvSpPr>
          <p:nvPr>
            <p:ph type="body" sz="quarter" idx="14"/>
          </p:nvPr>
        </p:nvSpPr>
        <p:spPr>
          <a:xfrm>
            <a:off x="295277"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792216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Tree>
    <p:extLst>
      <p:ext uri="{BB962C8B-B14F-4D97-AF65-F5344CB8AC3E}">
        <p14:creationId xmlns:p14="http://schemas.microsoft.com/office/powerpoint/2010/main" xmlns="" val="425973402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7" y="1412780"/>
            <a:ext cx="4060701" cy="4281441"/>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7" y="5681852"/>
            <a:ext cx="8597205" cy="409469"/>
          </a:xfrm>
        </p:spPr>
        <p:txBody>
          <a:bodyPr bIns="0" anchor="b">
            <a:noAutofit/>
          </a:bodyPr>
          <a:lstStyle>
            <a:lvl1pPr>
              <a:spcBef>
                <a:spcPts val="0"/>
              </a:spcBef>
              <a:defRPr sz="450" b="0"/>
            </a:lvl1pPr>
          </a:lstStyle>
          <a:p>
            <a:pPr lvl="0"/>
            <a:r>
              <a:rPr lang="en-US" dirty="0"/>
              <a:t>Source: Xxx</a:t>
            </a:r>
          </a:p>
        </p:txBody>
      </p:sp>
      <p:sp>
        <p:nvSpPr>
          <p:cNvPr id="9"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81" y="1412780"/>
            <a:ext cx="4060701" cy="4281441"/>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65802729"/>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7" y="5681852"/>
            <a:ext cx="8597205" cy="409469"/>
          </a:xfrm>
        </p:spPr>
        <p:txBody>
          <a:bodyPr bIns="0" anchor="b">
            <a:noAutofit/>
          </a:bodyPr>
          <a:lstStyle>
            <a:lvl1pPr>
              <a:spcBef>
                <a:spcPts val="0"/>
              </a:spcBef>
              <a:defRPr sz="450" b="0"/>
            </a:lvl1pPr>
          </a:lstStyle>
          <a:p>
            <a:pPr lvl="0"/>
            <a:r>
              <a:rPr lang="en-US" dirty="0"/>
              <a:t>Source: Xxx</a:t>
            </a:r>
          </a:p>
        </p:txBody>
      </p:sp>
      <p:sp>
        <p:nvSpPr>
          <p:cNvPr id="10"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68285283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90" y="2276876"/>
            <a:ext cx="8281291" cy="936625"/>
          </a:xfrm>
          <a:prstGeom prst="rect">
            <a:avLst/>
          </a:prstGeom>
          <a:noFill/>
        </p:spPr>
        <p:txBody>
          <a:bodyPr anchor="ctr">
            <a:normAutofit/>
          </a:bodyPr>
          <a:lstStyle>
            <a:lvl1pPr>
              <a:defRPr sz="18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179514"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7"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75" dirty="0"/>
          </a:p>
        </p:txBody>
      </p:sp>
    </p:spTree>
    <p:extLst>
      <p:ext uri="{BB962C8B-B14F-4D97-AF65-F5344CB8AC3E}">
        <p14:creationId xmlns:p14="http://schemas.microsoft.com/office/powerpoint/2010/main" xmlns="" val="2159271655"/>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2" y="1412775"/>
            <a:ext cx="2908573" cy="4680049"/>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4" name="Text Placeholder 4"/>
          <p:cNvSpPr>
            <a:spLocks noGrp="1"/>
          </p:cNvSpPr>
          <p:nvPr>
            <p:ph type="body" sz="quarter" idx="15"/>
          </p:nvPr>
        </p:nvSpPr>
        <p:spPr>
          <a:xfrm>
            <a:off x="3448447" y="1412780"/>
            <a:ext cx="5472608" cy="4680049"/>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4159508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8" y="1412776"/>
            <a:ext cx="2404517" cy="468004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5" name="Text Placeholder 4"/>
          <p:cNvSpPr>
            <a:spLocks noGrp="1"/>
          </p:cNvSpPr>
          <p:nvPr>
            <p:ph type="body" sz="quarter" idx="15"/>
          </p:nvPr>
        </p:nvSpPr>
        <p:spPr>
          <a:xfrm>
            <a:off x="323852" y="1412777"/>
            <a:ext cx="6004917" cy="4680048"/>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422982156"/>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5" name="Text Placeholder 4"/>
          <p:cNvSpPr>
            <a:spLocks noGrp="1"/>
          </p:cNvSpPr>
          <p:nvPr>
            <p:ph type="body" sz="quarter" idx="16"/>
          </p:nvPr>
        </p:nvSpPr>
        <p:spPr>
          <a:xfrm>
            <a:off x="323852" y="3532181"/>
            <a:ext cx="8597205" cy="2551450"/>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428196626"/>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5" name="Text Placeholder 4"/>
          <p:cNvSpPr>
            <a:spLocks noGrp="1"/>
          </p:cNvSpPr>
          <p:nvPr>
            <p:ph type="body" sz="quarter" idx="16"/>
          </p:nvPr>
        </p:nvSpPr>
        <p:spPr>
          <a:xfrm>
            <a:off x="323852" y="1412776"/>
            <a:ext cx="8597205" cy="2143224"/>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3480444"/>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9" y="3645024"/>
            <a:ext cx="2625529" cy="2304256"/>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7" name="Picture Placeholder 3"/>
          <p:cNvSpPr>
            <a:spLocks noGrp="1"/>
          </p:cNvSpPr>
          <p:nvPr>
            <p:ph type="pic" sz="quarter" idx="15" hasCustomPrompt="1"/>
          </p:nvPr>
        </p:nvSpPr>
        <p:spPr>
          <a:xfrm>
            <a:off x="3292909" y="3645024"/>
            <a:ext cx="2625529" cy="2304256"/>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8" name="Picture Placeholder 3"/>
          <p:cNvSpPr>
            <a:spLocks noGrp="1"/>
          </p:cNvSpPr>
          <p:nvPr>
            <p:ph type="pic" sz="quarter" idx="16" hasCustomPrompt="1"/>
          </p:nvPr>
        </p:nvSpPr>
        <p:spPr>
          <a:xfrm>
            <a:off x="6295528" y="3645024"/>
            <a:ext cx="2625529" cy="2304256"/>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9" name="Text Placeholder 4"/>
          <p:cNvSpPr>
            <a:spLocks noGrp="1"/>
          </p:cNvSpPr>
          <p:nvPr>
            <p:ph type="body" sz="quarter" idx="17"/>
          </p:nvPr>
        </p:nvSpPr>
        <p:spPr>
          <a:xfrm>
            <a:off x="323852" y="1412776"/>
            <a:ext cx="8597205" cy="2143224"/>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4187189"/>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9" y="1412776"/>
            <a:ext cx="2625529" cy="2160240"/>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7" name="Picture Placeholder 3"/>
          <p:cNvSpPr>
            <a:spLocks noGrp="1"/>
          </p:cNvSpPr>
          <p:nvPr>
            <p:ph type="pic" sz="quarter" idx="15" hasCustomPrompt="1"/>
          </p:nvPr>
        </p:nvSpPr>
        <p:spPr>
          <a:xfrm>
            <a:off x="3292909" y="1412776"/>
            <a:ext cx="2625529" cy="2160240"/>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8" name="Picture Placeholder 3"/>
          <p:cNvSpPr>
            <a:spLocks noGrp="1"/>
          </p:cNvSpPr>
          <p:nvPr>
            <p:ph type="pic" sz="quarter" idx="16" hasCustomPrompt="1"/>
          </p:nvPr>
        </p:nvSpPr>
        <p:spPr>
          <a:xfrm>
            <a:off x="6295528" y="1412776"/>
            <a:ext cx="2625529" cy="2160240"/>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20" name="Text Placeholder 4"/>
          <p:cNvSpPr>
            <a:spLocks noGrp="1"/>
          </p:cNvSpPr>
          <p:nvPr>
            <p:ph type="body" sz="quarter" idx="17"/>
          </p:nvPr>
        </p:nvSpPr>
        <p:spPr>
          <a:xfrm>
            <a:off x="323852" y="3703287"/>
            <a:ext cx="8597205" cy="2380344"/>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13652854"/>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2" y="1412776"/>
            <a:ext cx="2908573" cy="151216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9" name="Picture Placeholder 3"/>
          <p:cNvSpPr>
            <a:spLocks noGrp="1"/>
          </p:cNvSpPr>
          <p:nvPr>
            <p:ph type="pic" sz="quarter" idx="15" hasCustomPrompt="1"/>
          </p:nvPr>
        </p:nvSpPr>
        <p:spPr>
          <a:xfrm>
            <a:off x="323852" y="2975180"/>
            <a:ext cx="2908573" cy="151216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20" name="Picture Placeholder 3"/>
          <p:cNvSpPr>
            <a:spLocks noGrp="1"/>
          </p:cNvSpPr>
          <p:nvPr>
            <p:ph type="pic" sz="quarter" idx="16" hasCustomPrompt="1"/>
          </p:nvPr>
        </p:nvSpPr>
        <p:spPr>
          <a:xfrm>
            <a:off x="323852" y="4537584"/>
            <a:ext cx="2908573" cy="154109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731531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3" name="Text Placeholder 4"/>
          <p:cNvSpPr>
            <a:spLocks noGrp="1"/>
          </p:cNvSpPr>
          <p:nvPr>
            <p:ph type="body" sz="quarter" idx="14"/>
          </p:nvPr>
        </p:nvSpPr>
        <p:spPr>
          <a:xfrm>
            <a:off x="295276"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7839398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7"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4" y="1412776"/>
            <a:ext cx="2908573" cy="151216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9" name="Picture Placeholder 3"/>
          <p:cNvSpPr>
            <a:spLocks noGrp="1"/>
          </p:cNvSpPr>
          <p:nvPr>
            <p:ph type="pic" sz="quarter" idx="15" hasCustomPrompt="1"/>
          </p:nvPr>
        </p:nvSpPr>
        <p:spPr>
          <a:xfrm>
            <a:off x="6012484" y="2976533"/>
            <a:ext cx="2908573" cy="1512168"/>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20" name="Picture Placeholder 3"/>
          <p:cNvSpPr>
            <a:spLocks noGrp="1"/>
          </p:cNvSpPr>
          <p:nvPr>
            <p:ph type="pic" sz="quarter" idx="16" hasCustomPrompt="1"/>
          </p:nvPr>
        </p:nvSpPr>
        <p:spPr>
          <a:xfrm>
            <a:off x="6012484" y="4540293"/>
            <a:ext cx="2908573" cy="1548783"/>
          </a:xfrm>
          <a:prstGeom prst="round2DiagRect">
            <a:avLst/>
          </a:prstGeom>
        </p:spPr>
        <p:txBody>
          <a:bodyPr vert="horz" lIns="72000" tIns="72000" rIns="72000" bIns="72000" rtlCol="0">
            <a:normAutofit/>
          </a:bodyPr>
          <a:lstStyle>
            <a:lvl1pPr>
              <a:defRPr lang="en-GB" sz="788"/>
            </a:lvl1pPr>
          </a:lstStyle>
          <a:p>
            <a:pPr lvl="0"/>
            <a:r>
              <a:rPr lang="en-GB" dirty="0"/>
              <a:t>Picture placeholder</a:t>
            </a:r>
          </a:p>
        </p:txBody>
      </p:sp>
      <p:sp>
        <p:nvSpPr>
          <p:cNvPr id="10" name="Text Placeholder 4"/>
          <p:cNvSpPr>
            <a:spLocks noGrp="1"/>
          </p:cNvSpPr>
          <p:nvPr>
            <p:ph type="body" sz="quarter" idx="17"/>
          </p:nvPr>
        </p:nvSpPr>
        <p:spPr>
          <a:xfrm>
            <a:off x="323852" y="1412781"/>
            <a:ext cx="5553983" cy="4665905"/>
          </a:xfrm>
        </p:spPr>
        <p:txBody>
          <a:bodyPr>
            <a:normAutofit/>
          </a:bodyPr>
          <a:lstStyle>
            <a:lvl1pPr>
              <a:defRPr sz="788"/>
            </a:lvl1pPr>
            <a:lvl2pPr>
              <a:defRPr sz="788"/>
            </a:lvl2pPr>
            <a:lvl3pPr>
              <a:defRPr sz="788"/>
            </a:lvl3pPr>
            <a:lvl4pPr>
              <a:defRPr sz="788"/>
            </a:lvl4pPr>
            <a:lvl5pPr>
              <a:defRPr sz="78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7" y="1039982"/>
            <a:ext cx="8597205" cy="288925"/>
          </a:xfrm>
        </p:spPr>
        <p:txBody>
          <a:bodyPr anchor="ctr">
            <a:noAutofit/>
          </a:bodyPr>
          <a:lstStyle>
            <a:lvl1pPr>
              <a:defRPr sz="1013"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03146833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_Back Slide &quot;Thank You&quot;">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dirty="0"/>
          </a:p>
        </p:txBody>
      </p:sp>
      <p:sp>
        <p:nvSpPr>
          <p:cNvPr id="12" name="Text Placeholder 5"/>
          <p:cNvSpPr>
            <a:spLocks noGrp="1"/>
          </p:cNvSpPr>
          <p:nvPr>
            <p:ph type="body" sz="quarter" idx="10" hasCustomPrompt="1"/>
          </p:nvPr>
        </p:nvSpPr>
        <p:spPr>
          <a:xfrm>
            <a:off x="2834999" y="2696461"/>
            <a:ext cx="3897243" cy="266322"/>
          </a:xfrm>
        </p:spPr>
        <p:txBody>
          <a:bodyPr lIns="36000" rIns="36000" anchor="ctr">
            <a:noAutofit/>
          </a:bodyPr>
          <a:lstStyle>
            <a:lvl1pPr>
              <a:defRPr sz="788">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9" y="2963910"/>
            <a:ext cx="3897243" cy="266322"/>
          </a:xfrm>
        </p:spPr>
        <p:txBody>
          <a:bodyPr lIns="36000" rIns="36000" anchor="ctr">
            <a:noAutofit/>
          </a:bodyPr>
          <a:lstStyle>
            <a:lvl1pPr>
              <a:defRPr sz="619"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619"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20250" tIns="40500" rIns="20250" bIns="40500" rtlCol="0" anchor="ctr">
            <a:noAutofit/>
          </a:bodyPr>
          <a:lstStyle/>
          <a:p>
            <a:pPr lvl="0" indent="0">
              <a:spcBef>
                <a:spcPts val="169"/>
              </a:spcBef>
              <a:buFont typeface="Arial" pitchFamily="34" charset="0"/>
              <a:buNone/>
            </a:pPr>
            <a:r>
              <a:rPr lang="en-GB" sz="619"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20" y="3494035"/>
            <a:ext cx="1440160" cy="266322"/>
          </a:xfrm>
        </p:spPr>
        <p:txBody>
          <a:bodyPr lIns="36000" rIns="36000" anchor="ctr">
            <a:noAutofit/>
          </a:bodyPr>
          <a:lstStyle>
            <a:lvl1pPr>
              <a:defRPr sz="619" b="0">
                <a:solidFill>
                  <a:schemeClr val="tx2"/>
                </a:solidFill>
              </a:defRPr>
            </a:lvl1pPr>
          </a:lstStyle>
          <a:p>
            <a:pPr lvl="0"/>
            <a:r>
              <a:rPr lang="en-US" dirty="0"/>
              <a:t>+27 (0)21 XXX XXXX</a:t>
            </a:r>
            <a:endParaRPr lang="en-GB" dirty="0"/>
          </a:p>
        </p:txBody>
      </p:sp>
      <p:sp>
        <p:nvSpPr>
          <p:cNvPr id="17" name="Rectangle 16"/>
          <p:cNvSpPr/>
          <p:nvPr userDrawn="1"/>
        </p:nvSpPr>
        <p:spPr>
          <a:xfrm>
            <a:off x="4780438" y="3497483"/>
            <a:ext cx="402674" cy="261610"/>
          </a:xfrm>
          <a:prstGeom prst="rect">
            <a:avLst/>
          </a:prstGeom>
        </p:spPr>
        <p:txBody>
          <a:bodyPr vert="horz" lIns="20250" tIns="40500" rIns="20250" bIns="40500" rtlCol="0" anchor="ctr">
            <a:noAutofit/>
          </a:bodyPr>
          <a:lstStyle/>
          <a:p>
            <a:pPr lvl="0" indent="0">
              <a:spcBef>
                <a:spcPts val="169"/>
              </a:spcBef>
              <a:buFont typeface="Arial" pitchFamily="34" charset="0"/>
              <a:buNone/>
            </a:pPr>
            <a:r>
              <a:rPr lang="en-GB" sz="619"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9" y="3768568"/>
            <a:ext cx="3734059" cy="266322"/>
          </a:xfrm>
        </p:spPr>
        <p:txBody>
          <a:bodyPr lIns="36000" rIns="36000" anchor="ctr">
            <a:noAutofit/>
          </a:bodyPr>
          <a:lstStyle>
            <a:lvl1pPr>
              <a:defRPr sz="619"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8" y="4043102"/>
            <a:ext cx="3734059" cy="261610"/>
          </a:xfrm>
          <a:prstGeom prst="rect">
            <a:avLst/>
          </a:prstGeom>
        </p:spPr>
        <p:txBody>
          <a:bodyPr vert="horz" lIns="20250" tIns="40500" rIns="20250" bIns="40500" rtlCol="0" anchor="ctr">
            <a:noAutofit/>
          </a:bodyPr>
          <a:lstStyle/>
          <a:p>
            <a:pPr lvl="0" indent="0">
              <a:spcBef>
                <a:spcPts val="169"/>
              </a:spcBef>
              <a:buFont typeface="Arial" pitchFamily="34" charset="0"/>
              <a:buNone/>
            </a:pPr>
            <a:r>
              <a:rPr lang="en-GB" sz="619"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2196838" y="1835229"/>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6" y="565704"/>
            <a:ext cx="1431802" cy="369332"/>
          </a:xfrm>
          <a:prstGeom prst="rect">
            <a:avLst/>
          </a:prstGeom>
        </p:spPr>
        <p:txBody>
          <a:bodyPr wrap="none">
            <a:spAutoFit/>
          </a:bodyPr>
          <a:lstStyle/>
          <a:p>
            <a:r>
              <a:rPr kumimoji="0" lang="en-US" sz="18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1350" b="0" dirty="0">
              <a:solidFill>
                <a:schemeClr val="bg1"/>
              </a:solidFill>
            </a:endParaRPr>
          </a:p>
        </p:txBody>
      </p:sp>
      <p:sp>
        <p:nvSpPr>
          <p:cNvPr id="24" name="Text Placeholder 5"/>
          <p:cNvSpPr>
            <a:spLocks noGrp="1"/>
          </p:cNvSpPr>
          <p:nvPr>
            <p:ph type="body" sz="quarter" idx="15" hasCustomPrompt="1"/>
          </p:nvPr>
        </p:nvSpPr>
        <p:spPr>
          <a:xfrm>
            <a:off x="2834997" y="4333520"/>
            <a:ext cx="3349330" cy="266322"/>
          </a:xfrm>
        </p:spPr>
        <p:txBody>
          <a:bodyPr lIns="36000" rIns="36000" anchor="ctr">
            <a:noAutofit/>
          </a:bodyPr>
          <a:lstStyle>
            <a:lvl1pPr>
              <a:defRPr sz="619"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8"/>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75" dirty="0"/>
          </a:p>
        </p:txBody>
      </p:sp>
    </p:spTree>
    <p:extLst>
      <p:ext uri="{BB962C8B-B14F-4D97-AF65-F5344CB8AC3E}">
        <p14:creationId xmlns:p14="http://schemas.microsoft.com/office/powerpoint/2010/main" xmlns="" val="1560032709"/>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ack Slide &quot;Thank You&quot;">
    <p:spTree>
      <p:nvGrpSpPr>
        <p:cNvPr id="1" name=""/>
        <p:cNvGrpSpPr/>
        <p:nvPr/>
      </p:nvGrpSpPr>
      <p:grpSpPr>
        <a:xfrm>
          <a:off x="0" y="0"/>
          <a:ext cx="0" cy="0"/>
          <a:chOff x="0" y="0"/>
          <a:chExt cx="0" cy="0"/>
        </a:xfrm>
      </p:grpSpPr>
      <p:sp>
        <p:nvSpPr>
          <p:cNvPr id="9" name="Title 1"/>
          <p:cNvSpPr txBox="1">
            <a:spLocks/>
          </p:cNvSpPr>
          <p:nvPr userDrawn="1"/>
        </p:nvSpPr>
        <p:spPr>
          <a:xfrm>
            <a:off x="1763689" y="3861052"/>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350"/>
              </a:spcAft>
            </a:pPr>
            <a:r>
              <a:rPr lang="en-US" sz="18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75" dirty="0"/>
          </a:p>
        </p:txBody>
      </p:sp>
    </p:spTree>
    <p:extLst>
      <p:ext uri="{BB962C8B-B14F-4D97-AF65-F5344CB8AC3E}">
        <p14:creationId xmlns:p14="http://schemas.microsoft.com/office/powerpoint/2010/main" xmlns="" val="67497170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solidFill>
                  <a:prstClr val="white"/>
                </a:solidFill>
              </a:rPr>
              <a:pPr/>
              <a:t>3 February 2021</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xmlns=""/>
              </a:ext>
            </a:extLst>
          </a:blip>
          <a:stretch>
            <a:fillRect/>
          </a:stretch>
        </p:blipFill>
        <p:spPr>
          <a:xfrm>
            <a:off x="488487" y="620688"/>
            <a:ext cx="3246314" cy="1008112"/>
          </a:xfrm>
          <a:prstGeom prst="rect">
            <a:avLst/>
          </a:prstGeom>
        </p:spPr>
      </p:pic>
    </p:spTree>
    <p:extLst>
      <p:ext uri="{BB962C8B-B14F-4D97-AF65-F5344CB8AC3E}">
        <p14:creationId xmlns:p14="http://schemas.microsoft.com/office/powerpoint/2010/main" xmlns="" val="115304602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33964621"/>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3400106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322119410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45902383"/>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1689000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16274214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6"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80"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3092578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3880940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68008988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05812891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94472578"/>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1572343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522931917"/>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xmlns="" val="3417445777"/>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71828282"/>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0496203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4624265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992257058"/>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77751064"/>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36888017"/>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83496180"/>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357249442"/>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04562540"/>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xmlns="" val="819308988"/>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xmlns="" val="3548941453"/>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15" y="0"/>
            <a:ext cx="9142571" cy="6858000"/>
          </a:xfrm>
          <a:prstGeom prst="rect">
            <a:avLst/>
          </a:prstGeom>
        </p:spPr>
      </p:pic>
      <p:sp>
        <p:nvSpPr>
          <p:cNvPr id="2" name="Title 1"/>
          <p:cNvSpPr>
            <a:spLocks noGrp="1"/>
          </p:cNvSpPr>
          <p:nvPr>
            <p:ph type="ctrTitle" hasCustomPrompt="1"/>
          </p:nvPr>
        </p:nvSpPr>
        <p:spPr>
          <a:xfrm>
            <a:off x="295277"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7" y="1266826"/>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2987839416"/>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D1FBA09-0B7C-46C4-AB80-3AF0454CEF1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61896DE7-C854-47CF-9C59-BB201FD4577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E9D1FEB4-73D3-46A1-91BA-4E13ACC15661}"/>
              </a:ext>
            </a:extLst>
          </p:cNvPr>
          <p:cNvSpPr>
            <a:spLocks noGrp="1"/>
          </p:cNvSpPr>
          <p:nvPr>
            <p:ph type="dt" sz="half" idx="10"/>
          </p:nvPr>
        </p:nvSpPr>
        <p:spPr/>
        <p:txBody>
          <a:bodyPr/>
          <a:lstStyle/>
          <a:p>
            <a:fld id="{573B1D1C-4177-4F85-BC3E-5C82FB777E5C}" type="datetimeFigureOut">
              <a:rPr lang="en-US" smtClean="0">
                <a:solidFill>
                  <a:prstClr val="black"/>
                </a:solidFill>
              </a:rPr>
              <a:pPr/>
              <a:t>2/3/2021</a:t>
            </a:fld>
            <a:endParaRPr lang="en-US" dirty="0">
              <a:solidFill>
                <a:prstClr val="black"/>
              </a:solidFill>
            </a:endParaRPr>
          </a:p>
        </p:txBody>
      </p:sp>
      <p:sp>
        <p:nvSpPr>
          <p:cNvPr id="5" name="Footer Placeholder 4">
            <a:extLst>
              <a:ext uri="{FF2B5EF4-FFF2-40B4-BE49-F238E27FC236}">
                <a16:creationId xmlns:a16="http://schemas.microsoft.com/office/drawing/2014/main" xmlns="" id="{B71C711D-8339-4172-B857-6312244B53C0}"/>
              </a:ext>
            </a:extLst>
          </p:cNvPr>
          <p:cNvSpPr>
            <a:spLocks noGrp="1"/>
          </p:cNvSpPr>
          <p:nvPr>
            <p:ph type="ftr" sz="quarter" idx="11"/>
          </p:nvPr>
        </p:nvSpPr>
        <p:spPr/>
        <p:txBody>
          <a:bodyPr/>
          <a:lstStyle/>
          <a:p>
            <a:endParaRPr lang="en-US" dirty="0">
              <a:solidFill>
                <a:srgbClr val="998F86"/>
              </a:solidFill>
            </a:endParaRPr>
          </a:p>
        </p:txBody>
      </p:sp>
      <p:sp>
        <p:nvSpPr>
          <p:cNvPr id="6" name="Slide Number Placeholder 5">
            <a:extLst>
              <a:ext uri="{FF2B5EF4-FFF2-40B4-BE49-F238E27FC236}">
                <a16:creationId xmlns:a16="http://schemas.microsoft.com/office/drawing/2014/main" xmlns="" id="{3CFDADEE-0C13-4D51-957B-CC0B3EF45421}"/>
              </a:ext>
            </a:extLst>
          </p:cNvPr>
          <p:cNvSpPr>
            <a:spLocks noGrp="1"/>
          </p:cNvSpPr>
          <p:nvPr>
            <p:ph type="sldNum" sz="quarter" idx="12"/>
          </p:nvPr>
        </p:nvSpPr>
        <p:spPr/>
        <p:txBody>
          <a:bodyPr/>
          <a:lstStyle/>
          <a:p>
            <a:fld id="{BD77D2D9-0641-4FD3-9DEB-B682FF3871AC}" type="slidenum">
              <a:rPr lang="en-US" smtClean="0">
                <a:solidFill>
                  <a:srgbClr val="003399"/>
                </a:solidFill>
              </a:rPr>
              <a:pPr/>
              <a:t>‹#›</a:t>
            </a:fld>
            <a:endParaRPr lang="en-US" dirty="0">
              <a:solidFill>
                <a:srgbClr val="003399"/>
              </a:solidFill>
            </a:endParaRPr>
          </a:p>
        </p:txBody>
      </p:sp>
    </p:spTree>
    <p:extLst>
      <p:ext uri="{BB962C8B-B14F-4D97-AF65-F5344CB8AC3E}">
        <p14:creationId xmlns:p14="http://schemas.microsoft.com/office/powerpoint/2010/main" xmlns="" val="3211603600"/>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627ED9C8-F09A-4D9E-BEC0-4725162E21FF}" type="datetimeFigureOut">
              <a:rPr lang="en-US" smtClean="0"/>
              <a:pPr/>
              <a:t>2/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pPr/>
              <a:t>‹#›</a:t>
            </a:fld>
            <a:endParaRPr lang="en-US"/>
          </a:p>
        </p:txBody>
      </p:sp>
    </p:spTree>
    <p:extLst>
      <p:ext uri="{BB962C8B-B14F-4D97-AF65-F5344CB8AC3E}">
        <p14:creationId xmlns:p14="http://schemas.microsoft.com/office/powerpoint/2010/main" xmlns="" val="29734347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4"/>
            <a:ext cx="8281291" cy="936625"/>
          </a:xfrm>
          <a:prstGeom prst="rect">
            <a:avLst/>
          </a:prstGeom>
          <a:no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179513"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7"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2578322173"/>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pPr/>
              <a:t>2/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pPr/>
              <a:t>‹#›</a:t>
            </a:fld>
            <a:endParaRPr lang="en-US"/>
          </a:p>
        </p:txBody>
      </p:sp>
    </p:spTree>
    <p:extLst>
      <p:ext uri="{BB962C8B-B14F-4D97-AF65-F5344CB8AC3E}">
        <p14:creationId xmlns:p14="http://schemas.microsoft.com/office/powerpoint/2010/main" xmlns="" val="1947414792"/>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27ED9C8-F09A-4D9E-BEC0-4725162E21FF}" type="datetimeFigureOut">
              <a:rPr lang="en-US" smtClean="0"/>
              <a:pPr/>
              <a:t>2/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pPr/>
              <a:t>‹#›</a:t>
            </a:fld>
            <a:endParaRPr lang="en-US"/>
          </a:p>
        </p:txBody>
      </p:sp>
    </p:spTree>
    <p:extLst>
      <p:ext uri="{BB962C8B-B14F-4D97-AF65-F5344CB8AC3E}">
        <p14:creationId xmlns:p14="http://schemas.microsoft.com/office/powerpoint/2010/main" xmlns="" val="4207620642"/>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27ED9C8-F09A-4D9E-BEC0-4725162E21FF}" type="datetimeFigureOut">
              <a:rPr lang="en-US" smtClean="0"/>
              <a:pPr/>
              <a:t>2/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pPr/>
              <a:t>‹#›</a:t>
            </a:fld>
            <a:endParaRPr lang="en-US"/>
          </a:p>
        </p:txBody>
      </p:sp>
    </p:spTree>
    <p:extLst>
      <p:ext uri="{BB962C8B-B14F-4D97-AF65-F5344CB8AC3E}">
        <p14:creationId xmlns:p14="http://schemas.microsoft.com/office/powerpoint/2010/main" xmlns="" val="3396221726"/>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27ED9C8-F09A-4D9E-BEC0-4725162E21FF}" type="datetimeFigureOut">
              <a:rPr lang="en-US" smtClean="0"/>
              <a:pPr/>
              <a:t>2/3/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C7D807A-D3EC-4DEA-86E2-120E4093F1A6}" type="slidenum">
              <a:rPr lang="en-US" smtClean="0"/>
              <a:pPr/>
              <a:t>‹#›</a:t>
            </a:fld>
            <a:endParaRPr lang="en-US"/>
          </a:p>
        </p:txBody>
      </p:sp>
    </p:spTree>
    <p:extLst>
      <p:ext uri="{BB962C8B-B14F-4D97-AF65-F5344CB8AC3E}">
        <p14:creationId xmlns:p14="http://schemas.microsoft.com/office/powerpoint/2010/main" xmlns="" val="1848833873"/>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27ED9C8-F09A-4D9E-BEC0-4725162E21FF}" type="datetimeFigureOut">
              <a:rPr lang="en-US" smtClean="0"/>
              <a:pPr/>
              <a:t>2/3/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C7D807A-D3EC-4DEA-86E2-120E4093F1A6}" type="slidenum">
              <a:rPr lang="en-US" smtClean="0"/>
              <a:pPr/>
              <a:t>‹#›</a:t>
            </a:fld>
            <a:endParaRPr lang="en-US"/>
          </a:p>
        </p:txBody>
      </p:sp>
    </p:spTree>
    <p:extLst>
      <p:ext uri="{BB962C8B-B14F-4D97-AF65-F5344CB8AC3E}">
        <p14:creationId xmlns:p14="http://schemas.microsoft.com/office/powerpoint/2010/main" xmlns="" val="259615749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7ED9C8-F09A-4D9E-BEC0-4725162E21FF}" type="datetimeFigureOut">
              <a:rPr lang="en-US" smtClean="0"/>
              <a:pPr/>
              <a:t>2/3/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C7D807A-D3EC-4DEA-86E2-120E4093F1A6}" type="slidenum">
              <a:rPr lang="en-US" smtClean="0"/>
              <a:pPr/>
              <a:t>‹#›</a:t>
            </a:fld>
            <a:endParaRPr lang="en-US"/>
          </a:p>
        </p:txBody>
      </p:sp>
    </p:spTree>
    <p:extLst>
      <p:ext uri="{BB962C8B-B14F-4D97-AF65-F5344CB8AC3E}">
        <p14:creationId xmlns:p14="http://schemas.microsoft.com/office/powerpoint/2010/main" xmlns="" val="211915692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pPr/>
              <a:t>2/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pPr/>
              <a:t>‹#›</a:t>
            </a:fld>
            <a:endParaRPr lang="en-US"/>
          </a:p>
        </p:txBody>
      </p:sp>
    </p:spTree>
    <p:extLst>
      <p:ext uri="{BB962C8B-B14F-4D97-AF65-F5344CB8AC3E}">
        <p14:creationId xmlns:p14="http://schemas.microsoft.com/office/powerpoint/2010/main" xmlns="" val="3040681809"/>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pPr/>
              <a:t>2/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pPr/>
              <a:t>‹#›</a:t>
            </a:fld>
            <a:endParaRPr lang="en-US"/>
          </a:p>
        </p:txBody>
      </p:sp>
    </p:spTree>
    <p:extLst>
      <p:ext uri="{BB962C8B-B14F-4D97-AF65-F5344CB8AC3E}">
        <p14:creationId xmlns:p14="http://schemas.microsoft.com/office/powerpoint/2010/main" xmlns="" val="393811946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pPr/>
              <a:t>2/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pPr/>
              <a:t>‹#›</a:t>
            </a:fld>
            <a:endParaRPr lang="en-US"/>
          </a:p>
        </p:txBody>
      </p:sp>
    </p:spTree>
    <p:extLst>
      <p:ext uri="{BB962C8B-B14F-4D97-AF65-F5344CB8AC3E}">
        <p14:creationId xmlns:p14="http://schemas.microsoft.com/office/powerpoint/2010/main" xmlns="" val="4082377690"/>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pPr/>
              <a:t>2/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pPr/>
              <a:t>‹#›</a:t>
            </a:fld>
            <a:endParaRPr lang="en-US"/>
          </a:p>
        </p:txBody>
      </p:sp>
    </p:spTree>
    <p:extLst>
      <p:ext uri="{BB962C8B-B14F-4D97-AF65-F5344CB8AC3E}">
        <p14:creationId xmlns:p14="http://schemas.microsoft.com/office/powerpoint/2010/main" xmlns="" val="17082442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1" y="1412775"/>
            <a:ext cx="2908573" cy="4680049"/>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Text Placeholder 4"/>
          <p:cNvSpPr>
            <a:spLocks noGrp="1"/>
          </p:cNvSpPr>
          <p:nvPr>
            <p:ph type="body" sz="quarter" idx="15"/>
          </p:nvPr>
        </p:nvSpPr>
        <p:spPr>
          <a:xfrm>
            <a:off x="3448447" y="1412778"/>
            <a:ext cx="5472608"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28761841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5"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5" y="4532528"/>
            <a:ext cx="8208912" cy="508552"/>
          </a:xfrm>
        </p:spPr>
        <p:txBody>
          <a:bodyPr lIns="72000" tIns="0" rIns="72000" bIns="0" anchor="ctr">
            <a:normAutofit/>
          </a:bodyPr>
          <a:lstStyle>
            <a:lvl1pPr marL="0" indent="0" algn="r">
              <a:buNone/>
              <a:defRPr sz="1500" b="0">
                <a:solidFill>
                  <a:schemeClr val="bg1"/>
                </a:solidFill>
              </a:defRPr>
            </a:lvl1pPr>
            <a:lvl2pPr marL="342907" indent="0" algn="ctr">
              <a:buNone/>
              <a:defRPr>
                <a:solidFill>
                  <a:schemeClr val="tx1">
                    <a:tint val="75000"/>
                  </a:schemeClr>
                </a:solidFill>
              </a:defRPr>
            </a:lvl2pPr>
            <a:lvl3pPr marL="685814" indent="0" algn="ctr">
              <a:buNone/>
              <a:defRPr>
                <a:solidFill>
                  <a:schemeClr val="tx1">
                    <a:tint val="75000"/>
                  </a:schemeClr>
                </a:solidFill>
              </a:defRPr>
            </a:lvl3pPr>
            <a:lvl4pPr marL="1028720" indent="0" algn="ctr">
              <a:buNone/>
              <a:defRPr>
                <a:solidFill>
                  <a:schemeClr val="tx1">
                    <a:tint val="75000"/>
                  </a:schemeClr>
                </a:solidFill>
              </a:defRPr>
            </a:lvl4pPr>
            <a:lvl5pPr marL="1371628" indent="0" algn="ctr">
              <a:buNone/>
              <a:defRPr>
                <a:solidFill>
                  <a:schemeClr val="tx1">
                    <a:tint val="75000"/>
                  </a:schemeClr>
                </a:solidFill>
              </a:defRPr>
            </a:lvl5pPr>
            <a:lvl6pPr marL="1714535" indent="0" algn="ctr">
              <a:buNone/>
              <a:defRPr>
                <a:solidFill>
                  <a:schemeClr val="tx1">
                    <a:tint val="75000"/>
                  </a:schemeClr>
                </a:solidFill>
              </a:defRPr>
            </a:lvl6pPr>
            <a:lvl7pPr marL="2057441" indent="0" algn="ctr">
              <a:buNone/>
              <a:defRPr>
                <a:solidFill>
                  <a:schemeClr val="tx1">
                    <a:tint val="75000"/>
                  </a:schemeClr>
                </a:solidFill>
              </a:defRPr>
            </a:lvl7pPr>
            <a:lvl8pPr marL="2400348" indent="0" algn="ctr">
              <a:buNone/>
              <a:defRPr>
                <a:solidFill>
                  <a:schemeClr val="tx1">
                    <a:tint val="75000"/>
                  </a:schemeClr>
                </a:solidFill>
              </a:defRPr>
            </a:lvl8pPr>
            <a:lvl9pPr marL="2743255"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7"/>
            <a:ext cx="1512168" cy="365125"/>
          </a:xfrm>
          <a:prstGeom prst="rect">
            <a:avLst/>
          </a:prstGeom>
        </p:spPr>
        <p:txBody>
          <a:bodyPr vert="horz" lIns="91440" tIns="45720" rIns="91440" bIns="45720" rtlCol="0" anchor="ctr"/>
          <a:lstStyle>
            <a:lvl1pPr algn="r">
              <a:defRPr sz="900">
                <a:solidFill>
                  <a:schemeClr val="bg1"/>
                </a:solidFill>
              </a:defRPr>
            </a:lvl1pPr>
          </a:lstStyle>
          <a:p>
            <a:fld id="{44DF0C3E-4E99-4E2E-BA98-3D852DE6B51F}" type="datetime3">
              <a:rPr lang="en-US" smtClean="0"/>
              <a:pPr/>
              <a:t>3 February 2021</a:t>
            </a:fld>
            <a:endParaRPr lang="en-GB" dirty="0"/>
          </a:p>
        </p:txBody>
      </p:sp>
      <p:sp>
        <p:nvSpPr>
          <p:cNvPr id="17" name="Text Placeholder 16"/>
          <p:cNvSpPr>
            <a:spLocks noGrp="1"/>
          </p:cNvSpPr>
          <p:nvPr>
            <p:ph type="body" sz="quarter" idx="10" hasCustomPrompt="1"/>
          </p:nvPr>
        </p:nvSpPr>
        <p:spPr>
          <a:xfrm>
            <a:off x="3635548" y="5398047"/>
            <a:ext cx="1584176" cy="365125"/>
          </a:xfrm>
        </p:spPr>
        <p:txBody>
          <a:bodyPr>
            <a:normAutofit/>
          </a:bodyPr>
          <a:lstStyle>
            <a:lvl1pPr algn="r">
              <a:defRPr sz="9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7"/>
            <a:ext cx="1944216" cy="365125"/>
          </a:xfrm>
        </p:spPr>
        <p:txBody>
          <a:bodyPr>
            <a:normAutofit/>
          </a:bodyPr>
          <a:lstStyle>
            <a:lvl1pPr algn="r">
              <a:defRPr sz="900"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4"/>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488488" y="620688"/>
            <a:ext cx="3246314" cy="1008112"/>
          </a:xfrm>
          <a:prstGeom prst="rect">
            <a:avLst/>
          </a:prstGeom>
        </p:spPr>
      </p:pic>
    </p:spTree>
    <p:extLst>
      <p:ext uri="{BB962C8B-B14F-4D97-AF65-F5344CB8AC3E}">
        <p14:creationId xmlns:p14="http://schemas.microsoft.com/office/powerpoint/2010/main" xmlns="" val="183295050"/>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6" y="1196754"/>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2429098"/>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6"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1"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78834276"/>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442821388"/>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6" y="1412778"/>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08863542"/>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6"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1"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58637237"/>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436649194"/>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6" y="1196754"/>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4016985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2"/>
          </p:nvPr>
        </p:nvSpPr>
        <p:spPr>
          <a:xfrm>
            <a:off x="295276" y="1196754"/>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1" y="1196754"/>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645311726"/>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Tree>
    <p:extLst>
      <p:ext uri="{BB962C8B-B14F-4D97-AF65-F5344CB8AC3E}">
        <p14:creationId xmlns:p14="http://schemas.microsoft.com/office/powerpoint/2010/main" xmlns="" val="36323364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7" y="1412776"/>
            <a:ext cx="2404517" cy="468004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5"/>
          </p:nvPr>
        </p:nvSpPr>
        <p:spPr>
          <a:xfrm>
            <a:off x="323851" y="1412777"/>
            <a:ext cx="6004917" cy="4680048"/>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3699751"/>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3" name="Text Placeholder 4"/>
          <p:cNvSpPr>
            <a:spLocks noGrp="1"/>
          </p:cNvSpPr>
          <p:nvPr>
            <p:ph type="body" sz="quarter" idx="14"/>
          </p:nvPr>
        </p:nvSpPr>
        <p:spPr>
          <a:xfrm>
            <a:off x="295276"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373709255"/>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6"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81"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11888312"/>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210879401"/>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90" y="2276874"/>
            <a:ext cx="8281291" cy="936625"/>
          </a:xfrm>
          <a:prstGeom prst="rect">
            <a:avLst/>
          </a:prstGeom>
          <a:no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513"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5" y="5805265"/>
            <a:ext cx="8388425"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2113497164"/>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1" y="1412777"/>
            <a:ext cx="2908573" cy="4680049"/>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Text Placeholder 4"/>
          <p:cNvSpPr>
            <a:spLocks noGrp="1"/>
          </p:cNvSpPr>
          <p:nvPr>
            <p:ph type="body" sz="quarter" idx="15"/>
          </p:nvPr>
        </p:nvSpPr>
        <p:spPr>
          <a:xfrm>
            <a:off x="3448447" y="1412778"/>
            <a:ext cx="5472608"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805081350"/>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7" y="1412777"/>
            <a:ext cx="2404517" cy="468004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5"/>
          </p:nvPr>
        </p:nvSpPr>
        <p:spPr>
          <a:xfrm>
            <a:off x="323851" y="1412777"/>
            <a:ext cx="6004917" cy="4680048"/>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7134975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8" y="1412777"/>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7"/>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3532181"/>
            <a:ext cx="8597205" cy="2551450"/>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58457498"/>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8"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08832716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30"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30"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3645024"/>
            <a:ext cx="2625530"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Text Placeholder 4"/>
          <p:cNvSpPr>
            <a:spLocks noGrp="1"/>
          </p:cNvSpPr>
          <p:nvPr>
            <p:ph type="body" sz="quarter" idx="17"/>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166052359"/>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30"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30"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1412776"/>
            <a:ext cx="2625530"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Text Placeholder 4"/>
          <p:cNvSpPr>
            <a:spLocks noGrp="1"/>
          </p:cNvSpPr>
          <p:nvPr>
            <p:ph type="body" sz="quarter" idx="17"/>
          </p:nvPr>
        </p:nvSpPr>
        <p:spPr>
          <a:xfrm>
            <a:off x="323851" y="3703287"/>
            <a:ext cx="8597205" cy="238034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381629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3532181"/>
            <a:ext cx="8597205" cy="2551450"/>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987796823"/>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1" y="1412777"/>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323851" y="2975180"/>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323851" y="4537585"/>
            <a:ext cx="2908573" cy="154109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040866743"/>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3" y="1412777"/>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6012483" y="2976533"/>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6012483" y="4540290"/>
            <a:ext cx="2908573" cy="1548783"/>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0" name="Text Placeholder 4"/>
          <p:cNvSpPr>
            <a:spLocks noGrp="1"/>
          </p:cNvSpPr>
          <p:nvPr>
            <p:ph type="body" sz="quarter" idx="17"/>
          </p:nvPr>
        </p:nvSpPr>
        <p:spPr>
          <a:xfrm>
            <a:off x="323851" y="1412779"/>
            <a:ext cx="5553983" cy="466590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385209616"/>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7"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90" dirty="0"/>
          </a:p>
        </p:txBody>
      </p:sp>
      <p:sp>
        <p:nvSpPr>
          <p:cNvPr id="12" name="Text Placeholder 5"/>
          <p:cNvSpPr>
            <a:spLocks noGrp="1"/>
          </p:cNvSpPr>
          <p:nvPr>
            <p:ph type="body" sz="quarter" idx="10" hasCustomPrompt="1"/>
          </p:nvPr>
        </p:nvSpPr>
        <p:spPr>
          <a:xfrm>
            <a:off x="2834998" y="2696461"/>
            <a:ext cx="3897243" cy="266322"/>
          </a:xfrm>
        </p:spPr>
        <p:txBody>
          <a:bodyPr lIns="36000" rIns="36000" anchor="ctr">
            <a:noAutofit/>
          </a:bodyPr>
          <a:lstStyle>
            <a:lvl1pPr>
              <a:defRPr sz="105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8" y="2963910"/>
            <a:ext cx="3897243" cy="266322"/>
          </a:xfrm>
        </p:spPr>
        <p:txBody>
          <a:bodyPr lIns="36000" rIns="36000" anchor="ctr">
            <a:noAutofit/>
          </a:bodyPr>
          <a:lstStyle>
            <a:lvl1pPr>
              <a:defRPr sz="825"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2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8" y="3768568"/>
            <a:ext cx="3734060" cy="266322"/>
          </a:xfrm>
        </p:spPr>
        <p:txBody>
          <a:bodyPr lIns="36000" rIns="36000" anchor="ctr">
            <a:noAutofit/>
          </a:bodyPr>
          <a:lstStyle>
            <a:lvl1pPr>
              <a:defRPr sz="825"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7" y="4043102"/>
            <a:ext cx="3734060"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6838" y="1835227"/>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6" y="565702"/>
            <a:ext cx="1848583" cy="461665"/>
          </a:xfrm>
          <a:prstGeom prst="rect">
            <a:avLst/>
          </a:prstGeom>
        </p:spPr>
        <p:txBody>
          <a:bodyPr wrap="none">
            <a:spAutoFit/>
          </a:bodyPr>
          <a:lstStyle/>
          <a:p>
            <a:r>
              <a:rPr kumimoji="0" lang="en-US" sz="24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18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825" b="0" baseline="0">
                <a:solidFill>
                  <a:schemeClr val="tx2"/>
                </a:solidFill>
              </a:defRPr>
            </a:lvl1pPr>
          </a:lstStyle>
          <a:p>
            <a:pPr lvl="0"/>
            <a:r>
              <a:rPr lang="en-ZA" dirty="0"/>
              <a:t>Fill in your address</a:t>
            </a:r>
          </a:p>
        </p:txBody>
      </p:sp>
      <p:sp>
        <p:nvSpPr>
          <p:cNvPr id="20" name="Right Triangle 19"/>
          <p:cNvSpPr/>
          <p:nvPr userDrawn="1"/>
        </p:nvSpPr>
        <p:spPr>
          <a:xfrm flipH="1">
            <a:off x="2834997" y="3284985"/>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2252651096"/>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9" y="3861050"/>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70"/>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196616860"/>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solidFill>
                  <a:prstClr val="white"/>
                </a:solidFill>
              </a:rPr>
              <a:pPr/>
              <a:t>3 February 2021</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xmlns=""/>
              </a:ext>
            </a:extLst>
          </a:blip>
          <a:stretch>
            <a:fillRect/>
          </a:stretch>
        </p:blipFill>
        <p:spPr>
          <a:xfrm>
            <a:off x="488487" y="620688"/>
            <a:ext cx="3246314" cy="1008112"/>
          </a:xfrm>
          <a:prstGeom prst="rect">
            <a:avLst/>
          </a:prstGeom>
        </p:spPr>
      </p:pic>
    </p:spTree>
    <p:extLst>
      <p:ext uri="{BB962C8B-B14F-4D97-AF65-F5344CB8AC3E}">
        <p14:creationId xmlns:p14="http://schemas.microsoft.com/office/powerpoint/2010/main" xmlns="" val="133547714"/>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82862364"/>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48899759"/>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2363254761"/>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66261545"/>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967445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308797823"/>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77183597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51896134"/>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908045444"/>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228287886"/>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943880841"/>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37875592"/>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937648744"/>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xmlns="" val="4186853383"/>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515678115"/>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04241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Text Placeholder 4"/>
          <p:cNvSpPr>
            <a:spLocks noGrp="1"/>
          </p:cNvSpPr>
          <p:nvPr>
            <p:ph type="body" sz="quarter" idx="17"/>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75557422"/>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198821770"/>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649632378"/>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525179225"/>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929712775"/>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57457720"/>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283032200"/>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xmlns="" val="129775640"/>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spTree>
    <p:extLst>
      <p:ext uri="{BB962C8B-B14F-4D97-AF65-F5344CB8AC3E}">
        <p14:creationId xmlns:p14="http://schemas.microsoft.com/office/powerpoint/2010/main" xmlns="" val="3810733334"/>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9"/>
            <a:ext cx="8208912" cy="508552"/>
          </a:xfrm>
        </p:spPr>
        <p:txBody>
          <a:bodyPr lIns="72000" tIns="0" rIns="72000" bIns="0" anchor="ctr">
            <a:normAutofit/>
          </a:bodyPr>
          <a:lstStyle>
            <a:lvl1pPr marL="0" indent="0" algn="r">
              <a:buNone/>
              <a:defRPr sz="2000" b="0">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6"/>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pPr/>
              <a:t>3 February 2021</a:t>
            </a:fld>
            <a:endParaRPr lang="en-GB" dirty="0"/>
          </a:p>
        </p:txBody>
      </p:sp>
      <p:sp>
        <p:nvSpPr>
          <p:cNvPr id="17" name="Text Placeholder 16"/>
          <p:cNvSpPr>
            <a:spLocks noGrp="1"/>
          </p:cNvSpPr>
          <p:nvPr>
            <p:ph type="body" sz="quarter" idx="10" hasCustomPrompt="1"/>
          </p:nvPr>
        </p:nvSpPr>
        <p:spPr>
          <a:xfrm>
            <a:off x="3635548" y="5398046"/>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6"/>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Health\WCG - Logo - Health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0652" y="382532"/>
            <a:ext cx="5739912" cy="162158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35086299"/>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6" y="1196753"/>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014619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Text Placeholder 4"/>
          <p:cNvSpPr>
            <a:spLocks noGrp="1"/>
          </p:cNvSpPr>
          <p:nvPr>
            <p:ph type="body" sz="quarter" idx="17"/>
          </p:nvPr>
        </p:nvSpPr>
        <p:spPr>
          <a:xfrm>
            <a:off x="323851" y="3703287"/>
            <a:ext cx="8597205" cy="238034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06429003"/>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6" y="1196753"/>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0" y="1196753"/>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34522462"/>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3710990256"/>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6" y="1412777"/>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04677513"/>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6" y="1412777"/>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0" y="1412777"/>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46424528"/>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308038490"/>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6" y="5681849"/>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6" y="1196753"/>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7893342"/>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6" y="5681849"/>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6" y="1196753"/>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0" y="1196753"/>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825044502"/>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6" y="5681849"/>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75928929"/>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6" y="5681849"/>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6" y="1412778"/>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87566968"/>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6" y="1412777"/>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6" y="5681849"/>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80" y="1412777"/>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251109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1"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323851" y="2975180"/>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323851" y="4537584"/>
            <a:ext cx="2908573" cy="154109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393346419"/>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6" y="5681849"/>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66653575"/>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3"/>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49" y="5516881"/>
            <a:ext cx="9086851" cy="170799"/>
          </a:xfrm>
          <a:prstGeom prst="rect">
            <a:avLst/>
          </a:prstGeom>
        </p:spPr>
      </p:pic>
      <p:pic>
        <p:nvPicPr>
          <p:cNvPr id="7" name="Picture 115" descr="C:\Users\Conny\Desktop\WCG\WCG - Logo\PNG\Logos blue\Health\WCG - Logo - Health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9"/>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02458019"/>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1" y="1412776"/>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7"/>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37205748"/>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1"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73930845"/>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7"/>
            <a:ext cx="3921675"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7"/>
            <a:ext cx="3921675"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1" y="3532182"/>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8750686"/>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1"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08794793"/>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9"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9"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8"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1"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3395690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9"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9"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8"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1"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90469822"/>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1"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1"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1"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7"/>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79036400"/>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3"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3"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3"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1" y="1412778"/>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309104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3"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6012483" y="2976533"/>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6012483" y="4540291"/>
            <a:ext cx="2908573" cy="1548783"/>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0" name="Text Placeholder 4"/>
          <p:cNvSpPr>
            <a:spLocks noGrp="1"/>
          </p:cNvSpPr>
          <p:nvPr>
            <p:ph type="body" sz="quarter" idx="17"/>
          </p:nvPr>
        </p:nvSpPr>
        <p:spPr>
          <a:xfrm>
            <a:off x="323851" y="1412779"/>
            <a:ext cx="5553983" cy="466590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777431551"/>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3"/>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4"/>
            <a:ext cx="402675"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4"/>
            <a:ext cx="402675"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7"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6" y="565702"/>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1"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Health\WCG - Logo - Health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308001" y="1911740"/>
            <a:ext cx="2414659" cy="68086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8043029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9"/>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1"/>
            <a:ext cx="9144000" cy="246743"/>
          </a:xfrm>
          <a:prstGeom prst="rect">
            <a:avLst/>
          </a:prstGeom>
        </p:spPr>
      </p:pic>
    </p:spTree>
    <p:extLst>
      <p:ext uri="{BB962C8B-B14F-4D97-AF65-F5344CB8AC3E}">
        <p14:creationId xmlns:p14="http://schemas.microsoft.com/office/powerpoint/2010/main" xmlns="" val="4138170724"/>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pPr/>
              <a:t>3 February 2021</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488487" y="620688"/>
            <a:ext cx="3246314" cy="1008112"/>
          </a:xfrm>
          <a:prstGeom prst="rect">
            <a:avLst/>
          </a:prstGeom>
        </p:spPr>
      </p:pic>
    </p:spTree>
    <p:extLst>
      <p:ext uri="{BB962C8B-B14F-4D97-AF65-F5344CB8AC3E}">
        <p14:creationId xmlns:p14="http://schemas.microsoft.com/office/powerpoint/2010/main" xmlns="" val="2993205713"/>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18312855"/>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6739606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2531754271"/>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85331423"/>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6845802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3210500991"/>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245924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ack Slide &quot;Thank You&quot;">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2" name="Text Placeholder 5"/>
          <p:cNvSpPr>
            <a:spLocks noGrp="1"/>
          </p:cNvSpPr>
          <p:nvPr>
            <p:ph type="body" sz="quarter" idx="10" hasCustomPrompt="1"/>
          </p:nvPr>
        </p:nvSpPr>
        <p:spPr>
          <a:xfrm>
            <a:off x="2834998" y="2696461"/>
            <a:ext cx="3897243" cy="266322"/>
          </a:xfrm>
        </p:spPr>
        <p:txBody>
          <a:bodyPr lIns="36000" rIns="36000" anchor="ctr">
            <a:noAutofit/>
          </a:bodyPr>
          <a:lstStyle>
            <a:lvl1pPr>
              <a:defRPr sz="105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8" y="2963910"/>
            <a:ext cx="3897243" cy="266322"/>
          </a:xfrm>
        </p:spPr>
        <p:txBody>
          <a:bodyPr lIns="36000" rIns="36000" anchor="ctr">
            <a:noAutofit/>
          </a:bodyPr>
          <a:lstStyle>
            <a:lvl1pPr>
              <a:defRPr sz="825"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2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7" name="Rectangle 16"/>
          <p:cNvSpPr/>
          <p:nvPr userDrawn="1"/>
        </p:nvSpPr>
        <p:spPr>
          <a:xfrm>
            <a:off x="4780437"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8" y="3768568"/>
            <a:ext cx="3734059" cy="266322"/>
          </a:xfrm>
        </p:spPr>
        <p:txBody>
          <a:bodyPr lIns="36000" rIns="36000" anchor="ctr">
            <a:noAutofit/>
          </a:bodyPr>
          <a:lstStyle>
            <a:lvl1pPr>
              <a:defRPr sz="825"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7" y="4043102"/>
            <a:ext cx="3734059"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2196838" y="1835227"/>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6" y="565703"/>
            <a:ext cx="1848583" cy="461665"/>
          </a:xfrm>
          <a:prstGeom prst="rect">
            <a:avLst/>
          </a:prstGeom>
        </p:spPr>
        <p:txBody>
          <a:bodyPr wrap="none">
            <a:spAutoFit/>
          </a:bodyPr>
          <a:lstStyle/>
          <a:p>
            <a:r>
              <a:rPr kumimoji="0" lang="en-US" sz="24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1800" b="0" dirty="0">
              <a:solidFill>
                <a:schemeClr val="bg1"/>
              </a:solidFill>
            </a:endParaRPr>
          </a:p>
        </p:txBody>
      </p:sp>
      <p:sp>
        <p:nvSpPr>
          <p:cNvPr id="24" name="Text Placeholder 5"/>
          <p:cNvSpPr>
            <a:spLocks noGrp="1"/>
          </p:cNvSpPr>
          <p:nvPr>
            <p:ph type="body" sz="quarter" idx="15" hasCustomPrompt="1"/>
          </p:nvPr>
        </p:nvSpPr>
        <p:spPr>
          <a:xfrm>
            <a:off x="2834997" y="4333520"/>
            <a:ext cx="3349330" cy="266322"/>
          </a:xfrm>
        </p:spPr>
        <p:txBody>
          <a:bodyPr lIns="36000" rIns="36000" anchor="ctr">
            <a:noAutofit/>
          </a:bodyPr>
          <a:lstStyle>
            <a:lvl1pPr>
              <a:defRPr sz="825"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6"/>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1233259743"/>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576154092"/>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552873899"/>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04134076"/>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4175160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636572720"/>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2161883181"/>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482648918"/>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79231922"/>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811162425"/>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7651331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ack Slide &quot;Thank You&quot;">
    <p:spTree>
      <p:nvGrpSpPr>
        <p:cNvPr id="1" name=""/>
        <p:cNvGrpSpPr/>
        <p:nvPr/>
      </p:nvGrpSpPr>
      <p:grpSpPr>
        <a:xfrm>
          <a:off x="0" y="0"/>
          <a:ext cx="0" cy="0"/>
          <a:chOff x="0" y="0"/>
          <a:chExt cx="0" cy="0"/>
        </a:xfrm>
      </p:grpSpPr>
      <p:sp>
        <p:nvSpPr>
          <p:cNvPr id="9" name="Title 1"/>
          <p:cNvSpPr txBox="1">
            <a:spLocks/>
          </p:cNvSpPr>
          <p:nvPr userDrawn="1"/>
        </p:nvSpPr>
        <p:spPr>
          <a:xfrm>
            <a:off x="1763689" y="3861050"/>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70"/>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105062361"/>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140147159"/>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359183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67171606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95810312"/>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3809577466"/>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3540935720"/>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3823855748"/>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55090D4-BA59-4FF2-9256-E452A22A3D43}"/>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ZA"/>
          </a:p>
        </p:txBody>
      </p:sp>
      <p:sp>
        <p:nvSpPr>
          <p:cNvPr id="3" name="Subtitle 2">
            <a:extLst>
              <a:ext uri="{FF2B5EF4-FFF2-40B4-BE49-F238E27FC236}">
                <a16:creationId xmlns:a16="http://schemas.microsoft.com/office/drawing/2014/main" xmlns="" id="{BCE08D33-D5C5-41C4-B2DB-F0A9D6204BB1}"/>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xmlns="" id="{8E4780A1-0681-42BB-B91C-2813C2B3CC59}"/>
              </a:ext>
            </a:extLst>
          </p:cNvPr>
          <p:cNvSpPr>
            <a:spLocks noGrp="1"/>
          </p:cNvSpPr>
          <p:nvPr>
            <p:ph type="dt" sz="half" idx="10"/>
          </p:nvPr>
        </p:nvSpPr>
        <p:spPr/>
        <p:txBody>
          <a:bodyPr/>
          <a:lstStyle/>
          <a:p>
            <a:fld id="{7BD8B346-B5D7-4250-81FC-D179C2A773C0}" type="datetimeFigureOut">
              <a:rPr lang="en-ZA" smtClean="0"/>
              <a:pPr/>
              <a:t>2021/02/03</a:t>
            </a:fld>
            <a:endParaRPr lang="en-ZA"/>
          </a:p>
        </p:txBody>
      </p:sp>
      <p:sp>
        <p:nvSpPr>
          <p:cNvPr id="5" name="Footer Placeholder 4">
            <a:extLst>
              <a:ext uri="{FF2B5EF4-FFF2-40B4-BE49-F238E27FC236}">
                <a16:creationId xmlns:a16="http://schemas.microsoft.com/office/drawing/2014/main" xmlns="" id="{9CF56B85-690B-48EE-9FF8-54FFF00A86F5}"/>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xmlns="" id="{B07BCF26-8D1B-4384-AF98-95EF1236F9C6}"/>
              </a:ext>
            </a:extLst>
          </p:cNvPr>
          <p:cNvSpPr>
            <a:spLocks noGrp="1"/>
          </p:cNvSpPr>
          <p:nvPr>
            <p:ph type="sldNum" sz="quarter" idx="12"/>
          </p:nvPr>
        </p:nvSpPr>
        <p:spPr/>
        <p:txBody>
          <a:bodyPr/>
          <a:lstStyle/>
          <a:p>
            <a:fld id="{B3302B29-356E-42F1-B728-B4A2119D0885}" type="slidenum">
              <a:rPr lang="en-ZA" smtClean="0"/>
              <a:pPr/>
              <a:t>‹#›</a:t>
            </a:fld>
            <a:endParaRPr lang="en-ZA"/>
          </a:p>
        </p:txBody>
      </p:sp>
    </p:spTree>
    <p:extLst>
      <p:ext uri="{BB962C8B-B14F-4D97-AF65-F5344CB8AC3E}">
        <p14:creationId xmlns:p14="http://schemas.microsoft.com/office/powerpoint/2010/main" xmlns="" val="3243993012"/>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744C97-1A12-4954-9EDF-C922F7478D10}"/>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xmlns="" id="{5DE29F64-5BE3-4DD6-AC3D-4310DF8E858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xmlns="" id="{6D4D07E5-569D-4356-8498-BD4DD7F86B64}"/>
              </a:ext>
            </a:extLst>
          </p:cNvPr>
          <p:cNvSpPr>
            <a:spLocks noGrp="1"/>
          </p:cNvSpPr>
          <p:nvPr>
            <p:ph type="dt" sz="half" idx="10"/>
          </p:nvPr>
        </p:nvSpPr>
        <p:spPr/>
        <p:txBody>
          <a:bodyPr/>
          <a:lstStyle/>
          <a:p>
            <a:fld id="{7BD8B346-B5D7-4250-81FC-D179C2A773C0}" type="datetimeFigureOut">
              <a:rPr lang="en-ZA" smtClean="0"/>
              <a:pPr/>
              <a:t>2021/02/03</a:t>
            </a:fld>
            <a:endParaRPr lang="en-ZA"/>
          </a:p>
        </p:txBody>
      </p:sp>
      <p:sp>
        <p:nvSpPr>
          <p:cNvPr id="5" name="Footer Placeholder 4">
            <a:extLst>
              <a:ext uri="{FF2B5EF4-FFF2-40B4-BE49-F238E27FC236}">
                <a16:creationId xmlns:a16="http://schemas.microsoft.com/office/drawing/2014/main" xmlns="" id="{B537FD2B-18F9-4F35-8D47-CE45E1F3E8B0}"/>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xmlns="" id="{7200CF11-E6AD-42C9-9D26-729AC598196A}"/>
              </a:ext>
            </a:extLst>
          </p:cNvPr>
          <p:cNvSpPr>
            <a:spLocks noGrp="1"/>
          </p:cNvSpPr>
          <p:nvPr>
            <p:ph type="sldNum" sz="quarter" idx="12"/>
          </p:nvPr>
        </p:nvSpPr>
        <p:spPr/>
        <p:txBody>
          <a:bodyPr/>
          <a:lstStyle/>
          <a:p>
            <a:fld id="{B3302B29-356E-42F1-B728-B4A2119D0885}" type="slidenum">
              <a:rPr lang="en-ZA" smtClean="0"/>
              <a:pPr/>
              <a:t>‹#›</a:t>
            </a:fld>
            <a:endParaRPr lang="en-ZA"/>
          </a:p>
        </p:txBody>
      </p:sp>
    </p:spTree>
    <p:extLst>
      <p:ext uri="{BB962C8B-B14F-4D97-AF65-F5344CB8AC3E}">
        <p14:creationId xmlns:p14="http://schemas.microsoft.com/office/powerpoint/2010/main" xmlns="" val="1359722118"/>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58BF85D-6007-44AA-B475-6618E2E0A07B}"/>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ZA"/>
          </a:p>
        </p:txBody>
      </p:sp>
      <p:sp>
        <p:nvSpPr>
          <p:cNvPr id="3" name="Text Placeholder 2">
            <a:extLst>
              <a:ext uri="{FF2B5EF4-FFF2-40B4-BE49-F238E27FC236}">
                <a16:creationId xmlns:a16="http://schemas.microsoft.com/office/drawing/2014/main" xmlns="" id="{081AB85C-EE6C-450F-AC48-5CC0D2742D76}"/>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3F923D5B-EE6B-44E2-8B7D-0D113B293DC4}"/>
              </a:ext>
            </a:extLst>
          </p:cNvPr>
          <p:cNvSpPr>
            <a:spLocks noGrp="1"/>
          </p:cNvSpPr>
          <p:nvPr>
            <p:ph type="dt" sz="half" idx="10"/>
          </p:nvPr>
        </p:nvSpPr>
        <p:spPr/>
        <p:txBody>
          <a:bodyPr/>
          <a:lstStyle/>
          <a:p>
            <a:fld id="{7BD8B346-B5D7-4250-81FC-D179C2A773C0}" type="datetimeFigureOut">
              <a:rPr lang="en-ZA" smtClean="0"/>
              <a:pPr/>
              <a:t>2021/02/03</a:t>
            </a:fld>
            <a:endParaRPr lang="en-ZA"/>
          </a:p>
        </p:txBody>
      </p:sp>
      <p:sp>
        <p:nvSpPr>
          <p:cNvPr id="5" name="Footer Placeholder 4">
            <a:extLst>
              <a:ext uri="{FF2B5EF4-FFF2-40B4-BE49-F238E27FC236}">
                <a16:creationId xmlns:a16="http://schemas.microsoft.com/office/drawing/2014/main" xmlns="" id="{71FC99C9-FCF4-45EB-91CA-9D3171652F81}"/>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xmlns="" id="{FFBE3FDB-D3D0-4B12-8119-804CA67CDE5E}"/>
              </a:ext>
            </a:extLst>
          </p:cNvPr>
          <p:cNvSpPr>
            <a:spLocks noGrp="1"/>
          </p:cNvSpPr>
          <p:nvPr>
            <p:ph type="sldNum" sz="quarter" idx="12"/>
          </p:nvPr>
        </p:nvSpPr>
        <p:spPr/>
        <p:txBody>
          <a:bodyPr/>
          <a:lstStyle/>
          <a:p>
            <a:fld id="{B3302B29-356E-42F1-B728-B4A2119D0885}" type="slidenum">
              <a:rPr lang="en-ZA" smtClean="0"/>
              <a:pPr/>
              <a:t>‹#›</a:t>
            </a:fld>
            <a:endParaRPr lang="en-ZA"/>
          </a:p>
        </p:txBody>
      </p:sp>
    </p:spTree>
    <p:extLst>
      <p:ext uri="{BB962C8B-B14F-4D97-AF65-F5344CB8AC3E}">
        <p14:creationId xmlns:p14="http://schemas.microsoft.com/office/powerpoint/2010/main" xmlns="" val="5722835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pPr/>
              <a:t>3 February 2021</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xmlns=""/>
              </a:ext>
            </a:extLst>
          </a:blip>
          <a:stretch>
            <a:fillRect/>
          </a:stretch>
        </p:blipFill>
        <p:spPr>
          <a:xfrm>
            <a:off x="488487" y="620688"/>
            <a:ext cx="3246314" cy="1008112"/>
          </a:xfrm>
          <a:prstGeom prst="rect">
            <a:avLst/>
          </a:prstGeom>
        </p:spPr>
      </p:pic>
    </p:spTree>
    <p:extLst>
      <p:ext uri="{BB962C8B-B14F-4D97-AF65-F5344CB8AC3E}">
        <p14:creationId xmlns:p14="http://schemas.microsoft.com/office/powerpoint/2010/main" xmlns="" val="2836155651"/>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78F2D2-9E11-49ED-9C23-96B690C84513}"/>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xmlns="" id="{26BC9D5E-229C-4129-98E8-500FD44FBA4B}"/>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a:extLst>
              <a:ext uri="{FF2B5EF4-FFF2-40B4-BE49-F238E27FC236}">
                <a16:creationId xmlns:a16="http://schemas.microsoft.com/office/drawing/2014/main" xmlns="" id="{8DA13DB7-D772-4173-AD5E-AF2E34BF931F}"/>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xmlns="" id="{E16815C9-EBCE-4C8F-8094-3A9050AA9A03}"/>
              </a:ext>
            </a:extLst>
          </p:cNvPr>
          <p:cNvSpPr>
            <a:spLocks noGrp="1"/>
          </p:cNvSpPr>
          <p:nvPr>
            <p:ph type="dt" sz="half" idx="10"/>
          </p:nvPr>
        </p:nvSpPr>
        <p:spPr/>
        <p:txBody>
          <a:bodyPr/>
          <a:lstStyle/>
          <a:p>
            <a:fld id="{7BD8B346-B5D7-4250-81FC-D179C2A773C0}" type="datetimeFigureOut">
              <a:rPr lang="en-ZA" smtClean="0"/>
              <a:pPr/>
              <a:t>2021/02/03</a:t>
            </a:fld>
            <a:endParaRPr lang="en-ZA"/>
          </a:p>
        </p:txBody>
      </p:sp>
      <p:sp>
        <p:nvSpPr>
          <p:cNvPr id="6" name="Footer Placeholder 5">
            <a:extLst>
              <a:ext uri="{FF2B5EF4-FFF2-40B4-BE49-F238E27FC236}">
                <a16:creationId xmlns:a16="http://schemas.microsoft.com/office/drawing/2014/main" xmlns="" id="{4CEF3F3F-B1AB-4627-858A-9147E2165E2B}"/>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xmlns="" id="{D2F10093-6D68-46A2-ADE5-CFDC64B7853F}"/>
              </a:ext>
            </a:extLst>
          </p:cNvPr>
          <p:cNvSpPr>
            <a:spLocks noGrp="1"/>
          </p:cNvSpPr>
          <p:nvPr>
            <p:ph type="sldNum" sz="quarter" idx="12"/>
          </p:nvPr>
        </p:nvSpPr>
        <p:spPr/>
        <p:txBody>
          <a:bodyPr/>
          <a:lstStyle/>
          <a:p>
            <a:fld id="{B3302B29-356E-42F1-B728-B4A2119D0885}" type="slidenum">
              <a:rPr lang="en-ZA" smtClean="0"/>
              <a:pPr/>
              <a:t>‹#›</a:t>
            </a:fld>
            <a:endParaRPr lang="en-ZA"/>
          </a:p>
        </p:txBody>
      </p:sp>
    </p:spTree>
    <p:extLst>
      <p:ext uri="{BB962C8B-B14F-4D97-AF65-F5344CB8AC3E}">
        <p14:creationId xmlns:p14="http://schemas.microsoft.com/office/powerpoint/2010/main" xmlns="" val="4271198289"/>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7664F73-5150-4CC5-8049-C0F197E321FE}"/>
              </a:ext>
            </a:extLst>
          </p:cNvPr>
          <p:cNvSpPr>
            <a:spLocks noGrp="1"/>
          </p:cNvSpPr>
          <p:nvPr>
            <p:ph type="title"/>
          </p:nvPr>
        </p:nvSpPr>
        <p:spPr>
          <a:xfrm>
            <a:off x="629841" y="365126"/>
            <a:ext cx="7886700" cy="1325563"/>
          </a:xfrm>
        </p:spPr>
        <p:txBody>
          <a:bodyPr/>
          <a:lstStyle/>
          <a:p>
            <a:r>
              <a:rPr lang="en-US"/>
              <a:t>Click to edit Master title style</a:t>
            </a:r>
            <a:endParaRPr lang="en-ZA"/>
          </a:p>
        </p:txBody>
      </p:sp>
      <p:sp>
        <p:nvSpPr>
          <p:cNvPr id="3" name="Text Placeholder 2">
            <a:extLst>
              <a:ext uri="{FF2B5EF4-FFF2-40B4-BE49-F238E27FC236}">
                <a16:creationId xmlns:a16="http://schemas.microsoft.com/office/drawing/2014/main" xmlns="" id="{94EEBB91-870A-4D37-BC83-3E874E24BFA8}"/>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26EDA708-D321-448D-8D4E-D5B67BA5D6B3}"/>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a16="http://schemas.microsoft.com/office/drawing/2014/main" xmlns="" id="{1AF91AF9-28B1-4E5F-81A3-EB9D75793F30}"/>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CDA1C9F0-E9E3-41FC-B8EA-60410F9B693C}"/>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xmlns="" id="{278CEE4A-C36E-4686-A840-8C7C2A0F5D00}"/>
              </a:ext>
            </a:extLst>
          </p:cNvPr>
          <p:cNvSpPr>
            <a:spLocks noGrp="1"/>
          </p:cNvSpPr>
          <p:nvPr>
            <p:ph type="dt" sz="half" idx="10"/>
          </p:nvPr>
        </p:nvSpPr>
        <p:spPr/>
        <p:txBody>
          <a:bodyPr/>
          <a:lstStyle/>
          <a:p>
            <a:fld id="{7BD8B346-B5D7-4250-81FC-D179C2A773C0}" type="datetimeFigureOut">
              <a:rPr lang="en-ZA" smtClean="0"/>
              <a:pPr/>
              <a:t>2021/02/03</a:t>
            </a:fld>
            <a:endParaRPr lang="en-ZA"/>
          </a:p>
        </p:txBody>
      </p:sp>
      <p:sp>
        <p:nvSpPr>
          <p:cNvPr id="8" name="Footer Placeholder 7">
            <a:extLst>
              <a:ext uri="{FF2B5EF4-FFF2-40B4-BE49-F238E27FC236}">
                <a16:creationId xmlns:a16="http://schemas.microsoft.com/office/drawing/2014/main" xmlns="" id="{04052905-E8BA-425D-A27E-64A26CA80862}"/>
              </a:ext>
            </a:extLst>
          </p:cNvPr>
          <p:cNvSpPr>
            <a:spLocks noGrp="1"/>
          </p:cNvSpPr>
          <p:nvPr>
            <p:ph type="ftr" sz="quarter" idx="11"/>
          </p:nvPr>
        </p:nvSpPr>
        <p:spPr/>
        <p:txBody>
          <a:bodyPr/>
          <a:lstStyle/>
          <a:p>
            <a:endParaRPr lang="en-ZA"/>
          </a:p>
        </p:txBody>
      </p:sp>
      <p:sp>
        <p:nvSpPr>
          <p:cNvPr id="9" name="Slide Number Placeholder 8">
            <a:extLst>
              <a:ext uri="{FF2B5EF4-FFF2-40B4-BE49-F238E27FC236}">
                <a16:creationId xmlns:a16="http://schemas.microsoft.com/office/drawing/2014/main" xmlns="" id="{0337BBC3-FAB9-4BF3-B289-C5E425528FF6}"/>
              </a:ext>
            </a:extLst>
          </p:cNvPr>
          <p:cNvSpPr>
            <a:spLocks noGrp="1"/>
          </p:cNvSpPr>
          <p:nvPr>
            <p:ph type="sldNum" sz="quarter" idx="12"/>
          </p:nvPr>
        </p:nvSpPr>
        <p:spPr/>
        <p:txBody>
          <a:bodyPr/>
          <a:lstStyle/>
          <a:p>
            <a:fld id="{B3302B29-356E-42F1-B728-B4A2119D0885}" type="slidenum">
              <a:rPr lang="en-ZA" smtClean="0"/>
              <a:pPr/>
              <a:t>‹#›</a:t>
            </a:fld>
            <a:endParaRPr lang="en-ZA"/>
          </a:p>
        </p:txBody>
      </p:sp>
    </p:spTree>
    <p:extLst>
      <p:ext uri="{BB962C8B-B14F-4D97-AF65-F5344CB8AC3E}">
        <p14:creationId xmlns:p14="http://schemas.microsoft.com/office/powerpoint/2010/main" xmlns="" val="790048834"/>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B07D676-1013-438E-A042-A01AE21CEB6B}"/>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xmlns="" id="{56521D7B-C463-424A-A611-D372781EE521}"/>
              </a:ext>
            </a:extLst>
          </p:cNvPr>
          <p:cNvSpPr>
            <a:spLocks noGrp="1"/>
          </p:cNvSpPr>
          <p:nvPr>
            <p:ph type="dt" sz="half" idx="10"/>
          </p:nvPr>
        </p:nvSpPr>
        <p:spPr/>
        <p:txBody>
          <a:bodyPr/>
          <a:lstStyle/>
          <a:p>
            <a:fld id="{7BD8B346-B5D7-4250-81FC-D179C2A773C0}" type="datetimeFigureOut">
              <a:rPr lang="en-ZA" smtClean="0"/>
              <a:pPr/>
              <a:t>2021/02/03</a:t>
            </a:fld>
            <a:endParaRPr lang="en-ZA"/>
          </a:p>
        </p:txBody>
      </p:sp>
      <p:sp>
        <p:nvSpPr>
          <p:cNvPr id="4" name="Footer Placeholder 3">
            <a:extLst>
              <a:ext uri="{FF2B5EF4-FFF2-40B4-BE49-F238E27FC236}">
                <a16:creationId xmlns:a16="http://schemas.microsoft.com/office/drawing/2014/main" xmlns="" id="{A7035F8F-14AB-4F0C-88B5-4829FB61BAD8}"/>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xmlns="" id="{C613EA49-FD3B-4481-B566-7AB828E612D7}"/>
              </a:ext>
            </a:extLst>
          </p:cNvPr>
          <p:cNvSpPr>
            <a:spLocks noGrp="1"/>
          </p:cNvSpPr>
          <p:nvPr>
            <p:ph type="sldNum" sz="quarter" idx="12"/>
          </p:nvPr>
        </p:nvSpPr>
        <p:spPr/>
        <p:txBody>
          <a:bodyPr/>
          <a:lstStyle/>
          <a:p>
            <a:fld id="{B3302B29-356E-42F1-B728-B4A2119D0885}" type="slidenum">
              <a:rPr lang="en-ZA" smtClean="0"/>
              <a:pPr/>
              <a:t>‹#›</a:t>
            </a:fld>
            <a:endParaRPr lang="en-ZA"/>
          </a:p>
        </p:txBody>
      </p:sp>
    </p:spTree>
    <p:extLst>
      <p:ext uri="{BB962C8B-B14F-4D97-AF65-F5344CB8AC3E}">
        <p14:creationId xmlns:p14="http://schemas.microsoft.com/office/powerpoint/2010/main" xmlns="" val="2592956283"/>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76831D1C-8B1A-4B45-9BAC-A7A023CF9C94}"/>
              </a:ext>
            </a:extLst>
          </p:cNvPr>
          <p:cNvSpPr>
            <a:spLocks noGrp="1"/>
          </p:cNvSpPr>
          <p:nvPr>
            <p:ph type="dt" sz="half" idx="10"/>
          </p:nvPr>
        </p:nvSpPr>
        <p:spPr/>
        <p:txBody>
          <a:bodyPr/>
          <a:lstStyle/>
          <a:p>
            <a:fld id="{7BD8B346-B5D7-4250-81FC-D179C2A773C0}" type="datetimeFigureOut">
              <a:rPr lang="en-ZA" smtClean="0"/>
              <a:pPr/>
              <a:t>2021/02/03</a:t>
            </a:fld>
            <a:endParaRPr lang="en-ZA"/>
          </a:p>
        </p:txBody>
      </p:sp>
      <p:sp>
        <p:nvSpPr>
          <p:cNvPr id="3" name="Footer Placeholder 2">
            <a:extLst>
              <a:ext uri="{FF2B5EF4-FFF2-40B4-BE49-F238E27FC236}">
                <a16:creationId xmlns:a16="http://schemas.microsoft.com/office/drawing/2014/main" xmlns="" id="{C8D5F50C-673C-4D3D-9984-466B23E10DC8}"/>
              </a:ext>
            </a:extLst>
          </p:cNvPr>
          <p:cNvSpPr>
            <a:spLocks noGrp="1"/>
          </p:cNvSpPr>
          <p:nvPr>
            <p:ph type="ftr" sz="quarter" idx="11"/>
          </p:nvPr>
        </p:nvSpPr>
        <p:spPr/>
        <p:txBody>
          <a:bodyPr/>
          <a:lstStyle/>
          <a:p>
            <a:endParaRPr lang="en-ZA"/>
          </a:p>
        </p:txBody>
      </p:sp>
      <p:sp>
        <p:nvSpPr>
          <p:cNvPr id="4" name="Slide Number Placeholder 3">
            <a:extLst>
              <a:ext uri="{FF2B5EF4-FFF2-40B4-BE49-F238E27FC236}">
                <a16:creationId xmlns:a16="http://schemas.microsoft.com/office/drawing/2014/main" xmlns="" id="{E10252DE-3986-4D75-9B1F-785FEBEB6F2F}"/>
              </a:ext>
            </a:extLst>
          </p:cNvPr>
          <p:cNvSpPr>
            <a:spLocks noGrp="1"/>
          </p:cNvSpPr>
          <p:nvPr>
            <p:ph type="sldNum" sz="quarter" idx="12"/>
          </p:nvPr>
        </p:nvSpPr>
        <p:spPr/>
        <p:txBody>
          <a:bodyPr/>
          <a:lstStyle/>
          <a:p>
            <a:fld id="{B3302B29-356E-42F1-B728-B4A2119D0885}" type="slidenum">
              <a:rPr lang="en-ZA" smtClean="0"/>
              <a:pPr/>
              <a:t>‹#›</a:t>
            </a:fld>
            <a:endParaRPr lang="en-ZA"/>
          </a:p>
        </p:txBody>
      </p:sp>
    </p:spTree>
    <p:extLst>
      <p:ext uri="{BB962C8B-B14F-4D97-AF65-F5344CB8AC3E}">
        <p14:creationId xmlns:p14="http://schemas.microsoft.com/office/powerpoint/2010/main" xmlns="" val="1378760826"/>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97EFB0E-5FD9-4D81-AFB6-24FA0E924186}"/>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ZA"/>
          </a:p>
        </p:txBody>
      </p:sp>
      <p:sp>
        <p:nvSpPr>
          <p:cNvPr id="3" name="Content Placeholder 2">
            <a:extLst>
              <a:ext uri="{FF2B5EF4-FFF2-40B4-BE49-F238E27FC236}">
                <a16:creationId xmlns:a16="http://schemas.microsoft.com/office/drawing/2014/main" xmlns="" id="{2E6C690D-57F1-4677-9826-90DE17621FCE}"/>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a16="http://schemas.microsoft.com/office/drawing/2014/main" xmlns="" id="{B4E790B0-9490-4937-A7EF-7AD6DD2B98E3}"/>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xmlns="" id="{96EC70F0-654C-4E1D-AA77-5A7A68A57208}"/>
              </a:ext>
            </a:extLst>
          </p:cNvPr>
          <p:cNvSpPr>
            <a:spLocks noGrp="1"/>
          </p:cNvSpPr>
          <p:nvPr>
            <p:ph type="dt" sz="half" idx="10"/>
          </p:nvPr>
        </p:nvSpPr>
        <p:spPr/>
        <p:txBody>
          <a:bodyPr/>
          <a:lstStyle/>
          <a:p>
            <a:fld id="{7BD8B346-B5D7-4250-81FC-D179C2A773C0}" type="datetimeFigureOut">
              <a:rPr lang="en-ZA" smtClean="0"/>
              <a:pPr/>
              <a:t>2021/02/03</a:t>
            </a:fld>
            <a:endParaRPr lang="en-ZA"/>
          </a:p>
        </p:txBody>
      </p:sp>
      <p:sp>
        <p:nvSpPr>
          <p:cNvPr id="6" name="Footer Placeholder 5">
            <a:extLst>
              <a:ext uri="{FF2B5EF4-FFF2-40B4-BE49-F238E27FC236}">
                <a16:creationId xmlns:a16="http://schemas.microsoft.com/office/drawing/2014/main" xmlns="" id="{4B366185-300D-42C3-8BBE-065AB98A516D}"/>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xmlns="" id="{9423E526-BA55-4AC9-9B89-D1360450D7E7}"/>
              </a:ext>
            </a:extLst>
          </p:cNvPr>
          <p:cNvSpPr>
            <a:spLocks noGrp="1"/>
          </p:cNvSpPr>
          <p:nvPr>
            <p:ph type="sldNum" sz="quarter" idx="12"/>
          </p:nvPr>
        </p:nvSpPr>
        <p:spPr/>
        <p:txBody>
          <a:bodyPr/>
          <a:lstStyle/>
          <a:p>
            <a:fld id="{B3302B29-356E-42F1-B728-B4A2119D0885}" type="slidenum">
              <a:rPr lang="en-ZA" smtClean="0"/>
              <a:pPr/>
              <a:t>‹#›</a:t>
            </a:fld>
            <a:endParaRPr lang="en-ZA"/>
          </a:p>
        </p:txBody>
      </p:sp>
    </p:spTree>
    <p:extLst>
      <p:ext uri="{BB962C8B-B14F-4D97-AF65-F5344CB8AC3E}">
        <p14:creationId xmlns:p14="http://schemas.microsoft.com/office/powerpoint/2010/main" xmlns="" val="4123300950"/>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7938337-0420-4181-92EC-E1E9DEB91368}"/>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ZA"/>
          </a:p>
        </p:txBody>
      </p:sp>
      <p:sp>
        <p:nvSpPr>
          <p:cNvPr id="3" name="Picture Placeholder 2">
            <a:extLst>
              <a:ext uri="{FF2B5EF4-FFF2-40B4-BE49-F238E27FC236}">
                <a16:creationId xmlns:a16="http://schemas.microsoft.com/office/drawing/2014/main" xmlns="" id="{414FE6F3-9376-4086-87D0-86516C71CAFD}"/>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ZA"/>
          </a:p>
        </p:txBody>
      </p:sp>
      <p:sp>
        <p:nvSpPr>
          <p:cNvPr id="4" name="Text Placeholder 3">
            <a:extLst>
              <a:ext uri="{FF2B5EF4-FFF2-40B4-BE49-F238E27FC236}">
                <a16:creationId xmlns:a16="http://schemas.microsoft.com/office/drawing/2014/main" xmlns="" id="{4D437B82-8375-4156-9A54-814A82F941D0}"/>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xmlns="" id="{195FD49E-C54A-4106-94D2-3C5DBF6A1BBE}"/>
              </a:ext>
            </a:extLst>
          </p:cNvPr>
          <p:cNvSpPr>
            <a:spLocks noGrp="1"/>
          </p:cNvSpPr>
          <p:nvPr>
            <p:ph type="dt" sz="half" idx="10"/>
          </p:nvPr>
        </p:nvSpPr>
        <p:spPr/>
        <p:txBody>
          <a:bodyPr/>
          <a:lstStyle/>
          <a:p>
            <a:fld id="{7BD8B346-B5D7-4250-81FC-D179C2A773C0}" type="datetimeFigureOut">
              <a:rPr lang="en-ZA" smtClean="0"/>
              <a:pPr/>
              <a:t>2021/02/03</a:t>
            </a:fld>
            <a:endParaRPr lang="en-ZA"/>
          </a:p>
        </p:txBody>
      </p:sp>
      <p:sp>
        <p:nvSpPr>
          <p:cNvPr id="6" name="Footer Placeholder 5">
            <a:extLst>
              <a:ext uri="{FF2B5EF4-FFF2-40B4-BE49-F238E27FC236}">
                <a16:creationId xmlns:a16="http://schemas.microsoft.com/office/drawing/2014/main" xmlns="" id="{875F3E1F-6916-428A-B04C-7D66D02BF6F2}"/>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xmlns="" id="{CD6D7F75-D114-4109-9FC1-14D073E9E14C}"/>
              </a:ext>
            </a:extLst>
          </p:cNvPr>
          <p:cNvSpPr>
            <a:spLocks noGrp="1"/>
          </p:cNvSpPr>
          <p:nvPr>
            <p:ph type="sldNum" sz="quarter" idx="12"/>
          </p:nvPr>
        </p:nvSpPr>
        <p:spPr/>
        <p:txBody>
          <a:bodyPr/>
          <a:lstStyle/>
          <a:p>
            <a:fld id="{B3302B29-356E-42F1-B728-B4A2119D0885}" type="slidenum">
              <a:rPr lang="en-ZA" smtClean="0"/>
              <a:pPr/>
              <a:t>‹#›</a:t>
            </a:fld>
            <a:endParaRPr lang="en-ZA"/>
          </a:p>
        </p:txBody>
      </p:sp>
    </p:spTree>
    <p:extLst>
      <p:ext uri="{BB962C8B-B14F-4D97-AF65-F5344CB8AC3E}">
        <p14:creationId xmlns:p14="http://schemas.microsoft.com/office/powerpoint/2010/main" xmlns="" val="2785620210"/>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E1D8396-72D6-4F7A-9685-772EE3A9C1EC}"/>
              </a:ext>
            </a:extLst>
          </p:cNvPr>
          <p:cNvSpPr>
            <a:spLocks noGrp="1"/>
          </p:cNvSpPr>
          <p:nvPr>
            <p:ph type="title"/>
          </p:nvPr>
        </p:nvSpPr>
        <p:spPr/>
        <p:txBody>
          <a:bodyPr/>
          <a:lstStyle/>
          <a:p>
            <a:r>
              <a:rPr lang="en-US"/>
              <a:t>Click to edit Master title style</a:t>
            </a:r>
            <a:endParaRPr lang="en-ZA"/>
          </a:p>
        </p:txBody>
      </p:sp>
      <p:sp>
        <p:nvSpPr>
          <p:cNvPr id="3" name="Vertical Text Placeholder 2">
            <a:extLst>
              <a:ext uri="{FF2B5EF4-FFF2-40B4-BE49-F238E27FC236}">
                <a16:creationId xmlns:a16="http://schemas.microsoft.com/office/drawing/2014/main" xmlns="" id="{1ABBB7EA-02F4-4FA7-A4F2-58EBCDFDF9A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xmlns="" id="{01A7B72D-9E37-4ADB-B934-EA2ABDD9E788}"/>
              </a:ext>
            </a:extLst>
          </p:cNvPr>
          <p:cNvSpPr>
            <a:spLocks noGrp="1"/>
          </p:cNvSpPr>
          <p:nvPr>
            <p:ph type="dt" sz="half" idx="10"/>
          </p:nvPr>
        </p:nvSpPr>
        <p:spPr/>
        <p:txBody>
          <a:bodyPr/>
          <a:lstStyle/>
          <a:p>
            <a:fld id="{7BD8B346-B5D7-4250-81FC-D179C2A773C0}" type="datetimeFigureOut">
              <a:rPr lang="en-ZA" smtClean="0"/>
              <a:pPr/>
              <a:t>2021/02/03</a:t>
            </a:fld>
            <a:endParaRPr lang="en-ZA"/>
          </a:p>
        </p:txBody>
      </p:sp>
      <p:sp>
        <p:nvSpPr>
          <p:cNvPr id="5" name="Footer Placeholder 4">
            <a:extLst>
              <a:ext uri="{FF2B5EF4-FFF2-40B4-BE49-F238E27FC236}">
                <a16:creationId xmlns:a16="http://schemas.microsoft.com/office/drawing/2014/main" xmlns="" id="{3A58C3E3-99C5-43F2-84AC-0A02BEC4FBC8}"/>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xmlns="" id="{D50B3FB2-1BEC-494F-BFD2-23F1EAD45749}"/>
              </a:ext>
            </a:extLst>
          </p:cNvPr>
          <p:cNvSpPr>
            <a:spLocks noGrp="1"/>
          </p:cNvSpPr>
          <p:nvPr>
            <p:ph type="sldNum" sz="quarter" idx="12"/>
          </p:nvPr>
        </p:nvSpPr>
        <p:spPr/>
        <p:txBody>
          <a:bodyPr/>
          <a:lstStyle/>
          <a:p>
            <a:fld id="{B3302B29-356E-42F1-B728-B4A2119D0885}" type="slidenum">
              <a:rPr lang="en-ZA" smtClean="0"/>
              <a:pPr/>
              <a:t>‹#›</a:t>
            </a:fld>
            <a:endParaRPr lang="en-ZA"/>
          </a:p>
        </p:txBody>
      </p:sp>
    </p:spTree>
    <p:extLst>
      <p:ext uri="{BB962C8B-B14F-4D97-AF65-F5344CB8AC3E}">
        <p14:creationId xmlns:p14="http://schemas.microsoft.com/office/powerpoint/2010/main" xmlns="" val="88454285"/>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D8CEE9C1-55CF-4356-A69A-257C19D543ED}"/>
              </a:ext>
            </a:extLst>
          </p:cNvPr>
          <p:cNvSpPr>
            <a:spLocks noGrp="1"/>
          </p:cNvSpPr>
          <p:nvPr>
            <p:ph type="title" orient="vert"/>
          </p:nvPr>
        </p:nvSpPr>
        <p:spPr>
          <a:xfrm>
            <a:off x="6543675" y="365125"/>
            <a:ext cx="1971675" cy="5811838"/>
          </a:xfrm>
        </p:spPr>
        <p:txBody>
          <a:bodyPr vert="eaVert"/>
          <a:lstStyle/>
          <a:p>
            <a:r>
              <a:rPr lang="en-US"/>
              <a:t>Click to edit Master title style</a:t>
            </a:r>
            <a:endParaRPr lang="en-ZA"/>
          </a:p>
        </p:txBody>
      </p:sp>
      <p:sp>
        <p:nvSpPr>
          <p:cNvPr id="3" name="Vertical Text Placeholder 2">
            <a:extLst>
              <a:ext uri="{FF2B5EF4-FFF2-40B4-BE49-F238E27FC236}">
                <a16:creationId xmlns:a16="http://schemas.microsoft.com/office/drawing/2014/main" xmlns="" id="{9E3BDD2E-BF26-43AC-AD2E-B598A58DD942}"/>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xmlns="" id="{04D5724F-1A62-48A6-A08E-E6FBA35FEC29}"/>
              </a:ext>
            </a:extLst>
          </p:cNvPr>
          <p:cNvSpPr>
            <a:spLocks noGrp="1"/>
          </p:cNvSpPr>
          <p:nvPr>
            <p:ph type="dt" sz="half" idx="10"/>
          </p:nvPr>
        </p:nvSpPr>
        <p:spPr/>
        <p:txBody>
          <a:bodyPr/>
          <a:lstStyle/>
          <a:p>
            <a:fld id="{7BD8B346-B5D7-4250-81FC-D179C2A773C0}" type="datetimeFigureOut">
              <a:rPr lang="en-ZA" smtClean="0"/>
              <a:pPr/>
              <a:t>2021/02/03</a:t>
            </a:fld>
            <a:endParaRPr lang="en-ZA"/>
          </a:p>
        </p:txBody>
      </p:sp>
      <p:sp>
        <p:nvSpPr>
          <p:cNvPr id="5" name="Footer Placeholder 4">
            <a:extLst>
              <a:ext uri="{FF2B5EF4-FFF2-40B4-BE49-F238E27FC236}">
                <a16:creationId xmlns:a16="http://schemas.microsoft.com/office/drawing/2014/main" xmlns="" id="{E0B26197-B1D3-43E9-8759-353E19395178}"/>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xmlns="" id="{18721E47-4F43-4436-84AE-00C3BE42A645}"/>
              </a:ext>
            </a:extLst>
          </p:cNvPr>
          <p:cNvSpPr>
            <a:spLocks noGrp="1"/>
          </p:cNvSpPr>
          <p:nvPr>
            <p:ph type="sldNum" sz="quarter" idx="12"/>
          </p:nvPr>
        </p:nvSpPr>
        <p:spPr/>
        <p:txBody>
          <a:bodyPr/>
          <a:lstStyle/>
          <a:p>
            <a:fld id="{B3302B29-356E-42F1-B728-B4A2119D0885}" type="slidenum">
              <a:rPr lang="en-ZA" smtClean="0"/>
              <a:pPr/>
              <a:t>‹#›</a:t>
            </a:fld>
            <a:endParaRPr lang="en-ZA"/>
          </a:p>
        </p:txBody>
      </p:sp>
    </p:spTree>
    <p:extLst>
      <p:ext uri="{BB962C8B-B14F-4D97-AF65-F5344CB8AC3E}">
        <p14:creationId xmlns:p14="http://schemas.microsoft.com/office/powerpoint/2010/main" xmlns="" val="3603205010"/>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extBox 1"/>
          <p:cNvSpPr txBox="1"/>
          <p:nvPr userDrawn="1"/>
        </p:nvSpPr>
        <p:spPr>
          <a:xfrm>
            <a:off x="152401" y="6477002"/>
            <a:ext cx="840295" cy="207749"/>
          </a:xfrm>
          <a:prstGeom prst="rect">
            <a:avLst/>
          </a:prstGeom>
          <a:noFill/>
        </p:spPr>
        <p:txBody>
          <a:bodyPr wrap="none" rtlCol="0">
            <a:spAutoFit/>
          </a:bodyPr>
          <a:lstStyle/>
          <a:p>
            <a:r>
              <a:rPr lang="en-US" sz="750" dirty="0"/>
              <a:t>Copyrights apply</a:t>
            </a:r>
          </a:p>
        </p:txBody>
      </p:sp>
    </p:spTree>
    <p:extLst>
      <p:ext uri="{BB962C8B-B14F-4D97-AF65-F5344CB8AC3E}">
        <p14:creationId xmlns:p14="http://schemas.microsoft.com/office/powerpoint/2010/main" xmlns="" val="753302038"/>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6" name="Straight Connector 5"/>
          <p:cNvCxnSpPr/>
          <p:nvPr userDrawn="1"/>
        </p:nvCxnSpPr>
        <p:spPr>
          <a:xfrm>
            <a:off x="2514600" y="2667000"/>
            <a:ext cx="64008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2514600" y="4191000"/>
            <a:ext cx="64008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0"/>
          </p:nvPr>
        </p:nvSpPr>
        <p:spPr>
          <a:xfrm>
            <a:off x="2514600" y="2852738"/>
            <a:ext cx="6400800" cy="1223962"/>
          </a:xfrm>
          <a:prstGeom prst="rect">
            <a:avLst/>
          </a:prstGeom>
        </p:spPr>
        <p:txBody>
          <a:bodyPr anchor="ctr"/>
          <a:lstStyle>
            <a:lvl1pPr marL="0" indent="0">
              <a:buNone/>
              <a:defRPr sz="1500">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Edit Master text styles</a:t>
            </a:r>
            <a:endParaRPr lang="en-ZA" dirty="0"/>
          </a:p>
        </p:txBody>
      </p:sp>
    </p:spTree>
    <p:extLst>
      <p:ext uri="{BB962C8B-B14F-4D97-AF65-F5344CB8AC3E}">
        <p14:creationId xmlns:p14="http://schemas.microsoft.com/office/powerpoint/2010/main" xmlns="" val="41542041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99663324"/>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nvGraphicFramePr>
        <p:xfrm>
          <a:off x="1191" y="1588"/>
          <a:ext cx="1191" cy="1588"/>
        </p:xfrm>
        <a:graphic>
          <a:graphicData uri="http://schemas.openxmlformats.org/presentationml/2006/ole">
            <p:oleObj spid="_x0000_s21505" name="think-cell Slide" r:id="rId4" imgW="360" imgH="360" progId="">
              <p:embed/>
            </p:oleObj>
          </a:graphicData>
        </a:graphic>
      </p:graphicFrame>
      <p:sp>
        <p:nvSpPr>
          <p:cNvPr id="2" name="Rectangle 1" hidden="1"/>
          <p:cNvSpPr/>
          <p:nvPr userDrawn="1">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0" b="1" i="0" baseline="0">
              <a:latin typeface="Calibri" panose="020F0502020204030204" pitchFamily="34" charset="0"/>
              <a:ea typeface="Verdana" panose="020B0604030504040204" pitchFamily="34" charset="0"/>
              <a:sym typeface="Calibri" panose="020F0502020204030204" pitchFamily="34" charset="0"/>
            </a:endParaRPr>
          </a:p>
        </p:txBody>
      </p:sp>
      <p:sp>
        <p:nvSpPr>
          <p:cNvPr id="3" name="Title 1"/>
          <p:cNvSpPr>
            <a:spLocks noGrp="1"/>
          </p:cNvSpPr>
          <p:nvPr>
            <p:ph type="title"/>
          </p:nvPr>
        </p:nvSpPr>
        <p:spPr>
          <a:xfrm>
            <a:off x="258590" y="0"/>
            <a:ext cx="8555868" cy="1052736"/>
          </a:xfrm>
          <a:prstGeom prst="rect">
            <a:avLst/>
          </a:prstGeom>
        </p:spPr>
        <p:txBody>
          <a:bodyPr anchor="ctr"/>
          <a:lstStyle>
            <a:lvl1pPr algn="l">
              <a:defRPr sz="1800" b="1" u="sng">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endParaRPr lang="en-ZA" dirty="0"/>
          </a:p>
        </p:txBody>
      </p:sp>
      <p:sp>
        <p:nvSpPr>
          <p:cNvPr id="4" name="Text Placeholder 2"/>
          <p:cNvSpPr>
            <a:spLocks noGrp="1"/>
          </p:cNvSpPr>
          <p:nvPr>
            <p:ph type="body" sz="quarter" idx="10"/>
          </p:nvPr>
        </p:nvSpPr>
        <p:spPr>
          <a:xfrm>
            <a:off x="258292" y="1277840"/>
            <a:ext cx="8634487" cy="4672110"/>
          </a:xfrm>
          <a:prstGeom prst="rect">
            <a:avLst/>
          </a:prstGeom>
        </p:spPr>
        <p:txBody>
          <a:bodyPr/>
          <a:lstStyle>
            <a:lvl1pPr>
              <a:defRPr sz="900">
                <a:latin typeface="Verdana" panose="020B0604030504040204" pitchFamily="34" charset="0"/>
                <a:ea typeface="Verdana" panose="020B0604030504040204" pitchFamily="34" charset="0"/>
                <a:cs typeface="Verdana" panose="020B0604030504040204" pitchFamily="34" charset="0"/>
              </a:defRPr>
            </a:lvl1pPr>
            <a:lvl2pPr marL="557213" indent="-214313">
              <a:buFont typeface="Courier New" panose="02070309020205020404" pitchFamily="49" charset="0"/>
              <a:buChar char="o"/>
              <a:defRPr sz="900">
                <a:latin typeface="Verdana" panose="020B0604030504040204" pitchFamily="34" charset="0"/>
                <a:ea typeface="Verdana" panose="020B0604030504040204" pitchFamily="34" charset="0"/>
                <a:cs typeface="Verdana" panose="020B0604030504040204" pitchFamily="34" charset="0"/>
              </a:defRPr>
            </a:lvl2pPr>
            <a:lvl3pPr>
              <a:defRPr sz="900">
                <a:latin typeface="Verdana" panose="020B0604030504040204" pitchFamily="34" charset="0"/>
                <a:ea typeface="Verdana" panose="020B0604030504040204" pitchFamily="34" charset="0"/>
                <a:cs typeface="Verdana" panose="020B0604030504040204" pitchFamily="34" charset="0"/>
              </a:defRPr>
            </a:lvl3pPr>
            <a:lvl4pPr>
              <a:defRPr sz="900">
                <a:latin typeface="Verdana" panose="020B0604030504040204" pitchFamily="34" charset="0"/>
                <a:ea typeface="Verdana" panose="020B0604030504040204" pitchFamily="34" charset="0"/>
                <a:cs typeface="Verdana" panose="020B0604030504040204" pitchFamily="34" charset="0"/>
              </a:defRPr>
            </a:lvl4pPr>
            <a:lvl5pPr>
              <a:defRPr sz="90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6" name="Text Placeholder 13"/>
          <p:cNvSpPr>
            <a:spLocks noGrp="1"/>
          </p:cNvSpPr>
          <p:nvPr>
            <p:ph type="body" sz="quarter" idx="11"/>
          </p:nvPr>
        </p:nvSpPr>
        <p:spPr>
          <a:xfrm>
            <a:off x="1925241" y="6026664"/>
            <a:ext cx="6211155" cy="642424"/>
          </a:xfrm>
          <a:prstGeom prst="rect">
            <a:avLst/>
          </a:prstGeom>
        </p:spPr>
        <p:txBody>
          <a:bodyPr/>
          <a:lstStyle>
            <a:lvl1pPr marL="0" indent="0">
              <a:buNone/>
              <a:defRPr sz="6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6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6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6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6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Edit Master text styles</a:t>
            </a:r>
            <a:endParaRPr lang="en-ZA" dirty="0"/>
          </a:p>
        </p:txBody>
      </p:sp>
      <p:sp>
        <p:nvSpPr>
          <p:cNvPr id="7" name="Rectangle 26"/>
          <p:cNvSpPr txBox="1">
            <a:spLocks noChangeArrowheads="1"/>
          </p:cNvSpPr>
          <p:nvPr userDrawn="1"/>
        </p:nvSpPr>
        <p:spPr>
          <a:xfrm>
            <a:off x="8819964" y="6605736"/>
            <a:ext cx="324036" cy="252264"/>
          </a:xfrm>
          <a:prstGeom prst="rect">
            <a:avLst/>
          </a:prstGeom>
          <a:ln/>
        </p:spPr>
        <p:txBody>
          <a:bodyPr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17EE79-33E5-4C4B-BAE3-E8DBEA3383C6}" type="slidenum">
              <a:rPr lang="en-ZA" sz="900" smtClean="0"/>
              <a:pPr/>
              <a:t>‹#›</a:t>
            </a:fld>
            <a:endParaRPr lang="en-ZA" sz="900"/>
          </a:p>
        </p:txBody>
      </p:sp>
    </p:spTree>
    <p:extLst>
      <p:ext uri="{BB962C8B-B14F-4D97-AF65-F5344CB8AC3E}">
        <p14:creationId xmlns:p14="http://schemas.microsoft.com/office/powerpoint/2010/main" xmlns="" val="2711755378"/>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448953610"/>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tx1"/>
                </a:solidFill>
              </a:defRPr>
            </a:lvl1pPr>
          </a:lstStyle>
          <a:p>
            <a:fld id="{65001108-C480-4D60-AC87-5E26CA168208}" type="datetime1">
              <a:rPr lang="en-US" smtClean="0">
                <a:solidFill>
                  <a:prstClr val="black"/>
                </a:solidFill>
              </a:rPr>
              <a:pPr/>
              <a:t>2/3/2021</a:t>
            </a:fld>
            <a:endParaRPr lang="en-US">
              <a:solidFill>
                <a:prstClr val="black"/>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a:solidFill>
                <a:prstClr val="black"/>
              </a:solidFil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B6F15528-21DE-4FAA-801E-634DDDAF4B2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3135614906"/>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7"/>
            <a:ext cx="6463630" cy="543595"/>
          </a:xfrm>
          <a:prstGeom prst="rect">
            <a:avLst/>
          </a:prstGeom>
        </p:spPr>
        <p:txBody>
          <a:bodyPr/>
          <a:lstStyle>
            <a:lvl1pPr>
              <a:defRPr lang="en-US" sz="2100" b="1" kern="1200" dirty="0">
                <a:solidFill>
                  <a:schemeClr val="bg1"/>
                </a:solidFill>
                <a:latin typeface="Arial" pitchFamily="34" charset="0"/>
                <a:ea typeface="+mj-ea"/>
                <a:cs typeface="Arial" pitchFamily="34" charset="0"/>
              </a:defRPr>
            </a:lvl1pPr>
          </a:lstStyle>
          <a:p>
            <a:pPr marL="0" marR="0" lvl="0" indent="0" algn="l" defTabSz="342900" rtl="0" eaLnBrk="1" fontAlgn="auto" latinLnBrk="0" hangingPunct="1">
              <a:lnSpc>
                <a:spcPct val="100000"/>
              </a:lnSpc>
              <a:spcBef>
                <a:spcPct val="0"/>
              </a:spcBef>
              <a:spcAft>
                <a:spcPts val="0"/>
              </a:spcAft>
              <a:buClrTx/>
              <a:buSzTx/>
              <a:buFontTx/>
              <a:buNone/>
              <a:tabLst>
                <a:tab pos="0" algn="l"/>
                <a:tab pos="685800" algn="l"/>
                <a:tab pos="1371600" algn="l"/>
                <a:tab pos="2057400" algn="l"/>
                <a:tab pos="2743200" algn="l"/>
                <a:tab pos="3429000" algn="l"/>
                <a:tab pos="4114800" algn="l"/>
                <a:tab pos="4800600" algn="l"/>
                <a:tab pos="5486400" algn="l"/>
                <a:tab pos="6172200" algn="l"/>
                <a:tab pos="6858000" algn="l"/>
                <a:tab pos="7543800" algn="l"/>
              </a:tabLst>
              <a:defRPr/>
            </a:pPr>
            <a:r>
              <a:rPr lang="en-US"/>
              <a:t>Click to edit Master title style</a:t>
            </a:r>
            <a:endParaRPr lang="en-US" dirty="0"/>
          </a:p>
        </p:txBody>
      </p:sp>
      <p:sp>
        <p:nvSpPr>
          <p:cNvPr id="3" name="Content Placeholder 2"/>
          <p:cNvSpPr>
            <a:spLocks noGrp="1"/>
          </p:cNvSpPr>
          <p:nvPr>
            <p:ph idx="1"/>
          </p:nvPr>
        </p:nvSpPr>
        <p:spPr>
          <a:xfrm>
            <a:off x="628650" y="1825625"/>
            <a:ext cx="7886700" cy="4351338"/>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2843808" y="6356351"/>
            <a:ext cx="3086100" cy="365125"/>
          </a:xfrm>
          <a:prstGeom prst="rect">
            <a:avLst/>
          </a:prstGeom>
        </p:spPr>
        <p:txBody>
          <a:bodyPr/>
          <a:lstStyle/>
          <a:p>
            <a:endParaRPr lang="en-US"/>
          </a:p>
        </p:txBody>
      </p:sp>
      <p:sp>
        <p:nvSpPr>
          <p:cNvPr id="7" name="Slide Number Placeholder 5"/>
          <p:cNvSpPr txBox="1">
            <a:spLocks/>
          </p:cNvSpPr>
          <p:nvPr/>
        </p:nvSpPr>
        <p:spPr>
          <a:xfrm>
            <a:off x="8119307" y="6356351"/>
            <a:ext cx="79208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7CBE16-C524-4E85-84FB-DE985D9DE1E6}" type="slidenum">
              <a:rPr lang="en-US" sz="1350" smtClean="0">
                <a:latin typeface="Arial" panose="020B0604020202020204" pitchFamily="34" charset="0"/>
                <a:cs typeface="Arial" panose="020B0604020202020204" pitchFamily="34" charset="0"/>
              </a:rPr>
              <a:pPr/>
              <a:t>‹#›</a:t>
            </a:fld>
            <a:endParaRPr lang="en-US" sz="13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2335187066"/>
      </p:ext>
    </p:extLst>
  </p:cSld>
  <p:clrMapOvr>
    <a:masterClrMapping/>
  </p:clrMapOvr>
  <p:hf hdr="0" ftr="0" dt="0"/>
</p:sldLayout>
</file>

<file path=ppt/slideLayouts/slideLayout50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a:p>
        </p:txBody>
      </p:sp>
      <p:sp>
        <p:nvSpPr>
          <p:cNvPr id="4" name="Date Placeholder 3"/>
          <p:cNvSpPr>
            <a:spLocks noGrp="1"/>
          </p:cNvSpPr>
          <p:nvPr>
            <p:ph type="dt" sz="half" idx="10"/>
          </p:nvPr>
        </p:nvSpPr>
        <p:spPr/>
        <p:txBody>
          <a:bodyPr/>
          <a:lstStyle/>
          <a:p>
            <a:pPr>
              <a:defRPr/>
            </a:pPr>
            <a:fld id="{2E872B3D-10DF-43C0-ADEC-A5CC4C417061}" type="datetime1">
              <a:rPr lang="en-ZA" sz="900" smtClean="0">
                <a:solidFill>
                  <a:prstClr val="black">
                    <a:tint val="75000"/>
                  </a:prstClr>
                </a:solidFill>
              </a:rPr>
              <a:pPr>
                <a:defRPr/>
              </a:pPr>
              <a:t>2021/02/03</a:t>
            </a:fld>
            <a:endParaRPr lang="en-ZA" sz="900">
              <a:solidFill>
                <a:prstClr val="black">
                  <a:tint val="75000"/>
                </a:prstClr>
              </a:solidFill>
            </a:endParaRPr>
          </a:p>
        </p:txBody>
      </p:sp>
      <p:sp>
        <p:nvSpPr>
          <p:cNvPr id="5" name="Footer Placeholder 4"/>
          <p:cNvSpPr>
            <a:spLocks noGrp="1"/>
          </p:cNvSpPr>
          <p:nvPr>
            <p:ph type="ftr" sz="quarter" idx="11"/>
          </p:nvPr>
        </p:nvSpPr>
        <p:spPr/>
        <p:txBody>
          <a:bodyPr/>
          <a:lstStyle/>
          <a:p>
            <a:pPr algn="ctr">
              <a:defRPr/>
            </a:pPr>
            <a:endParaRPr lang="en-ZA" sz="900">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1A623D07-11A7-4808-A6F1-9992CCEED829}" type="slidenum">
              <a:rPr lang="en-ZA" smtClean="0">
                <a:solidFill>
                  <a:prstClr val="black">
                    <a:tint val="75000"/>
                  </a:prstClr>
                </a:solidFill>
              </a:rPr>
              <a:pPr>
                <a:defRPr/>
              </a:pPr>
              <a:t>‹#›</a:t>
            </a:fld>
            <a:endParaRPr lang="en-ZA">
              <a:solidFill>
                <a:prstClr val="black">
                  <a:tint val="75000"/>
                </a:prstClr>
              </a:solidFill>
            </a:endParaRPr>
          </a:p>
        </p:txBody>
      </p:sp>
    </p:spTree>
    <p:extLst>
      <p:ext uri="{BB962C8B-B14F-4D97-AF65-F5344CB8AC3E}">
        <p14:creationId xmlns:p14="http://schemas.microsoft.com/office/powerpoint/2010/main" xmlns="" val="3949895385"/>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9FBA86B-FD75-4D17-978D-108C0310C582}"/>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xmlns="" id="{A5571584-DD0C-4C61-9272-CF86AFD2D75C}"/>
              </a:ext>
            </a:extLst>
          </p:cNvPr>
          <p:cNvSpPr>
            <a:spLocks noGrp="1"/>
          </p:cNvSpPr>
          <p:nvPr>
            <p:ph type="dt" sz="half" idx="10"/>
          </p:nvPr>
        </p:nvSpPr>
        <p:spPr/>
        <p:txBody>
          <a:bodyPr/>
          <a:lstStyle/>
          <a:p>
            <a:fld id="{4AA41F6F-51C7-4454-B1F3-1D69D3D5DDA5}" type="datetimeFigureOut">
              <a:rPr lang="en-ZA" smtClean="0"/>
              <a:pPr/>
              <a:t>2021/02/03</a:t>
            </a:fld>
            <a:endParaRPr lang="en-ZA"/>
          </a:p>
        </p:txBody>
      </p:sp>
      <p:sp>
        <p:nvSpPr>
          <p:cNvPr id="4" name="Footer Placeholder 3">
            <a:extLst>
              <a:ext uri="{FF2B5EF4-FFF2-40B4-BE49-F238E27FC236}">
                <a16:creationId xmlns:a16="http://schemas.microsoft.com/office/drawing/2014/main" xmlns="" id="{F6382F59-E83A-45A7-BAC4-4F7F6BBF722F}"/>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xmlns="" id="{A4671978-7D58-410C-B098-7DE7ECDB6A93}"/>
              </a:ext>
            </a:extLst>
          </p:cNvPr>
          <p:cNvSpPr>
            <a:spLocks noGrp="1"/>
          </p:cNvSpPr>
          <p:nvPr>
            <p:ph type="sldNum" sz="quarter" idx="12"/>
          </p:nvPr>
        </p:nvSpPr>
        <p:spPr/>
        <p:txBody>
          <a:bodyPr/>
          <a:lstStyle/>
          <a:p>
            <a:fld id="{6D928CBA-FDF6-4CF9-BFD8-4910FD0B5C17}" type="slidenum">
              <a:rPr lang="en-ZA" smtClean="0"/>
              <a:pPr/>
              <a:t>‹#›</a:t>
            </a:fld>
            <a:endParaRPr lang="en-ZA"/>
          </a:p>
        </p:txBody>
      </p:sp>
    </p:spTree>
    <p:extLst>
      <p:ext uri="{BB962C8B-B14F-4D97-AF65-F5344CB8AC3E}">
        <p14:creationId xmlns:p14="http://schemas.microsoft.com/office/powerpoint/2010/main" xmlns="" val="3835721004"/>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ADE962-9C7E-40DF-A0A7-BECC5E269925}"/>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xmlns="" id="{86BFC79B-6D55-48CE-8D10-117C4D1D07B8}"/>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xmlns="" id="{CB8C0358-EA3A-4BBE-8C12-E711F37AF411}"/>
              </a:ext>
            </a:extLst>
          </p:cNvPr>
          <p:cNvSpPr>
            <a:spLocks noGrp="1"/>
          </p:cNvSpPr>
          <p:nvPr>
            <p:ph type="dt" sz="half" idx="10"/>
          </p:nvPr>
        </p:nvSpPr>
        <p:spPr/>
        <p:txBody>
          <a:bodyPr/>
          <a:lstStyle/>
          <a:p>
            <a:fld id="{51FA61B5-C1F2-42FD-A3AF-0A905062C832}" type="datetimeFigureOut">
              <a:rPr lang="en-US" smtClean="0"/>
              <a:pPr/>
              <a:t>2/3/2021</a:t>
            </a:fld>
            <a:endParaRPr lang="en-US"/>
          </a:p>
        </p:txBody>
      </p:sp>
      <p:sp>
        <p:nvSpPr>
          <p:cNvPr id="5" name="Footer Placeholder 4">
            <a:extLst>
              <a:ext uri="{FF2B5EF4-FFF2-40B4-BE49-F238E27FC236}">
                <a16:creationId xmlns:a16="http://schemas.microsoft.com/office/drawing/2014/main" xmlns="" id="{44D3F2D8-F5BB-4E2E-AB6E-821650A77D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BEBA9C41-61DB-4C16-A705-A8A2C1A16CF4}"/>
              </a:ext>
            </a:extLst>
          </p:cNvPr>
          <p:cNvSpPr>
            <a:spLocks noGrp="1"/>
          </p:cNvSpPr>
          <p:nvPr>
            <p:ph type="sldNum" sz="quarter" idx="12"/>
          </p:nvPr>
        </p:nvSpPr>
        <p:spPr/>
        <p:txBody>
          <a:bodyPr/>
          <a:lstStyle/>
          <a:p>
            <a:fld id="{EB173FF6-7009-4F3D-8AC4-BCF2727DA22E}" type="slidenum">
              <a:rPr lang="en-US" smtClean="0"/>
              <a:pPr/>
              <a:t>‹#›</a:t>
            </a:fld>
            <a:endParaRPr lang="en-US"/>
          </a:p>
        </p:txBody>
      </p:sp>
    </p:spTree>
    <p:extLst>
      <p:ext uri="{BB962C8B-B14F-4D97-AF65-F5344CB8AC3E}">
        <p14:creationId xmlns:p14="http://schemas.microsoft.com/office/powerpoint/2010/main" xmlns="" val="693228306"/>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514D984-6C93-4E69-9ED4-0457926BBB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6921C08B-B266-459E-AD9C-072DBBFBA5B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226FC05A-48CD-48EA-BBE4-90566AF8322B}"/>
              </a:ext>
            </a:extLst>
          </p:cNvPr>
          <p:cNvSpPr>
            <a:spLocks noGrp="1"/>
          </p:cNvSpPr>
          <p:nvPr>
            <p:ph type="dt" sz="half" idx="10"/>
          </p:nvPr>
        </p:nvSpPr>
        <p:spPr/>
        <p:txBody>
          <a:bodyPr/>
          <a:lstStyle/>
          <a:p>
            <a:fld id="{51FA61B5-C1F2-42FD-A3AF-0A905062C832}" type="datetimeFigureOut">
              <a:rPr lang="en-US" smtClean="0"/>
              <a:pPr/>
              <a:t>2/3/2021</a:t>
            </a:fld>
            <a:endParaRPr lang="en-US"/>
          </a:p>
        </p:txBody>
      </p:sp>
      <p:sp>
        <p:nvSpPr>
          <p:cNvPr id="5" name="Footer Placeholder 4">
            <a:extLst>
              <a:ext uri="{FF2B5EF4-FFF2-40B4-BE49-F238E27FC236}">
                <a16:creationId xmlns:a16="http://schemas.microsoft.com/office/drawing/2014/main" xmlns="" id="{6B74AC73-DB74-4717-8921-DCC4EC517B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6552D5BD-D098-4D1E-984B-5AEE904E77DC}"/>
              </a:ext>
            </a:extLst>
          </p:cNvPr>
          <p:cNvSpPr>
            <a:spLocks noGrp="1"/>
          </p:cNvSpPr>
          <p:nvPr>
            <p:ph type="sldNum" sz="quarter" idx="12"/>
          </p:nvPr>
        </p:nvSpPr>
        <p:spPr/>
        <p:txBody>
          <a:bodyPr/>
          <a:lstStyle/>
          <a:p>
            <a:fld id="{EB173FF6-7009-4F3D-8AC4-BCF2727DA22E}" type="slidenum">
              <a:rPr lang="en-US" smtClean="0"/>
              <a:pPr/>
              <a:t>‹#›</a:t>
            </a:fld>
            <a:endParaRPr lang="en-US"/>
          </a:p>
        </p:txBody>
      </p:sp>
    </p:spTree>
    <p:extLst>
      <p:ext uri="{BB962C8B-B14F-4D97-AF65-F5344CB8AC3E}">
        <p14:creationId xmlns:p14="http://schemas.microsoft.com/office/powerpoint/2010/main" xmlns="" val="4259660638"/>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32161E5-96FF-44BE-96FD-232827E62073}"/>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xmlns="" id="{DD42EA0D-A8C6-48B2-8B21-B75C6AFF462F}"/>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AE781C92-43D8-4D22-B604-9E25988ED0DD}"/>
              </a:ext>
            </a:extLst>
          </p:cNvPr>
          <p:cNvSpPr>
            <a:spLocks noGrp="1"/>
          </p:cNvSpPr>
          <p:nvPr>
            <p:ph type="dt" sz="half" idx="10"/>
          </p:nvPr>
        </p:nvSpPr>
        <p:spPr/>
        <p:txBody>
          <a:bodyPr/>
          <a:lstStyle/>
          <a:p>
            <a:fld id="{51FA61B5-C1F2-42FD-A3AF-0A905062C832}" type="datetimeFigureOut">
              <a:rPr lang="en-US" smtClean="0"/>
              <a:pPr/>
              <a:t>2/3/2021</a:t>
            </a:fld>
            <a:endParaRPr lang="en-US"/>
          </a:p>
        </p:txBody>
      </p:sp>
      <p:sp>
        <p:nvSpPr>
          <p:cNvPr id="5" name="Footer Placeholder 4">
            <a:extLst>
              <a:ext uri="{FF2B5EF4-FFF2-40B4-BE49-F238E27FC236}">
                <a16:creationId xmlns:a16="http://schemas.microsoft.com/office/drawing/2014/main" xmlns="" id="{496C2E4D-9A11-4445-9D3F-80BD92AE7D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26732EE3-E3BE-4D06-98F7-F45E16267450}"/>
              </a:ext>
            </a:extLst>
          </p:cNvPr>
          <p:cNvSpPr>
            <a:spLocks noGrp="1"/>
          </p:cNvSpPr>
          <p:nvPr>
            <p:ph type="sldNum" sz="quarter" idx="12"/>
          </p:nvPr>
        </p:nvSpPr>
        <p:spPr/>
        <p:txBody>
          <a:bodyPr/>
          <a:lstStyle/>
          <a:p>
            <a:fld id="{EB173FF6-7009-4F3D-8AC4-BCF2727DA22E}" type="slidenum">
              <a:rPr lang="en-US" smtClean="0"/>
              <a:pPr/>
              <a:t>‹#›</a:t>
            </a:fld>
            <a:endParaRPr lang="en-US"/>
          </a:p>
        </p:txBody>
      </p:sp>
    </p:spTree>
    <p:extLst>
      <p:ext uri="{BB962C8B-B14F-4D97-AF65-F5344CB8AC3E}">
        <p14:creationId xmlns:p14="http://schemas.microsoft.com/office/powerpoint/2010/main" xmlns="" val="4239109998"/>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47563C6-2C57-45A3-A861-CFFFD858BD5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957A94B5-0F19-432D-BBD1-79584575673E}"/>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C5240EB5-21A4-478E-BC03-3B2D22110099}"/>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xmlns="" id="{A52F6A53-04C8-4E63-A42A-AF8355DACD70}"/>
              </a:ext>
            </a:extLst>
          </p:cNvPr>
          <p:cNvSpPr>
            <a:spLocks noGrp="1"/>
          </p:cNvSpPr>
          <p:nvPr>
            <p:ph type="dt" sz="half" idx="10"/>
          </p:nvPr>
        </p:nvSpPr>
        <p:spPr/>
        <p:txBody>
          <a:bodyPr/>
          <a:lstStyle/>
          <a:p>
            <a:fld id="{51FA61B5-C1F2-42FD-A3AF-0A905062C832}" type="datetimeFigureOut">
              <a:rPr lang="en-US" smtClean="0"/>
              <a:pPr/>
              <a:t>2/3/2021</a:t>
            </a:fld>
            <a:endParaRPr lang="en-US"/>
          </a:p>
        </p:txBody>
      </p:sp>
      <p:sp>
        <p:nvSpPr>
          <p:cNvPr id="6" name="Footer Placeholder 5">
            <a:extLst>
              <a:ext uri="{FF2B5EF4-FFF2-40B4-BE49-F238E27FC236}">
                <a16:creationId xmlns:a16="http://schemas.microsoft.com/office/drawing/2014/main" xmlns="" id="{5FEA3643-8956-40E5-A778-787495E431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02BE6A69-9AE2-433A-87E3-C2F6EDA8ED1C}"/>
              </a:ext>
            </a:extLst>
          </p:cNvPr>
          <p:cNvSpPr>
            <a:spLocks noGrp="1"/>
          </p:cNvSpPr>
          <p:nvPr>
            <p:ph type="sldNum" sz="quarter" idx="12"/>
          </p:nvPr>
        </p:nvSpPr>
        <p:spPr/>
        <p:txBody>
          <a:bodyPr/>
          <a:lstStyle/>
          <a:p>
            <a:fld id="{EB173FF6-7009-4F3D-8AC4-BCF2727DA22E}" type="slidenum">
              <a:rPr lang="en-US" smtClean="0"/>
              <a:pPr/>
              <a:t>‹#›</a:t>
            </a:fld>
            <a:endParaRPr lang="en-US"/>
          </a:p>
        </p:txBody>
      </p:sp>
    </p:spTree>
    <p:extLst>
      <p:ext uri="{BB962C8B-B14F-4D97-AF65-F5344CB8AC3E}">
        <p14:creationId xmlns:p14="http://schemas.microsoft.com/office/powerpoint/2010/main" xmlns="" val="24765430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93702601"/>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1C2B4E3-2760-46A6-A039-048A8A4BA9C0}"/>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B6202D2F-E5EB-4A11-AA79-0F966CADE2CE}"/>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F38CBE8C-6FAA-42C2-889F-A70FF8F82C9F}"/>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16B8E7F7-0CAF-4186-8AEB-B0E092BC2C5F}"/>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3CD98E46-874E-425E-B714-B65579FB1BE0}"/>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xmlns="" id="{F7E87BF3-5987-4D67-8538-6B53F25DCD59}"/>
              </a:ext>
            </a:extLst>
          </p:cNvPr>
          <p:cNvSpPr>
            <a:spLocks noGrp="1"/>
          </p:cNvSpPr>
          <p:nvPr>
            <p:ph type="dt" sz="half" idx="10"/>
          </p:nvPr>
        </p:nvSpPr>
        <p:spPr/>
        <p:txBody>
          <a:bodyPr/>
          <a:lstStyle/>
          <a:p>
            <a:fld id="{51FA61B5-C1F2-42FD-A3AF-0A905062C832}" type="datetimeFigureOut">
              <a:rPr lang="en-US" smtClean="0"/>
              <a:pPr/>
              <a:t>2/3/2021</a:t>
            </a:fld>
            <a:endParaRPr lang="en-US"/>
          </a:p>
        </p:txBody>
      </p:sp>
      <p:sp>
        <p:nvSpPr>
          <p:cNvPr id="8" name="Footer Placeholder 7">
            <a:extLst>
              <a:ext uri="{FF2B5EF4-FFF2-40B4-BE49-F238E27FC236}">
                <a16:creationId xmlns:a16="http://schemas.microsoft.com/office/drawing/2014/main" xmlns="" id="{461A62A6-5147-44BD-BC3B-3C3F31FC3A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xmlns="" id="{4A76262E-5BD0-4E54-AB17-731C7EE59CD3}"/>
              </a:ext>
            </a:extLst>
          </p:cNvPr>
          <p:cNvSpPr>
            <a:spLocks noGrp="1"/>
          </p:cNvSpPr>
          <p:nvPr>
            <p:ph type="sldNum" sz="quarter" idx="12"/>
          </p:nvPr>
        </p:nvSpPr>
        <p:spPr/>
        <p:txBody>
          <a:bodyPr/>
          <a:lstStyle/>
          <a:p>
            <a:fld id="{EB173FF6-7009-4F3D-8AC4-BCF2727DA22E}" type="slidenum">
              <a:rPr lang="en-US" smtClean="0"/>
              <a:pPr/>
              <a:t>‹#›</a:t>
            </a:fld>
            <a:endParaRPr lang="en-US"/>
          </a:p>
        </p:txBody>
      </p:sp>
    </p:spTree>
    <p:extLst>
      <p:ext uri="{BB962C8B-B14F-4D97-AF65-F5344CB8AC3E}">
        <p14:creationId xmlns:p14="http://schemas.microsoft.com/office/powerpoint/2010/main" xmlns="" val="658484137"/>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A736CA-7782-474F-AD3F-F203BD50890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192BA708-2070-4244-A1F6-78F58F275382}"/>
              </a:ext>
            </a:extLst>
          </p:cNvPr>
          <p:cNvSpPr>
            <a:spLocks noGrp="1"/>
          </p:cNvSpPr>
          <p:nvPr>
            <p:ph type="dt" sz="half" idx="10"/>
          </p:nvPr>
        </p:nvSpPr>
        <p:spPr/>
        <p:txBody>
          <a:bodyPr/>
          <a:lstStyle/>
          <a:p>
            <a:fld id="{51FA61B5-C1F2-42FD-A3AF-0A905062C832}" type="datetimeFigureOut">
              <a:rPr lang="en-US" smtClean="0"/>
              <a:pPr/>
              <a:t>2/3/2021</a:t>
            </a:fld>
            <a:endParaRPr lang="en-US"/>
          </a:p>
        </p:txBody>
      </p:sp>
      <p:sp>
        <p:nvSpPr>
          <p:cNvPr id="4" name="Footer Placeholder 3">
            <a:extLst>
              <a:ext uri="{FF2B5EF4-FFF2-40B4-BE49-F238E27FC236}">
                <a16:creationId xmlns:a16="http://schemas.microsoft.com/office/drawing/2014/main" xmlns="" id="{2E1A848C-E01B-4DC2-9943-996FB922680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xmlns="" id="{E9F88EBC-94A3-421B-B6DA-131B3ECDF2B0}"/>
              </a:ext>
            </a:extLst>
          </p:cNvPr>
          <p:cNvSpPr>
            <a:spLocks noGrp="1"/>
          </p:cNvSpPr>
          <p:nvPr>
            <p:ph type="sldNum" sz="quarter" idx="12"/>
          </p:nvPr>
        </p:nvSpPr>
        <p:spPr/>
        <p:txBody>
          <a:bodyPr/>
          <a:lstStyle/>
          <a:p>
            <a:fld id="{EB173FF6-7009-4F3D-8AC4-BCF2727DA22E}" type="slidenum">
              <a:rPr lang="en-US" smtClean="0"/>
              <a:pPr/>
              <a:t>‹#›</a:t>
            </a:fld>
            <a:endParaRPr lang="en-US"/>
          </a:p>
        </p:txBody>
      </p:sp>
    </p:spTree>
    <p:extLst>
      <p:ext uri="{BB962C8B-B14F-4D97-AF65-F5344CB8AC3E}">
        <p14:creationId xmlns:p14="http://schemas.microsoft.com/office/powerpoint/2010/main" xmlns="" val="2490446101"/>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C4BAD5E-0F74-4965-9910-35B8EF43B2A7}"/>
              </a:ext>
            </a:extLst>
          </p:cNvPr>
          <p:cNvSpPr>
            <a:spLocks noGrp="1"/>
          </p:cNvSpPr>
          <p:nvPr>
            <p:ph type="dt" sz="half" idx="10"/>
          </p:nvPr>
        </p:nvSpPr>
        <p:spPr/>
        <p:txBody>
          <a:bodyPr/>
          <a:lstStyle/>
          <a:p>
            <a:fld id="{51FA61B5-C1F2-42FD-A3AF-0A905062C832}" type="datetimeFigureOut">
              <a:rPr lang="en-US" smtClean="0"/>
              <a:pPr/>
              <a:t>2/3/2021</a:t>
            </a:fld>
            <a:endParaRPr lang="en-US"/>
          </a:p>
        </p:txBody>
      </p:sp>
      <p:sp>
        <p:nvSpPr>
          <p:cNvPr id="3" name="Footer Placeholder 2">
            <a:extLst>
              <a:ext uri="{FF2B5EF4-FFF2-40B4-BE49-F238E27FC236}">
                <a16:creationId xmlns:a16="http://schemas.microsoft.com/office/drawing/2014/main" xmlns="" id="{EEAF9C0A-7907-425A-9BA9-DCC5A5428E9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xmlns="" id="{68F4AA8E-7750-46F0-9BD2-A777EA21B9F6}"/>
              </a:ext>
            </a:extLst>
          </p:cNvPr>
          <p:cNvSpPr>
            <a:spLocks noGrp="1"/>
          </p:cNvSpPr>
          <p:nvPr>
            <p:ph type="sldNum" sz="quarter" idx="12"/>
          </p:nvPr>
        </p:nvSpPr>
        <p:spPr/>
        <p:txBody>
          <a:bodyPr/>
          <a:lstStyle/>
          <a:p>
            <a:fld id="{EB173FF6-7009-4F3D-8AC4-BCF2727DA22E}" type="slidenum">
              <a:rPr lang="en-US" smtClean="0"/>
              <a:pPr/>
              <a:t>‹#›</a:t>
            </a:fld>
            <a:endParaRPr lang="en-US"/>
          </a:p>
        </p:txBody>
      </p:sp>
    </p:spTree>
    <p:extLst>
      <p:ext uri="{BB962C8B-B14F-4D97-AF65-F5344CB8AC3E}">
        <p14:creationId xmlns:p14="http://schemas.microsoft.com/office/powerpoint/2010/main" xmlns="" val="950780761"/>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467AB8D-BA24-4E57-B62A-FB925115768F}"/>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xmlns="" id="{A86D4283-E6C8-46B3-9E5C-9870589D1054}"/>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CA8B5008-F6DC-4AC9-A60E-A1AE6448C256}"/>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xmlns="" id="{E2EC5F8E-2E04-4ACE-AFD4-4F006D93D983}"/>
              </a:ext>
            </a:extLst>
          </p:cNvPr>
          <p:cNvSpPr>
            <a:spLocks noGrp="1"/>
          </p:cNvSpPr>
          <p:nvPr>
            <p:ph type="dt" sz="half" idx="10"/>
          </p:nvPr>
        </p:nvSpPr>
        <p:spPr/>
        <p:txBody>
          <a:bodyPr/>
          <a:lstStyle/>
          <a:p>
            <a:fld id="{51FA61B5-C1F2-42FD-A3AF-0A905062C832}" type="datetimeFigureOut">
              <a:rPr lang="en-US" smtClean="0"/>
              <a:pPr/>
              <a:t>2/3/2021</a:t>
            </a:fld>
            <a:endParaRPr lang="en-US"/>
          </a:p>
        </p:txBody>
      </p:sp>
      <p:sp>
        <p:nvSpPr>
          <p:cNvPr id="6" name="Footer Placeholder 5">
            <a:extLst>
              <a:ext uri="{FF2B5EF4-FFF2-40B4-BE49-F238E27FC236}">
                <a16:creationId xmlns:a16="http://schemas.microsoft.com/office/drawing/2014/main" xmlns="" id="{26C874C4-2058-460D-AE65-66E051757F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2B0EE431-CB7A-44CF-9C5B-2DD4FFE56336}"/>
              </a:ext>
            </a:extLst>
          </p:cNvPr>
          <p:cNvSpPr>
            <a:spLocks noGrp="1"/>
          </p:cNvSpPr>
          <p:nvPr>
            <p:ph type="sldNum" sz="quarter" idx="12"/>
          </p:nvPr>
        </p:nvSpPr>
        <p:spPr/>
        <p:txBody>
          <a:bodyPr/>
          <a:lstStyle/>
          <a:p>
            <a:fld id="{EB173FF6-7009-4F3D-8AC4-BCF2727DA22E}" type="slidenum">
              <a:rPr lang="en-US" smtClean="0"/>
              <a:pPr/>
              <a:t>‹#›</a:t>
            </a:fld>
            <a:endParaRPr lang="en-US"/>
          </a:p>
        </p:txBody>
      </p:sp>
    </p:spTree>
    <p:extLst>
      <p:ext uri="{BB962C8B-B14F-4D97-AF65-F5344CB8AC3E}">
        <p14:creationId xmlns:p14="http://schemas.microsoft.com/office/powerpoint/2010/main" xmlns="" val="2535681164"/>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7C7EB3D-ECDD-4252-8B1D-68AC7256567E}"/>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xmlns="" id="{4F454BDA-6620-43F2-BDCA-757E422DCB24}"/>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xmlns="" id="{449FD3F1-62A7-442C-A7A5-2879D01D9BF4}"/>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xmlns="" id="{B97A02F1-DA42-4CF3-8CC9-454BE3A1B9D1}"/>
              </a:ext>
            </a:extLst>
          </p:cNvPr>
          <p:cNvSpPr>
            <a:spLocks noGrp="1"/>
          </p:cNvSpPr>
          <p:nvPr>
            <p:ph type="dt" sz="half" idx="10"/>
          </p:nvPr>
        </p:nvSpPr>
        <p:spPr/>
        <p:txBody>
          <a:bodyPr/>
          <a:lstStyle/>
          <a:p>
            <a:fld id="{51FA61B5-C1F2-42FD-A3AF-0A905062C832}" type="datetimeFigureOut">
              <a:rPr lang="en-US" smtClean="0"/>
              <a:pPr/>
              <a:t>2/3/2021</a:t>
            </a:fld>
            <a:endParaRPr lang="en-US"/>
          </a:p>
        </p:txBody>
      </p:sp>
      <p:sp>
        <p:nvSpPr>
          <p:cNvPr id="6" name="Footer Placeholder 5">
            <a:extLst>
              <a:ext uri="{FF2B5EF4-FFF2-40B4-BE49-F238E27FC236}">
                <a16:creationId xmlns:a16="http://schemas.microsoft.com/office/drawing/2014/main" xmlns="" id="{B7FC2F8D-322E-4F23-9963-1DE72F81668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D7554E14-13F9-46DD-A9A7-BE1ED996D904}"/>
              </a:ext>
            </a:extLst>
          </p:cNvPr>
          <p:cNvSpPr>
            <a:spLocks noGrp="1"/>
          </p:cNvSpPr>
          <p:nvPr>
            <p:ph type="sldNum" sz="quarter" idx="12"/>
          </p:nvPr>
        </p:nvSpPr>
        <p:spPr/>
        <p:txBody>
          <a:bodyPr/>
          <a:lstStyle/>
          <a:p>
            <a:fld id="{EB173FF6-7009-4F3D-8AC4-BCF2727DA22E}" type="slidenum">
              <a:rPr lang="en-US" smtClean="0"/>
              <a:pPr/>
              <a:t>‹#›</a:t>
            </a:fld>
            <a:endParaRPr lang="en-US"/>
          </a:p>
        </p:txBody>
      </p:sp>
    </p:spTree>
    <p:extLst>
      <p:ext uri="{BB962C8B-B14F-4D97-AF65-F5344CB8AC3E}">
        <p14:creationId xmlns:p14="http://schemas.microsoft.com/office/powerpoint/2010/main" xmlns="" val="1723225876"/>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D1BC46-FB69-430F-B74E-327FFC325D1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94D6F508-D40D-4FE8-8EB6-CFA638FF129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DD44721F-481D-476B-96B7-6F7A63668E93}"/>
              </a:ext>
            </a:extLst>
          </p:cNvPr>
          <p:cNvSpPr>
            <a:spLocks noGrp="1"/>
          </p:cNvSpPr>
          <p:nvPr>
            <p:ph type="dt" sz="half" idx="10"/>
          </p:nvPr>
        </p:nvSpPr>
        <p:spPr/>
        <p:txBody>
          <a:bodyPr/>
          <a:lstStyle/>
          <a:p>
            <a:fld id="{51FA61B5-C1F2-42FD-A3AF-0A905062C832}" type="datetimeFigureOut">
              <a:rPr lang="en-US" smtClean="0"/>
              <a:pPr/>
              <a:t>2/3/2021</a:t>
            </a:fld>
            <a:endParaRPr lang="en-US"/>
          </a:p>
        </p:txBody>
      </p:sp>
      <p:sp>
        <p:nvSpPr>
          <p:cNvPr id="5" name="Footer Placeholder 4">
            <a:extLst>
              <a:ext uri="{FF2B5EF4-FFF2-40B4-BE49-F238E27FC236}">
                <a16:creationId xmlns:a16="http://schemas.microsoft.com/office/drawing/2014/main" xmlns="" id="{93C5574E-6080-43FD-9195-25516DEB5F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14C9BE06-8397-4981-A564-CFADB4923B91}"/>
              </a:ext>
            </a:extLst>
          </p:cNvPr>
          <p:cNvSpPr>
            <a:spLocks noGrp="1"/>
          </p:cNvSpPr>
          <p:nvPr>
            <p:ph type="sldNum" sz="quarter" idx="12"/>
          </p:nvPr>
        </p:nvSpPr>
        <p:spPr/>
        <p:txBody>
          <a:bodyPr/>
          <a:lstStyle/>
          <a:p>
            <a:fld id="{EB173FF6-7009-4F3D-8AC4-BCF2727DA22E}" type="slidenum">
              <a:rPr lang="en-US" smtClean="0"/>
              <a:pPr/>
              <a:t>‹#›</a:t>
            </a:fld>
            <a:endParaRPr lang="en-US"/>
          </a:p>
        </p:txBody>
      </p:sp>
    </p:spTree>
    <p:extLst>
      <p:ext uri="{BB962C8B-B14F-4D97-AF65-F5344CB8AC3E}">
        <p14:creationId xmlns:p14="http://schemas.microsoft.com/office/powerpoint/2010/main" xmlns="" val="1367484923"/>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B19E01CE-759F-4F9B-94AC-D9E7DB3B8ECE}"/>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C6AE1F9C-065D-4D56-8FD9-E889CD056D28}"/>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693737CD-4B9B-499D-8BC1-5B46E4F9D19C}"/>
              </a:ext>
            </a:extLst>
          </p:cNvPr>
          <p:cNvSpPr>
            <a:spLocks noGrp="1"/>
          </p:cNvSpPr>
          <p:nvPr>
            <p:ph type="dt" sz="half" idx="10"/>
          </p:nvPr>
        </p:nvSpPr>
        <p:spPr/>
        <p:txBody>
          <a:bodyPr/>
          <a:lstStyle/>
          <a:p>
            <a:fld id="{51FA61B5-C1F2-42FD-A3AF-0A905062C832}" type="datetimeFigureOut">
              <a:rPr lang="en-US" smtClean="0"/>
              <a:pPr/>
              <a:t>2/3/2021</a:t>
            </a:fld>
            <a:endParaRPr lang="en-US"/>
          </a:p>
        </p:txBody>
      </p:sp>
      <p:sp>
        <p:nvSpPr>
          <p:cNvPr id="5" name="Footer Placeholder 4">
            <a:extLst>
              <a:ext uri="{FF2B5EF4-FFF2-40B4-BE49-F238E27FC236}">
                <a16:creationId xmlns:a16="http://schemas.microsoft.com/office/drawing/2014/main" xmlns="" id="{32D1A82B-944A-42EB-AE32-1C20A091C9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CAA64350-A060-4754-952C-756ECE0630B7}"/>
              </a:ext>
            </a:extLst>
          </p:cNvPr>
          <p:cNvSpPr>
            <a:spLocks noGrp="1"/>
          </p:cNvSpPr>
          <p:nvPr>
            <p:ph type="sldNum" sz="quarter" idx="12"/>
          </p:nvPr>
        </p:nvSpPr>
        <p:spPr/>
        <p:txBody>
          <a:bodyPr/>
          <a:lstStyle/>
          <a:p>
            <a:fld id="{EB173FF6-7009-4F3D-8AC4-BCF2727DA22E}" type="slidenum">
              <a:rPr lang="en-US" smtClean="0"/>
              <a:pPr/>
              <a:t>‹#›</a:t>
            </a:fld>
            <a:endParaRPr lang="en-US"/>
          </a:p>
        </p:txBody>
      </p:sp>
    </p:spTree>
    <p:extLst>
      <p:ext uri="{BB962C8B-B14F-4D97-AF65-F5344CB8AC3E}">
        <p14:creationId xmlns:p14="http://schemas.microsoft.com/office/powerpoint/2010/main" xmlns="" val="1685164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3078139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869500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59507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9118693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099419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4907489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6193344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1448331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9325238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0297892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496349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9992348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397410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2007789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4682324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1332368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535354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2291756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26623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Back Slide &quot;Thank You&quot;">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29039476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ack Slide &quot;Thank You&quot;">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91534117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24136135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pPr/>
              <a:t>3 February 2021</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xmlns=""/>
              </a:ext>
            </a:extLst>
          </a:blip>
          <a:stretch>
            <a:fillRect/>
          </a:stretch>
        </p:blipFill>
        <p:spPr>
          <a:xfrm>
            <a:off x="488487" y="620688"/>
            <a:ext cx="3246314" cy="1008112"/>
          </a:xfrm>
          <a:prstGeom prst="rect">
            <a:avLst/>
          </a:prstGeom>
        </p:spPr>
      </p:pic>
    </p:spTree>
    <p:extLst>
      <p:ext uri="{BB962C8B-B14F-4D97-AF65-F5344CB8AC3E}">
        <p14:creationId xmlns:p14="http://schemas.microsoft.com/office/powerpoint/2010/main" xmlns="" val="408858462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341791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5233647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417071190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147902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743616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384705432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4664271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67204894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5315166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74028235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6804436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6424752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421848574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9039517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0275386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6035795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53609684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0824103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54945479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54836322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08063364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137530448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169089441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5"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5" y="4532528"/>
            <a:ext cx="8208912" cy="508552"/>
          </a:xfrm>
        </p:spPr>
        <p:txBody>
          <a:bodyPr lIns="72000" tIns="0" rIns="72000" bIns="0" anchor="ctr">
            <a:normAutofit/>
          </a:bodyPr>
          <a:lstStyle>
            <a:lvl1pPr marL="0" indent="0" algn="r">
              <a:buNone/>
              <a:defRPr sz="1500" b="0">
                <a:solidFill>
                  <a:schemeClr val="bg1"/>
                </a:solidFill>
              </a:defRPr>
            </a:lvl1pPr>
            <a:lvl2pPr marL="342907" indent="0" algn="ctr">
              <a:buNone/>
              <a:defRPr>
                <a:solidFill>
                  <a:schemeClr val="tx1">
                    <a:tint val="75000"/>
                  </a:schemeClr>
                </a:solidFill>
              </a:defRPr>
            </a:lvl2pPr>
            <a:lvl3pPr marL="685814" indent="0" algn="ctr">
              <a:buNone/>
              <a:defRPr>
                <a:solidFill>
                  <a:schemeClr val="tx1">
                    <a:tint val="75000"/>
                  </a:schemeClr>
                </a:solidFill>
              </a:defRPr>
            </a:lvl3pPr>
            <a:lvl4pPr marL="1028720" indent="0" algn="ctr">
              <a:buNone/>
              <a:defRPr>
                <a:solidFill>
                  <a:schemeClr val="tx1">
                    <a:tint val="75000"/>
                  </a:schemeClr>
                </a:solidFill>
              </a:defRPr>
            </a:lvl4pPr>
            <a:lvl5pPr marL="1371628" indent="0" algn="ctr">
              <a:buNone/>
              <a:defRPr>
                <a:solidFill>
                  <a:schemeClr val="tx1">
                    <a:tint val="75000"/>
                  </a:schemeClr>
                </a:solidFill>
              </a:defRPr>
            </a:lvl5pPr>
            <a:lvl6pPr marL="1714535" indent="0" algn="ctr">
              <a:buNone/>
              <a:defRPr>
                <a:solidFill>
                  <a:schemeClr val="tx1">
                    <a:tint val="75000"/>
                  </a:schemeClr>
                </a:solidFill>
              </a:defRPr>
            </a:lvl6pPr>
            <a:lvl7pPr marL="2057441" indent="0" algn="ctr">
              <a:buNone/>
              <a:defRPr>
                <a:solidFill>
                  <a:schemeClr val="tx1">
                    <a:tint val="75000"/>
                  </a:schemeClr>
                </a:solidFill>
              </a:defRPr>
            </a:lvl7pPr>
            <a:lvl8pPr marL="2400348" indent="0" algn="ctr">
              <a:buNone/>
              <a:defRPr>
                <a:solidFill>
                  <a:schemeClr val="tx1">
                    <a:tint val="75000"/>
                  </a:schemeClr>
                </a:solidFill>
              </a:defRPr>
            </a:lvl8pPr>
            <a:lvl9pPr marL="2743255"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7"/>
            <a:ext cx="1512168" cy="365125"/>
          </a:xfrm>
          <a:prstGeom prst="rect">
            <a:avLst/>
          </a:prstGeom>
        </p:spPr>
        <p:txBody>
          <a:bodyPr vert="horz" lIns="91440" tIns="45720" rIns="91440" bIns="45720" rtlCol="0" anchor="ctr"/>
          <a:lstStyle>
            <a:lvl1pPr algn="r">
              <a:defRPr sz="900">
                <a:solidFill>
                  <a:schemeClr val="bg1"/>
                </a:solidFill>
              </a:defRPr>
            </a:lvl1pPr>
          </a:lstStyle>
          <a:p>
            <a:fld id="{44DF0C3E-4E99-4E2E-BA98-3D852DE6B51F}" type="datetime3">
              <a:rPr lang="en-US" smtClean="0"/>
              <a:pPr/>
              <a:t>3 February 2021</a:t>
            </a:fld>
            <a:endParaRPr lang="en-GB" dirty="0"/>
          </a:p>
        </p:txBody>
      </p:sp>
      <p:sp>
        <p:nvSpPr>
          <p:cNvPr id="17" name="Text Placeholder 16"/>
          <p:cNvSpPr>
            <a:spLocks noGrp="1"/>
          </p:cNvSpPr>
          <p:nvPr>
            <p:ph type="body" sz="quarter" idx="10" hasCustomPrompt="1"/>
          </p:nvPr>
        </p:nvSpPr>
        <p:spPr>
          <a:xfrm>
            <a:off x="3635548" y="5398047"/>
            <a:ext cx="1584176" cy="365125"/>
          </a:xfrm>
        </p:spPr>
        <p:txBody>
          <a:bodyPr>
            <a:normAutofit/>
          </a:bodyPr>
          <a:lstStyle>
            <a:lvl1pPr algn="r">
              <a:defRPr sz="9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7"/>
            <a:ext cx="1944216" cy="365125"/>
          </a:xfrm>
        </p:spPr>
        <p:txBody>
          <a:bodyPr>
            <a:normAutofit/>
          </a:bodyPr>
          <a:lstStyle>
            <a:lvl1pPr algn="r">
              <a:defRPr sz="900"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4"/>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488488" y="620688"/>
            <a:ext cx="3246314" cy="1008112"/>
          </a:xfrm>
          <a:prstGeom prst="rect">
            <a:avLst/>
          </a:prstGeom>
        </p:spPr>
      </p:pic>
    </p:spTree>
    <p:extLst>
      <p:ext uri="{BB962C8B-B14F-4D97-AF65-F5344CB8AC3E}">
        <p14:creationId xmlns:p14="http://schemas.microsoft.com/office/powerpoint/2010/main" xmlns="" val="381199275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6" y="1196754"/>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60420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26" Type="http://schemas.openxmlformats.org/officeDocument/2006/relationships/vmlDrawing" Target="../drawings/vmlDrawing9.vml"/><Relationship Id="rId3" Type="http://schemas.openxmlformats.org/officeDocument/2006/relationships/slideLayout" Target="../slideLayouts/slideLayout197.xml"/><Relationship Id="rId21" Type="http://schemas.openxmlformats.org/officeDocument/2006/relationships/slideLayout" Target="../slideLayouts/slideLayout215.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5" Type="http://schemas.openxmlformats.org/officeDocument/2006/relationships/theme" Target="../theme/theme10.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slideLayout" Target="../slideLayouts/slideLayout214.xml"/><Relationship Id="rId29" Type="http://schemas.openxmlformats.org/officeDocument/2006/relationships/tags" Target="../tags/tag322.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24" Type="http://schemas.openxmlformats.org/officeDocument/2006/relationships/slideLayout" Target="../slideLayouts/slideLayout218.xml"/><Relationship Id="rId32" Type="http://schemas.openxmlformats.org/officeDocument/2006/relationships/image" Target="../media/image3.png"/><Relationship Id="rId5" Type="http://schemas.openxmlformats.org/officeDocument/2006/relationships/slideLayout" Target="../slideLayouts/slideLayout199.xml"/><Relationship Id="rId15" Type="http://schemas.openxmlformats.org/officeDocument/2006/relationships/slideLayout" Target="../slideLayouts/slideLayout209.xml"/><Relationship Id="rId23" Type="http://schemas.openxmlformats.org/officeDocument/2006/relationships/slideLayout" Target="../slideLayouts/slideLayout217.xml"/><Relationship Id="rId28" Type="http://schemas.openxmlformats.org/officeDocument/2006/relationships/tags" Target="../tags/tag321.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31" Type="http://schemas.openxmlformats.org/officeDocument/2006/relationships/image" Target="../media/image2.png"/><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 Id="rId22" Type="http://schemas.openxmlformats.org/officeDocument/2006/relationships/slideLayout" Target="../slideLayouts/slideLayout216.xml"/><Relationship Id="rId27" Type="http://schemas.openxmlformats.org/officeDocument/2006/relationships/tags" Target="../tags/tag320.xml"/><Relationship Id="rId30" Type="http://schemas.openxmlformats.org/officeDocument/2006/relationships/oleObject" Target="../embeddings/oleObject9.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theme" Target="../theme/theme11.xml"/><Relationship Id="rId3" Type="http://schemas.openxmlformats.org/officeDocument/2006/relationships/slideLayout" Target="../slideLayouts/slideLayout221.xml"/><Relationship Id="rId21" Type="http://schemas.openxmlformats.org/officeDocument/2006/relationships/slideLayout" Target="../slideLayouts/slideLayout239.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slideLayout" Target="../slideLayouts/slideLayout243.xml"/><Relationship Id="rId33" Type="http://schemas.openxmlformats.org/officeDocument/2006/relationships/image" Target="../media/image3.png"/><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slideLayout" Target="../slideLayouts/slideLayout238.xml"/><Relationship Id="rId29" Type="http://schemas.openxmlformats.org/officeDocument/2006/relationships/tags" Target="../tags/tag362.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32" Type="http://schemas.openxmlformats.org/officeDocument/2006/relationships/image" Target="../media/image2.png"/><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28" Type="http://schemas.openxmlformats.org/officeDocument/2006/relationships/tags" Target="../tags/tag361.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31" Type="http://schemas.openxmlformats.org/officeDocument/2006/relationships/oleObject" Target="../embeddings/oleObject10.bin"/><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 Id="rId27" Type="http://schemas.openxmlformats.org/officeDocument/2006/relationships/vmlDrawing" Target="../drawings/vmlDrawing10.vml"/><Relationship Id="rId30" Type="http://schemas.openxmlformats.org/officeDocument/2006/relationships/tags" Target="../tags/tag36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1.xml"/><Relationship Id="rId3" Type="http://schemas.openxmlformats.org/officeDocument/2006/relationships/slideLayout" Target="../slideLayouts/slideLayout246.xml"/><Relationship Id="rId7" Type="http://schemas.openxmlformats.org/officeDocument/2006/relationships/slideLayout" Target="../slideLayouts/slideLayout250.xml"/><Relationship Id="rId12" Type="http://schemas.openxmlformats.org/officeDocument/2006/relationships/theme" Target="../theme/theme12.xml"/><Relationship Id="rId2" Type="http://schemas.openxmlformats.org/officeDocument/2006/relationships/slideLayout" Target="../slideLayouts/slideLayout245.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5" Type="http://schemas.openxmlformats.org/officeDocument/2006/relationships/slideLayout" Target="../slideLayouts/slideLayout248.xml"/><Relationship Id="rId10" Type="http://schemas.openxmlformats.org/officeDocument/2006/relationships/slideLayout" Target="../slideLayouts/slideLayout253.xml"/><Relationship Id="rId4" Type="http://schemas.openxmlformats.org/officeDocument/2006/relationships/slideLayout" Target="../slideLayouts/slideLayout247.xml"/><Relationship Id="rId9" Type="http://schemas.openxmlformats.org/officeDocument/2006/relationships/slideLayout" Target="../slideLayouts/slideLayout25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18" Type="http://schemas.openxmlformats.org/officeDocument/2006/relationships/slideLayout" Target="../slideLayouts/slideLayout272.xml"/><Relationship Id="rId26" Type="http://schemas.openxmlformats.org/officeDocument/2006/relationships/vmlDrawing" Target="../drawings/vmlDrawing11.vml"/><Relationship Id="rId3" Type="http://schemas.openxmlformats.org/officeDocument/2006/relationships/slideLayout" Target="../slideLayouts/slideLayout257.xml"/><Relationship Id="rId21" Type="http://schemas.openxmlformats.org/officeDocument/2006/relationships/slideLayout" Target="../slideLayouts/slideLayout275.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5" Type="http://schemas.openxmlformats.org/officeDocument/2006/relationships/theme" Target="../theme/theme13.xml"/><Relationship Id="rId2" Type="http://schemas.openxmlformats.org/officeDocument/2006/relationships/slideLayout" Target="../slideLayouts/slideLayout256.xml"/><Relationship Id="rId16" Type="http://schemas.openxmlformats.org/officeDocument/2006/relationships/slideLayout" Target="../slideLayouts/slideLayout270.xml"/><Relationship Id="rId20" Type="http://schemas.openxmlformats.org/officeDocument/2006/relationships/slideLayout" Target="../slideLayouts/slideLayout274.xml"/><Relationship Id="rId29" Type="http://schemas.openxmlformats.org/officeDocument/2006/relationships/tags" Target="../tags/tag404.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24" Type="http://schemas.openxmlformats.org/officeDocument/2006/relationships/slideLayout" Target="../slideLayouts/slideLayout278.xml"/><Relationship Id="rId32" Type="http://schemas.openxmlformats.org/officeDocument/2006/relationships/image" Target="../media/image3.png"/><Relationship Id="rId5" Type="http://schemas.openxmlformats.org/officeDocument/2006/relationships/slideLayout" Target="../slideLayouts/slideLayout259.xml"/><Relationship Id="rId15" Type="http://schemas.openxmlformats.org/officeDocument/2006/relationships/slideLayout" Target="../slideLayouts/slideLayout269.xml"/><Relationship Id="rId23" Type="http://schemas.openxmlformats.org/officeDocument/2006/relationships/slideLayout" Target="../slideLayouts/slideLayout277.xml"/><Relationship Id="rId28" Type="http://schemas.openxmlformats.org/officeDocument/2006/relationships/tags" Target="../tags/tag403.xml"/><Relationship Id="rId10" Type="http://schemas.openxmlformats.org/officeDocument/2006/relationships/slideLayout" Target="../slideLayouts/slideLayout264.xml"/><Relationship Id="rId19" Type="http://schemas.openxmlformats.org/officeDocument/2006/relationships/slideLayout" Target="../slideLayouts/slideLayout273.xml"/><Relationship Id="rId31" Type="http://schemas.openxmlformats.org/officeDocument/2006/relationships/image" Target="../media/image2.png"/><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 Id="rId22" Type="http://schemas.openxmlformats.org/officeDocument/2006/relationships/slideLayout" Target="../slideLayouts/slideLayout276.xml"/><Relationship Id="rId27" Type="http://schemas.openxmlformats.org/officeDocument/2006/relationships/tags" Target="../tags/tag402.xml"/><Relationship Id="rId30" Type="http://schemas.openxmlformats.org/officeDocument/2006/relationships/oleObject" Target="../embeddings/oleObject11.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slideLayout" Target="../slideLayouts/slideLayout291.xml"/><Relationship Id="rId18" Type="http://schemas.openxmlformats.org/officeDocument/2006/relationships/slideLayout" Target="../slideLayouts/slideLayout296.xml"/><Relationship Id="rId26" Type="http://schemas.openxmlformats.org/officeDocument/2006/relationships/theme" Target="../theme/theme14.xml"/><Relationship Id="rId3" Type="http://schemas.openxmlformats.org/officeDocument/2006/relationships/slideLayout" Target="../slideLayouts/slideLayout281.xml"/><Relationship Id="rId21" Type="http://schemas.openxmlformats.org/officeDocument/2006/relationships/slideLayout" Target="../slideLayouts/slideLayout299.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17" Type="http://schemas.openxmlformats.org/officeDocument/2006/relationships/slideLayout" Target="../slideLayouts/slideLayout295.xml"/><Relationship Id="rId25" Type="http://schemas.openxmlformats.org/officeDocument/2006/relationships/slideLayout" Target="../slideLayouts/slideLayout303.xml"/><Relationship Id="rId33" Type="http://schemas.openxmlformats.org/officeDocument/2006/relationships/image" Target="../media/image3.png"/><Relationship Id="rId2" Type="http://schemas.openxmlformats.org/officeDocument/2006/relationships/slideLayout" Target="../slideLayouts/slideLayout280.xml"/><Relationship Id="rId16" Type="http://schemas.openxmlformats.org/officeDocument/2006/relationships/slideLayout" Target="../slideLayouts/slideLayout294.xml"/><Relationship Id="rId20" Type="http://schemas.openxmlformats.org/officeDocument/2006/relationships/slideLayout" Target="../slideLayouts/slideLayout298.xml"/><Relationship Id="rId29" Type="http://schemas.openxmlformats.org/officeDocument/2006/relationships/tags" Target="../tags/tag427.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24" Type="http://schemas.openxmlformats.org/officeDocument/2006/relationships/slideLayout" Target="../slideLayouts/slideLayout302.xml"/><Relationship Id="rId32" Type="http://schemas.openxmlformats.org/officeDocument/2006/relationships/image" Target="../media/image8.png"/><Relationship Id="rId5" Type="http://schemas.openxmlformats.org/officeDocument/2006/relationships/slideLayout" Target="../slideLayouts/slideLayout283.xml"/><Relationship Id="rId15" Type="http://schemas.openxmlformats.org/officeDocument/2006/relationships/slideLayout" Target="../slideLayouts/slideLayout293.xml"/><Relationship Id="rId23" Type="http://schemas.openxmlformats.org/officeDocument/2006/relationships/slideLayout" Target="../slideLayouts/slideLayout301.xml"/><Relationship Id="rId28" Type="http://schemas.openxmlformats.org/officeDocument/2006/relationships/tags" Target="../tags/tag426.xml"/><Relationship Id="rId10" Type="http://schemas.openxmlformats.org/officeDocument/2006/relationships/slideLayout" Target="../slideLayouts/slideLayout288.xml"/><Relationship Id="rId19" Type="http://schemas.openxmlformats.org/officeDocument/2006/relationships/slideLayout" Target="../slideLayouts/slideLayout297.xml"/><Relationship Id="rId31" Type="http://schemas.openxmlformats.org/officeDocument/2006/relationships/oleObject" Target="../embeddings/oleObject12.bin"/><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 Id="rId22" Type="http://schemas.openxmlformats.org/officeDocument/2006/relationships/slideLayout" Target="../slideLayouts/slideLayout300.xml"/><Relationship Id="rId27" Type="http://schemas.openxmlformats.org/officeDocument/2006/relationships/vmlDrawing" Target="../drawings/vmlDrawing12.vml"/><Relationship Id="rId30" Type="http://schemas.openxmlformats.org/officeDocument/2006/relationships/tags" Target="../tags/tag42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slideLayout" Target="../slideLayouts/slideLayout316.xml"/><Relationship Id="rId18" Type="http://schemas.openxmlformats.org/officeDocument/2006/relationships/slideLayout" Target="../slideLayouts/slideLayout321.xml"/><Relationship Id="rId26" Type="http://schemas.openxmlformats.org/officeDocument/2006/relationships/theme" Target="../theme/theme15.xml"/><Relationship Id="rId3" Type="http://schemas.openxmlformats.org/officeDocument/2006/relationships/slideLayout" Target="../slideLayouts/slideLayout306.xml"/><Relationship Id="rId21" Type="http://schemas.openxmlformats.org/officeDocument/2006/relationships/slideLayout" Target="../slideLayouts/slideLayout324.xml"/><Relationship Id="rId34" Type="http://schemas.openxmlformats.org/officeDocument/2006/relationships/image" Target="../media/image8.png"/><Relationship Id="rId7" Type="http://schemas.openxmlformats.org/officeDocument/2006/relationships/slideLayout" Target="../slideLayouts/slideLayout310.xml"/><Relationship Id="rId12" Type="http://schemas.openxmlformats.org/officeDocument/2006/relationships/slideLayout" Target="../slideLayouts/slideLayout315.xml"/><Relationship Id="rId17" Type="http://schemas.openxmlformats.org/officeDocument/2006/relationships/slideLayout" Target="../slideLayouts/slideLayout320.xml"/><Relationship Id="rId25" Type="http://schemas.openxmlformats.org/officeDocument/2006/relationships/slideLayout" Target="../slideLayouts/slideLayout328.xml"/><Relationship Id="rId33" Type="http://schemas.openxmlformats.org/officeDocument/2006/relationships/oleObject" Target="../embeddings/oleObject13.bin"/><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0" Type="http://schemas.openxmlformats.org/officeDocument/2006/relationships/slideLayout" Target="../slideLayouts/slideLayout323.xml"/><Relationship Id="rId29" Type="http://schemas.openxmlformats.org/officeDocument/2006/relationships/tags" Target="../tags/tag470.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24" Type="http://schemas.openxmlformats.org/officeDocument/2006/relationships/slideLayout" Target="../slideLayouts/slideLayout327.xml"/><Relationship Id="rId32" Type="http://schemas.openxmlformats.org/officeDocument/2006/relationships/tags" Target="../tags/tag473.x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23" Type="http://schemas.openxmlformats.org/officeDocument/2006/relationships/slideLayout" Target="../slideLayouts/slideLayout326.xml"/><Relationship Id="rId28" Type="http://schemas.openxmlformats.org/officeDocument/2006/relationships/tags" Target="../tags/tag469.xml"/><Relationship Id="rId10" Type="http://schemas.openxmlformats.org/officeDocument/2006/relationships/slideLayout" Target="../slideLayouts/slideLayout313.xml"/><Relationship Id="rId19" Type="http://schemas.openxmlformats.org/officeDocument/2006/relationships/slideLayout" Target="../slideLayouts/slideLayout322.xml"/><Relationship Id="rId31" Type="http://schemas.openxmlformats.org/officeDocument/2006/relationships/tags" Target="../tags/tag472.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 Id="rId22" Type="http://schemas.openxmlformats.org/officeDocument/2006/relationships/slideLayout" Target="../slideLayouts/slideLayout325.xml"/><Relationship Id="rId27" Type="http://schemas.openxmlformats.org/officeDocument/2006/relationships/vmlDrawing" Target="../drawings/vmlDrawing13.vml"/><Relationship Id="rId30" Type="http://schemas.openxmlformats.org/officeDocument/2006/relationships/tags" Target="../tags/tag471.xml"/><Relationship Id="rId35" Type="http://schemas.openxmlformats.org/officeDocument/2006/relationships/image" Target="../media/image3.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36.xml"/><Relationship Id="rId13" Type="http://schemas.openxmlformats.org/officeDocument/2006/relationships/slideLayout" Target="../slideLayouts/slideLayout341.xml"/><Relationship Id="rId18" Type="http://schemas.openxmlformats.org/officeDocument/2006/relationships/slideLayout" Target="../slideLayouts/slideLayout346.xml"/><Relationship Id="rId26" Type="http://schemas.openxmlformats.org/officeDocument/2006/relationships/vmlDrawing" Target="../drawings/vmlDrawing14.vml"/><Relationship Id="rId3" Type="http://schemas.openxmlformats.org/officeDocument/2006/relationships/slideLayout" Target="../slideLayouts/slideLayout331.xml"/><Relationship Id="rId21" Type="http://schemas.openxmlformats.org/officeDocument/2006/relationships/slideLayout" Target="../slideLayouts/slideLayout349.xml"/><Relationship Id="rId34" Type="http://schemas.openxmlformats.org/officeDocument/2006/relationships/image" Target="../media/image3.png"/><Relationship Id="rId7" Type="http://schemas.openxmlformats.org/officeDocument/2006/relationships/slideLayout" Target="../slideLayouts/slideLayout335.xml"/><Relationship Id="rId12" Type="http://schemas.openxmlformats.org/officeDocument/2006/relationships/slideLayout" Target="../slideLayouts/slideLayout340.xml"/><Relationship Id="rId17" Type="http://schemas.openxmlformats.org/officeDocument/2006/relationships/slideLayout" Target="../slideLayouts/slideLayout345.xml"/><Relationship Id="rId25" Type="http://schemas.openxmlformats.org/officeDocument/2006/relationships/theme" Target="../theme/theme16.xml"/><Relationship Id="rId33" Type="http://schemas.openxmlformats.org/officeDocument/2006/relationships/image" Target="../media/image2.png"/><Relationship Id="rId2" Type="http://schemas.openxmlformats.org/officeDocument/2006/relationships/slideLayout" Target="../slideLayouts/slideLayout330.xml"/><Relationship Id="rId16" Type="http://schemas.openxmlformats.org/officeDocument/2006/relationships/slideLayout" Target="../slideLayouts/slideLayout344.xml"/><Relationship Id="rId20" Type="http://schemas.openxmlformats.org/officeDocument/2006/relationships/slideLayout" Target="../slideLayouts/slideLayout348.xml"/><Relationship Id="rId29" Type="http://schemas.openxmlformats.org/officeDocument/2006/relationships/tags" Target="../tags/tag516.xml"/><Relationship Id="rId1" Type="http://schemas.openxmlformats.org/officeDocument/2006/relationships/slideLayout" Target="../slideLayouts/slideLayout329.xml"/><Relationship Id="rId6" Type="http://schemas.openxmlformats.org/officeDocument/2006/relationships/slideLayout" Target="../slideLayouts/slideLayout334.xml"/><Relationship Id="rId11" Type="http://schemas.openxmlformats.org/officeDocument/2006/relationships/slideLayout" Target="../slideLayouts/slideLayout339.xml"/><Relationship Id="rId24" Type="http://schemas.openxmlformats.org/officeDocument/2006/relationships/slideLayout" Target="../slideLayouts/slideLayout352.xml"/><Relationship Id="rId32" Type="http://schemas.openxmlformats.org/officeDocument/2006/relationships/oleObject" Target="../embeddings/oleObject14.bin"/><Relationship Id="rId5" Type="http://schemas.openxmlformats.org/officeDocument/2006/relationships/slideLayout" Target="../slideLayouts/slideLayout333.xml"/><Relationship Id="rId15" Type="http://schemas.openxmlformats.org/officeDocument/2006/relationships/slideLayout" Target="../slideLayouts/slideLayout343.xml"/><Relationship Id="rId23" Type="http://schemas.openxmlformats.org/officeDocument/2006/relationships/slideLayout" Target="../slideLayouts/slideLayout351.xml"/><Relationship Id="rId28" Type="http://schemas.openxmlformats.org/officeDocument/2006/relationships/tags" Target="../tags/tag515.xml"/><Relationship Id="rId10" Type="http://schemas.openxmlformats.org/officeDocument/2006/relationships/slideLayout" Target="../slideLayouts/slideLayout338.xml"/><Relationship Id="rId19" Type="http://schemas.openxmlformats.org/officeDocument/2006/relationships/slideLayout" Target="../slideLayouts/slideLayout347.xml"/><Relationship Id="rId31" Type="http://schemas.openxmlformats.org/officeDocument/2006/relationships/tags" Target="../tags/tag518.xml"/><Relationship Id="rId4" Type="http://schemas.openxmlformats.org/officeDocument/2006/relationships/slideLayout" Target="../slideLayouts/slideLayout332.xml"/><Relationship Id="rId9" Type="http://schemas.openxmlformats.org/officeDocument/2006/relationships/slideLayout" Target="../slideLayouts/slideLayout337.xml"/><Relationship Id="rId14" Type="http://schemas.openxmlformats.org/officeDocument/2006/relationships/slideLayout" Target="../slideLayouts/slideLayout342.xml"/><Relationship Id="rId22" Type="http://schemas.openxmlformats.org/officeDocument/2006/relationships/slideLayout" Target="../slideLayouts/slideLayout350.xml"/><Relationship Id="rId27" Type="http://schemas.openxmlformats.org/officeDocument/2006/relationships/tags" Target="../tags/tag514.xml"/><Relationship Id="rId30" Type="http://schemas.openxmlformats.org/officeDocument/2006/relationships/tags" Target="../tags/tag51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60.xml"/><Relationship Id="rId13" Type="http://schemas.openxmlformats.org/officeDocument/2006/relationships/slideLayout" Target="../slideLayouts/slideLayout365.xml"/><Relationship Id="rId18" Type="http://schemas.openxmlformats.org/officeDocument/2006/relationships/slideLayout" Target="../slideLayouts/slideLayout370.xml"/><Relationship Id="rId26" Type="http://schemas.openxmlformats.org/officeDocument/2006/relationships/slideLayout" Target="../slideLayouts/slideLayout378.xml"/><Relationship Id="rId3" Type="http://schemas.openxmlformats.org/officeDocument/2006/relationships/slideLayout" Target="../slideLayouts/slideLayout355.xml"/><Relationship Id="rId21" Type="http://schemas.openxmlformats.org/officeDocument/2006/relationships/slideLayout" Target="../slideLayouts/slideLayout373.xml"/><Relationship Id="rId34" Type="http://schemas.openxmlformats.org/officeDocument/2006/relationships/oleObject" Target="../embeddings/oleObject15.bin"/><Relationship Id="rId7" Type="http://schemas.openxmlformats.org/officeDocument/2006/relationships/slideLayout" Target="../slideLayouts/slideLayout359.xml"/><Relationship Id="rId12" Type="http://schemas.openxmlformats.org/officeDocument/2006/relationships/slideLayout" Target="../slideLayouts/slideLayout364.xml"/><Relationship Id="rId17" Type="http://schemas.openxmlformats.org/officeDocument/2006/relationships/slideLayout" Target="../slideLayouts/slideLayout369.xml"/><Relationship Id="rId25" Type="http://schemas.openxmlformats.org/officeDocument/2006/relationships/slideLayout" Target="../slideLayouts/slideLayout377.xml"/><Relationship Id="rId33" Type="http://schemas.openxmlformats.org/officeDocument/2006/relationships/tags" Target="../tags/tag563.xml"/><Relationship Id="rId2" Type="http://schemas.openxmlformats.org/officeDocument/2006/relationships/slideLayout" Target="../slideLayouts/slideLayout354.xml"/><Relationship Id="rId16" Type="http://schemas.openxmlformats.org/officeDocument/2006/relationships/slideLayout" Target="../slideLayouts/slideLayout368.xml"/><Relationship Id="rId20" Type="http://schemas.openxmlformats.org/officeDocument/2006/relationships/slideLayout" Target="../slideLayouts/slideLayout372.xml"/><Relationship Id="rId29" Type="http://schemas.openxmlformats.org/officeDocument/2006/relationships/tags" Target="../tags/tag559.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11" Type="http://schemas.openxmlformats.org/officeDocument/2006/relationships/slideLayout" Target="../slideLayouts/slideLayout363.xml"/><Relationship Id="rId24" Type="http://schemas.openxmlformats.org/officeDocument/2006/relationships/slideLayout" Target="../slideLayouts/slideLayout376.xml"/><Relationship Id="rId32" Type="http://schemas.openxmlformats.org/officeDocument/2006/relationships/tags" Target="../tags/tag562.xml"/><Relationship Id="rId5" Type="http://schemas.openxmlformats.org/officeDocument/2006/relationships/slideLayout" Target="../slideLayouts/slideLayout357.xml"/><Relationship Id="rId15" Type="http://schemas.openxmlformats.org/officeDocument/2006/relationships/slideLayout" Target="../slideLayouts/slideLayout367.xml"/><Relationship Id="rId23" Type="http://schemas.openxmlformats.org/officeDocument/2006/relationships/slideLayout" Target="../slideLayouts/slideLayout375.xml"/><Relationship Id="rId28" Type="http://schemas.openxmlformats.org/officeDocument/2006/relationships/vmlDrawing" Target="../drawings/vmlDrawing15.vml"/><Relationship Id="rId36" Type="http://schemas.openxmlformats.org/officeDocument/2006/relationships/image" Target="../media/image3.png"/><Relationship Id="rId10" Type="http://schemas.openxmlformats.org/officeDocument/2006/relationships/slideLayout" Target="../slideLayouts/slideLayout362.xml"/><Relationship Id="rId19" Type="http://schemas.openxmlformats.org/officeDocument/2006/relationships/slideLayout" Target="../slideLayouts/slideLayout371.xml"/><Relationship Id="rId31" Type="http://schemas.openxmlformats.org/officeDocument/2006/relationships/tags" Target="../tags/tag561.xml"/><Relationship Id="rId4" Type="http://schemas.openxmlformats.org/officeDocument/2006/relationships/slideLayout" Target="../slideLayouts/slideLayout356.xml"/><Relationship Id="rId9" Type="http://schemas.openxmlformats.org/officeDocument/2006/relationships/slideLayout" Target="../slideLayouts/slideLayout361.xml"/><Relationship Id="rId14" Type="http://schemas.openxmlformats.org/officeDocument/2006/relationships/slideLayout" Target="../slideLayouts/slideLayout366.xml"/><Relationship Id="rId22" Type="http://schemas.openxmlformats.org/officeDocument/2006/relationships/slideLayout" Target="../slideLayouts/slideLayout374.xml"/><Relationship Id="rId27" Type="http://schemas.openxmlformats.org/officeDocument/2006/relationships/theme" Target="../theme/theme17.xml"/><Relationship Id="rId30" Type="http://schemas.openxmlformats.org/officeDocument/2006/relationships/tags" Target="../tags/tag560.xml"/><Relationship Id="rId35"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86.xml"/><Relationship Id="rId3" Type="http://schemas.openxmlformats.org/officeDocument/2006/relationships/slideLayout" Target="../slideLayouts/slideLayout381.xml"/><Relationship Id="rId7" Type="http://schemas.openxmlformats.org/officeDocument/2006/relationships/slideLayout" Target="../slideLayouts/slideLayout385.xml"/><Relationship Id="rId12" Type="http://schemas.openxmlformats.org/officeDocument/2006/relationships/theme" Target="../theme/theme18.xml"/><Relationship Id="rId2" Type="http://schemas.openxmlformats.org/officeDocument/2006/relationships/slideLayout" Target="../slideLayouts/slideLayout380.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slideLayout" Target="../slideLayouts/slideLayout389.xml"/><Relationship Id="rId5" Type="http://schemas.openxmlformats.org/officeDocument/2006/relationships/slideLayout" Target="../slideLayouts/slideLayout383.xml"/><Relationship Id="rId10" Type="http://schemas.openxmlformats.org/officeDocument/2006/relationships/slideLayout" Target="../slideLayouts/slideLayout388.xml"/><Relationship Id="rId4" Type="http://schemas.openxmlformats.org/officeDocument/2006/relationships/slideLayout" Target="../slideLayouts/slideLayout382.xml"/><Relationship Id="rId9" Type="http://schemas.openxmlformats.org/officeDocument/2006/relationships/slideLayout" Target="../slideLayouts/slideLayout38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97.xml"/><Relationship Id="rId13" Type="http://schemas.openxmlformats.org/officeDocument/2006/relationships/slideLayout" Target="../slideLayouts/slideLayout402.xml"/><Relationship Id="rId18" Type="http://schemas.openxmlformats.org/officeDocument/2006/relationships/slideLayout" Target="../slideLayouts/slideLayout407.xml"/><Relationship Id="rId26" Type="http://schemas.openxmlformats.org/officeDocument/2006/relationships/vmlDrawing" Target="../drawings/vmlDrawing16.vml"/><Relationship Id="rId3" Type="http://schemas.openxmlformats.org/officeDocument/2006/relationships/slideLayout" Target="../slideLayouts/slideLayout392.xml"/><Relationship Id="rId21" Type="http://schemas.openxmlformats.org/officeDocument/2006/relationships/slideLayout" Target="../slideLayouts/slideLayout410.xml"/><Relationship Id="rId34" Type="http://schemas.openxmlformats.org/officeDocument/2006/relationships/image" Target="../media/image3.png"/><Relationship Id="rId7" Type="http://schemas.openxmlformats.org/officeDocument/2006/relationships/slideLayout" Target="../slideLayouts/slideLayout396.xml"/><Relationship Id="rId12" Type="http://schemas.openxmlformats.org/officeDocument/2006/relationships/slideLayout" Target="../slideLayouts/slideLayout401.xml"/><Relationship Id="rId17" Type="http://schemas.openxmlformats.org/officeDocument/2006/relationships/slideLayout" Target="../slideLayouts/slideLayout406.xml"/><Relationship Id="rId25" Type="http://schemas.openxmlformats.org/officeDocument/2006/relationships/theme" Target="../theme/theme19.xml"/><Relationship Id="rId33" Type="http://schemas.openxmlformats.org/officeDocument/2006/relationships/image" Target="../media/image8.png"/><Relationship Id="rId2" Type="http://schemas.openxmlformats.org/officeDocument/2006/relationships/slideLayout" Target="../slideLayouts/slideLayout391.xml"/><Relationship Id="rId16" Type="http://schemas.openxmlformats.org/officeDocument/2006/relationships/slideLayout" Target="../slideLayouts/slideLayout405.xml"/><Relationship Id="rId20" Type="http://schemas.openxmlformats.org/officeDocument/2006/relationships/slideLayout" Target="../slideLayouts/slideLayout409.xml"/><Relationship Id="rId29" Type="http://schemas.openxmlformats.org/officeDocument/2006/relationships/tags" Target="../tags/tag606.xml"/><Relationship Id="rId1" Type="http://schemas.openxmlformats.org/officeDocument/2006/relationships/slideLayout" Target="../slideLayouts/slideLayout390.xml"/><Relationship Id="rId6" Type="http://schemas.openxmlformats.org/officeDocument/2006/relationships/slideLayout" Target="../slideLayouts/slideLayout395.xml"/><Relationship Id="rId11" Type="http://schemas.openxmlformats.org/officeDocument/2006/relationships/slideLayout" Target="../slideLayouts/slideLayout400.xml"/><Relationship Id="rId24" Type="http://schemas.openxmlformats.org/officeDocument/2006/relationships/slideLayout" Target="../slideLayouts/slideLayout413.xml"/><Relationship Id="rId32" Type="http://schemas.openxmlformats.org/officeDocument/2006/relationships/oleObject" Target="../embeddings/oleObject16.bin"/><Relationship Id="rId5" Type="http://schemas.openxmlformats.org/officeDocument/2006/relationships/slideLayout" Target="../slideLayouts/slideLayout394.xml"/><Relationship Id="rId15" Type="http://schemas.openxmlformats.org/officeDocument/2006/relationships/slideLayout" Target="../slideLayouts/slideLayout404.xml"/><Relationship Id="rId23" Type="http://schemas.openxmlformats.org/officeDocument/2006/relationships/slideLayout" Target="../slideLayouts/slideLayout412.xml"/><Relationship Id="rId28" Type="http://schemas.openxmlformats.org/officeDocument/2006/relationships/tags" Target="../tags/tag605.xml"/><Relationship Id="rId10" Type="http://schemas.openxmlformats.org/officeDocument/2006/relationships/slideLayout" Target="../slideLayouts/slideLayout399.xml"/><Relationship Id="rId19" Type="http://schemas.openxmlformats.org/officeDocument/2006/relationships/slideLayout" Target="../slideLayouts/slideLayout408.xml"/><Relationship Id="rId31" Type="http://schemas.openxmlformats.org/officeDocument/2006/relationships/tags" Target="../tags/tag608.xml"/><Relationship Id="rId4" Type="http://schemas.openxmlformats.org/officeDocument/2006/relationships/slideLayout" Target="../slideLayouts/slideLayout393.xml"/><Relationship Id="rId9" Type="http://schemas.openxmlformats.org/officeDocument/2006/relationships/slideLayout" Target="../slideLayouts/slideLayout398.xml"/><Relationship Id="rId14" Type="http://schemas.openxmlformats.org/officeDocument/2006/relationships/slideLayout" Target="../slideLayouts/slideLayout403.xml"/><Relationship Id="rId22" Type="http://schemas.openxmlformats.org/officeDocument/2006/relationships/slideLayout" Target="../slideLayouts/slideLayout411.xml"/><Relationship Id="rId27" Type="http://schemas.openxmlformats.org/officeDocument/2006/relationships/tags" Target="../tags/tag604.xml"/><Relationship Id="rId30" Type="http://schemas.openxmlformats.org/officeDocument/2006/relationships/tags" Target="../tags/tag60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vmlDrawing" Target="../drawings/vmlDrawing2.v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image" Target="../media/image3.pn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33" Type="http://schemas.openxmlformats.org/officeDocument/2006/relationships/image" Target="../media/image2.png"/><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49.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oleObject" Target="../embeddings/oleObject2.bin"/><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48.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1.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7.xml"/><Relationship Id="rId30" Type="http://schemas.openxmlformats.org/officeDocument/2006/relationships/tags" Target="../tags/tag5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21.xml"/><Relationship Id="rId13" Type="http://schemas.openxmlformats.org/officeDocument/2006/relationships/slideLayout" Target="../slideLayouts/slideLayout426.xml"/><Relationship Id="rId18" Type="http://schemas.openxmlformats.org/officeDocument/2006/relationships/slideLayout" Target="../slideLayouts/slideLayout431.xml"/><Relationship Id="rId26" Type="http://schemas.openxmlformats.org/officeDocument/2006/relationships/vmlDrawing" Target="../drawings/vmlDrawing17.vml"/><Relationship Id="rId3" Type="http://schemas.openxmlformats.org/officeDocument/2006/relationships/slideLayout" Target="../slideLayouts/slideLayout416.xml"/><Relationship Id="rId21" Type="http://schemas.openxmlformats.org/officeDocument/2006/relationships/slideLayout" Target="../slideLayouts/slideLayout434.xml"/><Relationship Id="rId34" Type="http://schemas.openxmlformats.org/officeDocument/2006/relationships/image" Target="../media/image3.png"/><Relationship Id="rId7" Type="http://schemas.openxmlformats.org/officeDocument/2006/relationships/slideLayout" Target="../slideLayouts/slideLayout420.xml"/><Relationship Id="rId12" Type="http://schemas.openxmlformats.org/officeDocument/2006/relationships/slideLayout" Target="../slideLayouts/slideLayout425.xml"/><Relationship Id="rId17" Type="http://schemas.openxmlformats.org/officeDocument/2006/relationships/slideLayout" Target="../slideLayouts/slideLayout430.xml"/><Relationship Id="rId25" Type="http://schemas.openxmlformats.org/officeDocument/2006/relationships/theme" Target="../theme/theme20.xml"/><Relationship Id="rId33" Type="http://schemas.openxmlformats.org/officeDocument/2006/relationships/image" Target="../media/image2.png"/><Relationship Id="rId2" Type="http://schemas.openxmlformats.org/officeDocument/2006/relationships/slideLayout" Target="../slideLayouts/slideLayout415.xml"/><Relationship Id="rId16" Type="http://schemas.openxmlformats.org/officeDocument/2006/relationships/slideLayout" Target="../slideLayouts/slideLayout429.xml"/><Relationship Id="rId20" Type="http://schemas.openxmlformats.org/officeDocument/2006/relationships/slideLayout" Target="../slideLayouts/slideLayout433.xml"/><Relationship Id="rId29" Type="http://schemas.openxmlformats.org/officeDocument/2006/relationships/tags" Target="../tags/tag651.xml"/><Relationship Id="rId1" Type="http://schemas.openxmlformats.org/officeDocument/2006/relationships/slideLayout" Target="../slideLayouts/slideLayout414.xml"/><Relationship Id="rId6" Type="http://schemas.openxmlformats.org/officeDocument/2006/relationships/slideLayout" Target="../slideLayouts/slideLayout419.xml"/><Relationship Id="rId11" Type="http://schemas.openxmlformats.org/officeDocument/2006/relationships/slideLayout" Target="../slideLayouts/slideLayout424.xml"/><Relationship Id="rId24" Type="http://schemas.openxmlformats.org/officeDocument/2006/relationships/slideLayout" Target="../slideLayouts/slideLayout437.xml"/><Relationship Id="rId32" Type="http://schemas.openxmlformats.org/officeDocument/2006/relationships/oleObject" Target="../embeddings/oleObject17.bin"/><Relationship Id="rId5" Type="http://schemas.openxmlformats.org/officeDocument/2006/relationships/slideLayout" Target="../slideLayouts/slideLayout418.xml"/><Relationship Id="rId15" Type="http://schemas.openxmlformats.org/officeDocument/2006/relationships/slideLayout" Target="../slideLayouts/slideLayout428.xml"/><Relationship Id="rId23" Type="http://schemas.openxmlformats.org/officeDocument/2006/relationships/slideLayout" Target="../slideLayouts/slideLayout436.xml"/><Relationship Id="rId28" Type="http://schemas.openxmlformats.org/officeDocument/2006/relationships/tags" Target="../tags/tag650.xml"/><Relationship Id="rId10" Type="http://schemas.openxmlformats.org/officeDocument/2006/relationships/slideLayout" Target="../slideLayouts/slideLayout423.xml"/><Relationship Id="rId19" Type="http://schemas.openxmlformats.org/officeDocument/2006/relationships/slideLayout" Target="../slideLayouts/slideLayout432.xml"/><Relationship Id="rId31" Type="http://schemas.openxmlformats.org/officeDocument/2006/relationships/tags" Target="../tags/tag653.xml"/><Relationship Id="rId4" Type="http://schemas.openxmlformats.org/officeDocument/2006/relationships/slideLayout" Target="../slideLayouts/slideLayout417.xml"/><Relationship Id="rId9" Type="http://schemas.openxmlformats.org/officeDocument/2006/relationships/slideLayout" Target="../slideLayouts/slideLayout422.xml"/><Relationship Id="rId14" Type="http://schemas.openxmlformats.org/officeDocument/2006/relationships/slideLayout" Target="../slideLayouts/slideLayout427.xml"/><Relationship Id="rId22" Type="http://schemas.openxmlformats.org/officeDocument/2006/relationships/slideLayout" Target="../slideLayouts/slideLayout435.xml"/><Relationship Id="rId27" Type="http://schemas.openxmlformats.org/officeDocument/2006/relationships/tags" Target="../tags/tag649.xml"/><Relationship Id="rId30" Type="http://schemas.openxmlformats.org/officeDocument/2006/relationships/tags" Target="../tags/tag652.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45.xml"/><Relationship Id="rId13" Type="http://schemas.openxmlformats.org/officeDocument/2006/relationships/slideLayout" Target="../slideLayouts/slideLayout450.xml"/><Relationship Id="rId18" Type="http://schemas.openxmlformats.org/officeDocument/2006/relationships/slideLayout" Target="../slideLayouts/slideLayout455.xml"/><Relationship Id="rId26" Type="http://schemas.openxmlformats.org/officeDocument/2006/relationships/vmlDrawing" Target="../drawings/vmlDrawing18.vml"/><Relationship Id="rId3" Type="http://schemas.openxmlformats.org/officeDocument/2006/relationships/slideLayout" Target="../slideLayouts/slideLayout440.xml"/><Relationship Id="rId21" Type="http://schemas.openxmlformats.org/officeDocument/2006/relationships/slideLayout" Target="../slideLayouts/slideLayout458.xml"/><Relationship Id="rId34" Type="http://schemas.openxmlformats.org/officeDocument/2006/relationships/image" Target="../media/image11.jpeg"/><Relationship Id="rId7" Type="http://schemas.openxmlformats.org/officeDocument/2006/relationships/slideLayout" Target="../slideLayouts/slideLayout444.xml"/><Relationship Id="rId12" Type="http://schemas.openxmlformats.org/officeDocument/2006/relationships/slideLayout" Target="../slideLayouts/slideLayout449.xml"/><Relationship Id="rId17" Type="http://schemas.openxmlformats.org/officeDocument/2006/relationships/slideLayout" Target="../slideLayouts/slideLayout454.xml"/><Relationship Id="rId25" Type="http://schemas.openxmlformats.org/officeDocument/2006/relationships/theme" Target="../theme/theme21.xml"/><Relationship Id="rId33" Type="http://schemas.openxmlformats.org/officeDocument/2006/relationships/oleObject" Target="../embeddings/oleObject18.bin"/><Relationship Id="rId2" Type="http://schemas.openxmlformats.org/officeDocument/2006/relationships/slideLayout" Target="../slideLayouts/slideLayout439.xml"/><Relationship Id="rId16" Type="http://schemas.openxmlformats.org/officeDocument/2006/relationships/slideLayout" Target="../slideLayouts/slideLayout453.xml"/><Relationship Id="rId20" Type="http://schemas.openxmlformats.org/officeDocument/2006/relationships/slideLayout" Target="../slideLayouts/slideLayout457.xml"/><Relationship Id="rId29" Type="http://schemas.openxmlformats.org/officeDocument/2006/relationships/tags" Target="../tags/tag696.xml"/><Relationship Id="rId1" Type="http://schemas.openxmlformats.org/officeDocument/2006/relationships/slideLayout" Target="../slideLayouts/slideLayout438.xml"/><Relationship Id="rId6" Type="http://schemas.openxmlformats.org/officeDocument/2006/relationships/slideLayout" Target="../slideLayouts/slideLayout443.xml"/><Relationship Id="rId11" Type="http://schemas.openxmlformats.org/officeDocument/2006/relationships/slideLayout" Target="../slideLayouts/slideLayout448.xml"/><Relationship Id="rId24" Type="http://schemas.openxmlformats.org/officeDocument/2006/relationships/slideLayout" Target="../slideLayouts/slideLayout461.xml"/><Relationship Id="rId32" Type="http://schemas.openxmlformats.org/officeDocument/2006/relationships/tags" Target="../tags/tag699.xml"/><Relationship Id="rId5" Type="http://schemas.openxmlformats.org/officeDocument/2006/relationships/slideLayout" Target="../slideLayouts/slideLayout442.xml"/><Relationship Id="rId15" Type="http://schemas.openxmlformats.org/officeDocument/2006/relationships/slideLayout" Target="../slideLayouts/slideLayout452.xml"/><Relationship Id="rId23" Type="http://schemas.openxmlformats.org/officeDocument/2006/relationships/slideLayout" Target="../slideLayouts/slideLayout460.xml"/><Relationship Id="rId28" Type="http://schemas.openxmlformats.org/officeDocument/2006/relationships/tags" Target="../tags/tag695.xml"/><Relationship Id="rId36" Type="http://schemas.openxmlformats.org/officeDocument/2006/relationships/image" Target="../media/image3.png"/><Relationship Id="rId10" Type="http://schemas.openxmlformats.org/officeDocument/2006/relationships/slideLayout" Target="../slideLayouts/slideLayout447.xml"/><Relationship Id="rId19" Type="http://schemas.openxmlformats.org/officeDocument/2006/relationships/slideLayout" Target="../slideLayouts/slideLayout456.xml"/><Relationship Id="rId31" Type="http://schemas.openxmlformats.org/officeDocument/2006/relationships/tags" Target="../tags/tag698.xml"/><Relationship Id="rId4" Type="http://schemas.openxmlformats.org/officeDocument/2006/relationships/slideLayout" Target="../slideLayouts/slideLayout441.xml"/><Relationship Id="rId9" Type="http://schemas.openxmlformats.org/officeDocument/2006/relationships/slideLayout" Target="../slideLayouts/slideLayout446.xml"/><Relationship Id="rId14" Type="http://schemas.openxmlformats.org/officeDocument/2006/relationships/slideLayout" Target="../slideLayouts/slideLayout451.xml"/><Relationship Id="rId22" Type="http://schemas.openxmlformats.org/officeDocument/2006/relationships/slideLayout" Target="../slideLayouts/slideLayout459.xml"/><Relationship Id="rId27" Type="http://schemas.openxmlformats.org/officeDocument/2006/relationships/tags" Target="../tags/tag694.xml"/><Relationship Id="rId30" Type="http://schemas.openxmlformats.org/officeDocument/2006/relationships/tags" Target="../tags/tag697.xml"/><Relationship Id="rId35" Type="http://schemas.openxmlformats.org/officeDocument/2006/relationships/image" Target="../media/image16.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69.xml"/><Relationship Id="rId13" Type="http://schemas.openxmlformats.org/officeDocument/2006/relationships/slideLayout" Target="../slideLayouts/slideLayout474.xml"/><Relationship Id="rId18" Type="http://schemas.openxmlformats.org/officeDocument/2006/relationships/slideLayout" Target="../slideLayouts/slideLayout479.xml"/><Relationship Id="rId26" Type="http://schemas.openxmlformats.org/officeDocument/2006/relationships/theme" Target="../theme/theme22.xml"/><Relationship Id="rId3" Type="http://schemas.openxmlformats.org/officeDocument/2006/relationships/slideLayout" Target="../slideLayouts/slideLayout464.xml"/><Relationship Id="rId21" Type="http://schemas.openxmlformats.org/officeDocument/2006/relationships/slideLayout" Target="../slideLayouts/slideLayout482.xml"/><Relationship Id="rId34" Type="http://schemas.openxmlformats.org/officeDocument/2006/relationships/image" Target="../media/image8.png"/><Relationship Id="rId7" Type="http://schemas.openxmlformats.org/officeDocument/2006/relationships/slideLayout" Target="../slideLayouts/slideLayout468.xml"/><Relationship Id="rId12" Type="http://schemas.openxmlformats.org/officeDocument/2006/relationships/slideLayout" Target="../slideLayouts/slideLayout473.xml"/><Relationship Id="rId17" Type="http://schemas.openxmlformats.org/officeDocument/2006/relationships/slideLayout" Target="../slideLayouts/slideLayout478.xml"/><Relationship Id="rId25" Type="http://schemas.openxmlformats.org/officeDocument/2006/relationships/slideLayout" Target="../slideLayouts/slideLayout486.xml"/><Relationship Id="rId33" Type="http://schemas.openxmlformats.org/officeDocument/2006/relationships/oleObject" Target="../embeddings/oleObject19.bin"/><Relationship Id="rId2" Type="http://schemas.openxmlformats.org/officeDocument/2006/relationships/slideLayout" Target="../slideLayouts/slideLayout463.xml"/><Relationship Id="rId16" Type="http://schemas.openxmlformats.org/officeDocument/2006/relationships/slideLayout" Target="../slideLayouts/slideLayout477.xml"/><Relationship Id="rId20" Type="http://schemas.openxmlformats.org/officeDocument/2006/relationships/slideLayout" Target="../slideLayouts/slideLayout481.xml"/><Relationship Id="rId29" Type="http://schemas.openxmlformats.org/officeDocument/2006/relationships/tags" Target="../tags/tag742.xml"/><Relationship Id="rId1" Type="http://schemas.openxmlformats.org/officeDocument/2006/relationships/slideLayout" Target="../slideLayouts/slideLayout462.xml"/><Relationship Id="rId6" Type="http://schemas.openxmlformats.org/officeDocument/2006/relationships/slideLayout" Target="../slideLayouts/slideLayout467.xml"/><Relationship Id="rId11" Type="http://schemas.openxmlformats.org/officeDocument/2006/relationships/slideLayout" Target="../slideLayouts/slideLayout472.xml"/><Relationship Id="rId24" Type="http://schemas.openxmlformats.org/officeDocument/2006/relationships/slideLayout" Target="../slideLayouts/slideLayout485.xml"/><Relationship Id="rId32" Type="http://schemas.openxmlformats.org/officeDocument/2006/relationships/tags" Target="../tags/tag745.xml"/><Relationship Id="rId5" Type="http://schemas.openxmlformats.org/officeDocument/2006/relationships/slideLayout" Target="../slideLayouts/slideLayout466.xml"/><Relationship Id="rId15" Type="http://schemas.openxmlformats.org/officeDocument/2006/relationships/slideLayout" Target="../slideLayouts/slideLayout476.xml"/><Relationship Id="rId23" Type="http://schemas.openxmlformats.org/officeDocument/2006/relationships/slideLayout" Target="../slideLayouts/slideLayout484.xml"/><Relationship Id="rId28" Type="http://schemas.openxmlformats.org/officeDocument/2006/relationships/tags" Target="../tags/tag741.xml"/><Relationship Id="rId10" Type="http://schemas.openxmlformats.org/officeDocument/2006/relationships/slideLayout" Target="../slideLayouts/slideLayout471.xml"/><Relationship Id="rId19" Type="http://schemas.openxmlformats.org/officeDocument/2006/relationships/slideLayout" Target="../slideLayouts/slideLayout480.xml"/><Relationship Id="rId31" Type="http://schemas.openxmlformats.org/officeDocument/2006/relationships/tags" Target="../tags/tag744.xml"/><Relationship Id="rId4" Type="http://schemas.openxmlformats.org/officeDocument/2006/relationships/slideLayout" Target="../slideLayouts/slideLayout465.xml"/><Relationship Id="rId9" Type="http://schemas.openxmlformats.org/officeDocument/2006/relationships/slideLayout" Target="../slideLayouts/slideLayout470.xml"/><Relationship Id="rId14" Type="http://schemas.openxmlformats.org/officeDocument/2006/relationships/slideLayout" Target="../slideLayouts/slideLayout475.xml"/><Relationship Id="rId22" Type="http://schemas.openxmlformats.org/officeDocument/2006/relationships/slideLayout" Target="../slideLayouts/slideLayout483.xml"/><Relationship Id="rId27" Type="http://schemas.openxmlformats.org/officeDocument/2006/relationships/vmlDrawing" Target="../drawings/vmlDrawing19.vml"/><Relationship Id="rId30" Type="http://schemas.openxmlformats.org/officeDocument/2006/relationships/tags" Target="../tags/tag743.xml"/><Relationship Id="rId35" Type="http://schemas.openxmlformats.org/officeDocument/2006/relationships/image" Target="../media/image3.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94.xml"/><Relationship Id="rId13" Type="http://schemas.openxmlformats.org/officeDocument/2006/relationships/theme" Target="../theme/theme23.xml"/><Relationship Id="rId3" Type="http://schemas.openxmlformats.org/officeDocument/2006/relationships/slideLayout" Target="../slideLayouts/slideLayout489.xml"/><Relationship Id="rId7" Type="http://schemas.openxmlformats.org/officeDocument/2006/relationships/slideLayout" Target="../slideLayouts/slideLayout493.xml"/><Relationship Id="rId12" Type="http://schemas.openxmlformats.org/officeDocument/2006/relationships/slideLayout" Target="../slideLayouts/slideLayout498.xml"/><Relationship Id="rId2" Type="http://schemas.openxmlformats.org/officeDocument/2006/relationships/slideLayout" Target="../slideLayouts/slideLayout488.xml"/><Relationship Id="rId1" Type="http://schemas.openxmlformats.org/officeDocument/2006/relationships/slideLayout" Target="../slideLayouts/slideLayout487.xml"/><Relationship Id="rId6" Type="http://schemas.openxmlformats.org/officeDocument/2006/relationships/slideLayout" Target="../slideLayouts/slideLayout492.xml"/><Relationship Id="rId11" Type="http://schemas.openxmlformats.org/officeDocument/2006/relationships/slideLayout" Target="../slideLayouts/slideLayout497.xml"/><Relationship Id="rId5" Type="http://schemas.openxmlformats.org/officeDocument/2006/relationships/slideLayout" Target="../slideLayouts/slideLayout491.xml"/><Relationship Id="rId10" Type="http://schemas.openxmlformats.org/officeDocument/2006/relationships/slideLayout" Target="../slideLayouts/slideLayout496.xml"/><Relationship Id="rId4" Type="http://schemas.openxmlformats.org/officeDocument/2006/relationships/slideLayout" Target="../slideLayouts/slideLayout490.xml"/><Relationship Id="rId9" Type="http://schemas.openxmlformats.org/officeDocument/2006/relationships/slideLayout" Target="../slideLayouts/slideLayout495.xml"/></Relationships>
</file>

<file path=ppt/slideMasters/_rels/slideMaster24.xml.rels><?xml version="1.0" encoding="UTF-8" standalone="yes"?>
<Relationships xmlns="http://schemas.openxmlformats.org/package/2006/relationships"><Relationship Id="rId8" Type="http://schemas.openxmlformats.org/officeDocument/2006/relationships/theme" Target="../theme/theme24.xml"/><Relationship Id="rId3" Type="http://schemas.openxmlformats.org/officeDocument/2006/relationships/slideLayout" Target="../slideLayouts/slideLayout501.xml"/><Relationship Id="rId7" Type="http://schemas.openxmlformats.org/officeDocument/2006/relationships/slideLayout" Target="../slideLayouts/slideLayout505.xml"/><Relationship Id="rId2" Type="http://schemas.openxmlformats.org/officeDocument/2006/relationships/slideLayout" Target="../slideLayouts/slideLayout500.xml"/><Relationship Id="rId1" Type="http://schemas.openxmlformats.org/officeDocument/2006/relationships/slideLayout" Target="../slideLayouts/slideLayout499.xml"/><Relationship Id="rId6" Type="http://schemas.openxmlformats.org/officeDocument/2006/relationships/slideLayout" Target="../slideLayouts/slideLayout504.xml"/><Relationship Id="rId5" Type="http://schemas.openxmlformats.org/officeDocument/2006/relationships/slideLayout" Target="../slideLayouts/slideLayout503.xml"/><Relationship Id="rId10" Type="http://schemas.openxmlformats.org/officeDocument/2006/relationships/oleObject" Target="../embeddings/oleObject20.bin"/><Relationship Id="rId4" Type="http://schemas.openxmlformats.org/officeDocument/2006/relationships/slideLayout" Target="../slideLayouts/slideLayout502.xml"/><Relationship Id="rId9" Type="http://schemas.openxmlformats.org/officeDocument/2006/relationships/vmlDrawing" Target="../drawings/vmlDrawing20.v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image" Target="../media/image21.jpeg"/><Relationship Id="rId3" Type="http://schemas.openxmlformats.org/officeDocument/2006/relationships/slideLayout" Target="../slideLayouts/slideLayout508.xml"/><Relationship Id="rId7" Type="http://schemas.openxmlformats.org/officeDocument/2006/relationships/slideLayout" Target="../slideLayouts/slideLayout512.xml"/><Relationship Id="rId12" Type="http://schemas.openxmlformats.org/officeDocument/2006/relationships/theme" Target="../theme/theme25.xml"/><Relationship Id="rId2" Type="http://schemas.openxmlformats.org/officeDocument/2006/relationships/slideLayout" Target="../slideLayouts/slideLayout507.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5" Type="http://schemas.openxmlformats.org/officeDocument/2006/relationships/slideLayout" Target="../slideLayouts/slideLayout510.xml"/><Relationship Id="rId10" Type="http://schemas.openxmlformats.org/officeDocument/2006/relationships/slideLayout" Target="../slideLayouts/slideLayout515.xml"/><Relationship Id="rId4" Type="http://schemas.openxmlformats.org/officeDocument/2006/relationships/slideLayout" Target="../slideLayouts/slideLayout509.xml"/><Relationship Id="rId9" Type="http://schemas.openxmlformats.org/officeDocument/2006/relationships/slideLayout" Target="../slideLayouts/slideLayout5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theme" Target="../theme/theme3.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image" Target="../media/image2.png"/><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oleObject" Target="../embeddings/oleObject3.bin"/><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tags" Target="../tags/tag93.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tags" Target="../tags/tag96.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tags" Target="../tags/tag92.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tags" Target="../tags/tag95.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vmlDrawing" Target="../drawings/vmlDrawing3.vml"/><Relationship Id="rId30" Type="http://schemas.openxmlformats.org/officeDocument/2006/relationships/tags" Target="../tags/tag94.xml"/><Relationship Id="rId35"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vmlDrawing" Target="../drawings/vmlDrawing4.vml"/><Relationship Id="rId3" Type="http://schemas.openxmlformats.org/officeDocument/2006/relationships/slideLayout" Target="../slideLayouts/slideLayout76.xml"/><Relationship Id="rId21" Type="http://schemas.openxmlformats.org/officeDocument/2006/relationships/slideLayout" Target="../slideLayouts/slideLayout94.xml"/><Relationship Id="rId34" Type="http://schemas.openxmlformats.org/officeDocument/2006/relationships/image" Target="../media/image3.png"/><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theme" Target="../theme/theme4.xml"/><Relationship Id="rId33" Type="http://schemas.openxmlformats.org/officeDocument/2006/relationships/image" Target="../media/image2.png"/><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tags" Target="../tags/tag139.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oleObject" Target="../embeddings/oleObject4.bin"/><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tags" Target="../tags/tag138.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tags" Target="../tags/tag141.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tags" Target="../tags/tag137.xml"/><Relationship Id="rId30" Type="http://schemas.openxmlformats.org/officeDocument/2006/relationships/tags" Target="../tags/tag1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theme" Target="../theme/theme5.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34" Type="http://schemas.openxmlformats.org/officeDocument/2006/relationships/image" Target="../media/image8.png"/><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oleObject" Target="../embeddings/oleObject5.bin"/><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tags" Target="../tags/tag183.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tags" Target="../tags/tag186.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tags" Target="../tags/tag182.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tags" Target="../tags/tag185.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vmlDrawing" Target="../drawings/vmlDrawing5.vml"/><Relationship Id="rId30" Type="http://schemas.openxmlformats.org/officeDocument/2006/relationships/tags" Target="../tags/tag184.xml"/><Relationship Id="rId35" Type="http://schemas.openxmlformats.org/officeDocument/2006/relationships/image" Target="../media/image3.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vmlDrawing" Target="../drawings/vmlDrawing6.v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image" Target="../media/image3.png"/><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theme" Target="../theme/theme6.xml"/><Relationship Id="rId33" Type="http://schemas.openxmlformats.org/officeDocument/2006/relationships/image" Target="../media/image8.png"/><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tags" Target="../tags/tag229.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oleObject" Target="../embeddings/oleObject6.bin"/><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tags" Target="../tags/tag22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tags" Target="../tags/tag23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tags" Target="../tags/tag227.xml"/><Relationship Id="rId30" Type="http://schemas.openxmlformats.org/officeDocument/2006/relationships/tags" Target="../tags/tag2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34" Type="http://schemas.openxmlformats.org/officeDocument/2006/relationships/image" Target="../media/image3.png"/><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image" Target="../media/image2.png"/><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29" Type="http://schemas.openxmlformats.org/officeDocument/2006/relationships/tags" Target="../tags/tag272.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oleObject" Target="../embeddings/oleObject7.bin"/><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vmlDrawing" Target="../drawings/vmlDrawing7.v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31" Type="http://schemas.openxmlformats.org/officeDocument/2006/relationships/tags" Target="../tags/tag274.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theme" Target="../theme/theme7.xml"/><Relationship Id="rId30" Type="http://schemas.openxmlformats.org/officeDocument/2006/relationships/tags" Target="../tags/tag27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tags" Target="../tags/tag315.xml"/><Relationship Id="rId18" Type="http://schemas.openxmlformats.org/officeDocument/2006/relationships/image" Target="../media/image12.png"/><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vmlDrawing" Target="../drawings/vmlDrawing8.vml"/><Relationship Id="rId17" Type="http://schemas.openxmlformats.org/officeDocument/2006/relationships/image" Target="../media/image11.jpeg"/><Relationship Id="rId2" Type="http://schemas.openxmlformats.org/officeDocument/2006/relationships/slideLayout" Target="../slideLayouts/slideLayout174.xml"/><Relationship Id="rId16" Type="http://schemas.openxmlformats.org/officeDocument/2006/relationships/oleObject" Target="../embeddings/oleObject8.bin"/><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theme" Target="../theme/theme8.xml"/><Relationship Id="rId5" Type="http://schemas.openxmlformats.org/officeDocument/2006/relationships/slideLayout" Target="../slideLayouts/slideLayout177.xml"/><Relationship Id="rId15" Type="http://schemas.openxmlformats.org/officeDocument/2006/relationships/tags" Target="../tags/tag317.xml"/><Relationship Id="rId10" Type="http://schemas.openxmlformats.org/officeDocument/2006/relationships/slideLayout" Target="../slideLayouts/slideLayout182.xml"/><Relationship Id="rId19" Type="http://schemas.openxmlformats.org/officeDocument/2006/relationships/image" Target="../media/image3.png"/><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tags" Target="../tags/tag31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theme" Target="../theme/theme9.xml"/><Relationship Id="rId3" Type="http://schemas.openxmlformats.org/officeDocument/2006/relationships/slideLayout" Target="../slideLayouts/slideLayout185.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2" Type="http://schemas.openxmlformats.org/officeDocument/2006/relationships/slideLayout" Target="../slideLayouts/slideLayout184.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0" Type="http://schemas.openxmlformats.org/officeDocument/2006/relationships/slideLayout" Target="../slideLayouts/slideLayout192.xml"/><Relationship Id="rId4" Type="http://schemas.openxmlformats.org/officeDocument/2006/relationships/slideLayout" Target="../slideLayouts/slideLayout186.xml"/><Relationship Id="rId9" Type="http://schemas.openxmlformats.org/officeDocument/2006/relationships/slideLayout" Target="../slideLayouts/slideLayout19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050" name="think-cell Slide" r:id="rId32" imgW="360" imgH="36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pic>
        <p:nvPicPr>
          <p:cNvPr id="12" name="Picture 11"/>
          <p:cNvPicPr>
            <a:picLocks noChangeAspect="1"/>
          </p:cNvPicPr>
          <p:nvPr userDrawn="1"/>
        </p:nvPicPr>
        <p:blipFill>
          <a:blip r:embed="rId33" cstate="email">
            <a:extLst>
              <a:ext uri="{28A0092B-C50C-407E-A947-70E740481C1C}">
                <a14:useLocalDpi xmlns:a14="http://schemas.microsoft.com/office/drawing/2010/main" xmlns=""/>
              </a:ext>
            </a:extLst>
          </a:blip>
          <a:stretch>
            <a:fillRect/>
          </a:stretch>
        </p:blipFill>
        <p:spPr>
          <a:xfrm>
            <a:off x="251520" y="6381329"/>
            <a:ext cx="927518" cy="288032"/>
          </a:xfrm>
          <a:prstGeom prst="rect">
            <a:avLst/>
          </a:prstGeom>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 y="0"/>
          <a:ext cx="158750" cy="158750"/>
        </p:xfrm>
        <a:graphic>
          <a:graphicData uri="http://schemas.openxmlformats.org/presentationml/2006/ole">
            <p:oleObj spid="_x0000_s9242" name="think-cell Slide" r:id="rId30" imgW="360" imgH="360" progId="">
              <p:embed/>
            </p:oleObj>
          </a:graphicData>
        </a:graphic>
      </p:graphicFrame>
      <p:sp>
        <p:nvSpPr>
          <p:cNvPr id="2" name="Title Placeholder 1"/>
          <p:cNvSpPr>
            <a:spLocks noGrp="1"/>
          </p:cNvSpPr>
          <p:nvPr>
            <p:ph type="title"/>
            <p:custDataLst>
              <p:tags r:id="rId27"/>
            </p:custDataLst>
          </p:nvPr>
        </p:nvSpPr>
        <p:spPr>
          <a:xfrm>
            <a:off x="295276"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1" name="Right Triangle 10"/>
          <p:cNvSpPr/>
          <p:nvPr userDrawn="1"/>
        </p:nvSpPr>
        <p:spPr>
          <a:xfrm flipH="1">
            <a:off x="539553" y="898355"/>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pic>
        <p:nvPicPr>
          <p:cNvPr id="12" name="Picture 11"/>
          <p:cNvPicPr>
            <a:picLocks noChangeAspect="1"/>
          </p:cNvPicPr>
          <p:nvPr userDrawn="1"/>
        </p:nvPicPr>
        <p:blipFill>
          <a:blip r:embed="rId31" cstate="email">
            <a:extLst>
              <a:ext uri="{28A0092B-C50C-407E-A947-70E740481C1C}">
                <a14:useLocalDpi xmlns:a14="http://schemas.microsoft.com/office/drawing/2010/main" xmlns=""/>
              </a:ext>
            </a:extLst>
          </a:blip>
          <a:stretch>
            <a:fillRect/>
          </a:stretch>
        </p:blipFill>
        <p:spPr>
          <a:xfrm>
            <a:off x="251521" y="6381329"/>
            <a:ext cx="927518" cy="288032"/>
          </a:xfrm>
          <a:prstGeom prst="rect">
            <a:avLst/>
          </a:prstGeom>
        </p:spPr>
      </p:pic>
    </p:spTree>
    <p:extLst>
      <p:ext uri="{BB962C8B-B14F-4D97-AF65-F5344CB8AC3E}">
        <p14:creationId xmlns:p14="http://schemas.microsoft.com/office/powerpoint/2010/main" xmlns="" val="31863263"/>
      </p:ext>
    </p:extLst>
  </p:cSld>
  <p:clrMap bg1="lt1" tx1="dk1" bg2="lt2" tx2="dk2" accent1="accent1" accent2="accent2" accent3="accent3" accent4="accent4" accent5="accent5" accent6="accent6" hlink="hlink" folHlink="folHlink"/>
  <p:sldLayoutIdLst>
    <p:sldLayoutId id="2147484963" r:id="rId1"/>
    <p:sldLayoutId id="2147484964" r:id="rId2"/>
    <p:sldLayoutId id="2147484965" r:id="rId3"/>
    <p:sldLayoutId id="2147484966" r:id="rId4"/>
    <p:sldLayoutId id="2147484967" r:id="rId5"/>
    <p:sldLayoutId id="2147484968" r:id="rId6"/>
    <p:sldLayoutId id="2147484969" r:id="rId7"/>
    <p:sldLayoutId id="2147484970" r:id="rId8"/>
    <p:sldLayoutId id="2147484971" r:id="rId9"/>
    <p:sldLayoutId id="2147484972" r:id="rId10"/>
    <p:sldLayoutId id="2147484973" r:id="rId11"/>
    <p:sldLayoutId id="2147484974" r:id="rId12"/>
    <p:sldLayoutId id="2147484975" r:id="rId13"/>
    <p:sldLayoutId id="2147484976" r:id="rId14"/>
    <p:sldLayoutId id="2147484977" r:id="rId15"/>
    <p:sldLayoutId id="2147484978" r:id="rId16"/>
    <p:sldLayoutId id="2147484979" r:id="rId17"/>
    <p:sldLayoutId id="2147484980" r:id="rId18"/>
    <p:sldLayoutId id="2147484981" r:id="rId19"/>
    <p:sldLayoutId id="2147484982" r:id="rId20"/>
    <p:sldLayoutId id="2147484983" r:id="rId21"/>
    <p:sldLayoutId id="2147484984" r:id="rId22"/>
    <p:sldLayoutId id="2147484985" r:id="rId23"/>
    <p:sldLayoutId id="2147484986" r:id="rId24"/>
  </p:sldLayoutIdLst>
  <p:hf hdr="0"/>
  <p:txStyles>
    <p:titleStyle>
      <a:lvl1pPr algn="l" defTabSz="685800"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32"/>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 y="0"/>
          <a:ext cx="158750" cy="158750"/>
        </p:xfrm>
        <a:graphic>
          <a:graphicData uri="http://schemas.openxmlformats.org/presentationml/2006/ole">
            <p:oleObj spid="_x0000_s10266" name="think-cell Slide" r:id="rId31" imgW="360" imgH="360" progId="">
              <p:embed/>
            </p:oleObj>
          </a:graphicData>
        </a:graphic>
      </p:graphicFrame>
      <p:sp>
        <p:nvSpPr>
          <p:cNvPr id="2" name="Title Placeholder 1"/>
          <p:cNvSpPr>
            <a:spLocks noGrp="1"/>
          </p:cNvSpPr>
          <p:nvPr>
            <p:ph type="title"/>
            <p:custDataLst>
              <p:tags r:id="rId28"/>
            </p:custDataLst>
          </p:nvPr>
        </p:nvSpPr>
        <p:spPr>
          <a:xfrm>
            <a:off x="295276"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1" name="Right Triangle 10"/>
          <p:cNvSpPr/>
          <p:nvPr userDrawn="1"/>
        </p:nvSpPr>
        <p:spPr>
          <a:xfrm flipH="1">
            <a:off x="539553" y="898355"/>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pic>
        <p:nvPicPr>
          <p:cNvPr id="12" name="Picture 11"/>
          <p:cNvPicPr>
            <a:picLocks noChangeAspect="1"/>
          </p:cNvPicPr>
          <p:nvPr userDrawn="1"/>
        </p:nvPicPr>
        <p:blipFill>
          <a:blip r:embed="rId32" cstate="email">
            <a:extLst>
              <a:ext uri="{28A0092B-C50C-407E-A947-70E740481C1C}">
                <a14:useLocalDpi xmlns:a14="http://schemas.microsoft.com/office/drawing/2010/main" xmlns=""/>
              </a:ext>
            </a:extLst>
          </a:blip>
          <a:stretch>
            <a:fillRect/>
          </a:stretch>
        </p:blipFill>
        <p:spPr>
          <a:xfrm>
            <a:off x="251521" y="6381329"/>
            <a:ext cx="927518" cy="288032"/>
          </a:xfrm>
          <a:prstGeom prst="rect">
            <a:avLst/>
          </a:prstGeom>
        </p:spPr>
      </p:pic>
    </p:spTree>
    <p:extLst>
      <p:ext uri="{BB962C8B-B14F-4D97-AF65-F5344CB8AC3E}">
        <p14:creationId xmlns:p14="http://schemas.microsoft.com/office/powerpoint/2010/main" xmlns="" val="913497192"/>
      </p:ext>
    </p:extLst>
  </p:cSld>
  <p:clrMap bg1="lt1" tx1="dk1" bg2="lt2" tx2="dk2" accent1="accent1" accent2="accent2" accent3="accent3" accent4="accent4" accent5="accent5" accent6="accent6" hlink="hlink" folHlink="folHlink"/>
  <p:sldLayoutIdLst>
    <p:sldLayoutId id="2147485001" r:id="rId1"/>
    <p:sldLayoutId id="2147485002" r:id="rId2"/>
    <p:sldLayoutId id="2147485003" r:id="rId3"/>
    <p:sldLayoutId id="2147485004" r:id="rId4"/>
    <p:sldLayoutId id="2147485005" r:id="rId5"/>
    <p:sldLayoutId id="2147485006" r:id="rId6"/>
    <p:sldLayoutId id="2147485007" r:id="rId7"/>
    <p:sldLayoutId id="2147485008" r:id="rId8"/>
    <p:sldLayoutId id="2147485009" r:id="rId9"/>
    <p:sldLayoutId id="2147485010" r:id="rId10"/>
    <p:sldLayoutId id="2147485011" r:id="rId11"/>
    <p:sldLayoutId id="2147485012" r:id="rId12"/>
    <p:sldLayoutId id="2147485013" r:id="rId13"/>
    <p:sldLayoutId id="2147485014" r:id="rId14"/>
    <p:sldLayoutId id="2147485015" r:id="rId15"/>
    <p:sldLayoutId id="2147485016" r:id="rId16"/>
    <p:sldLayoutId id="2147485017" r:id="rId17"/>
    <p:sldLayoutId id="2147485018" r:id="rId18"/>
    <p:sldLayoutId id="2147485019" r:id="rId19"/>
    <p:sldLayoutId id="2147485020" r:id="rId20"/>
    <p:sldLayoutId id="2147485021" r:id="rId21"/>
    <p:sldLayoutId id="2147485022" r:id="rId22"/>
    <p:sldLayoutId id="2147485023" r:id="rId23"/>
    <p:sldLayoutId id="2147485024" r:id="rId24"/>
    <p:sldLayoutId id="2147485026" r:id="rId25"/>
  </p:sldLayoutIdLst>
  <p:hf hdr="0"/>
  <p:txStyles>
    <p:titleStyle>
      <a:lvl1pPr algn="l" defTabSz="685800"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33"/>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pPr/>
              <a:t>2/3/2021</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ZA" dirty="0"/>
              <a:t>Go to Insert &gt; Header &amp; Footer &gt; Enter presentation name into footer field</a:t>
            </a:r>
            <a:endParaRPr lang="en-GB"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3431177145"/>
      </p:ext>
    </p:extLst>
  </p:cSld>
  <p:clrMap bg1="lt1" tx1="dk1" bg2="lt2" tx2="dk2" accent1="accent1" accent2="accent2" accent3="accent3" accent4="accent4" accent5="accent5" accent6="accent6" hlink="hlink" folHlink="folHlink"/>
  <p:sldLayoutIdLst>
    <p:sldLayoutId id="2147485028" r:id="rId1"/>
    <p:sldLayoutId id="2147485029" r:id="rId2"/>
    <p:sldLayoutId id="2147485030" r:id="rId3"/>
    <p:sldLayoutId id="2147485031" r:id="rId4"/>
    <p:sldLayoutId id="2147485032" r:id="rId5"/>
    <p:sldLayoutId id="2147485033" r:id="rId6"/>
    <p:sldLayoutId id="2147485034" r:id="rId7"/>
    <p:sldLayoutId id="2147485035" r:id="rId8"/>
    <p:sldLayoutId id="2147485036" r:id="rId9"/>
    <p:sldLayoutId id="2147485037" r:id="rId10"/>
    <p:sldLayoutId id="2147485038"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11290" name="think-cell Slide" r:id="rId30" imgW="360" imgH="36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pic>
        <p:nvPicPr>
          <p:cNvPr id="12" name="Picture 11"/>
          <p:cNvPicPr>
            <a:picLocks noChangeAspect="1"/>
          </p:cNvPicPr>
          <p:nvPr userDrawn="1"/>
        </p:nvPicPr>
        <p:blipFill>
          <a:blip r:embed="rId31" cstate="email">
            <a:extLst>
              <a:ext uri="{28A0092B-C50C-407E-A947-70E740481C1C}">
                <a14:useLocalDpi xmlns:a14="http://schemas.microsoft.com/office/drawing/2010/main" xmlns=""/>
              </a:ext>
            </a:extLst>
          </a:blip>
          <a:stretch>
            <a:fillRect/>
          </a:stretch>
        </p:blipFill>
        <p:spPr>
          <a:xfrm>
            <a:off x="251520" y="6381329"/>
            <a:ext cx="927518" cy="288032"/>
          </a:xfrm>
          <a:prstGeom prst="rect">
            <a:avLst/>
          </a:prstGeom>
        </p:spPr>
      </p:pic>
    </p:spTree>
    <p:extLst>
      <p:ext uri="{BB962C8B-B14F-4D97-AF65-F5344CB8AC3E}">
        <p14:creationId xmlns:p14="http://schemas.microsoft.com/office/powerpoint/2010/main" xmlns="" val="3489546057"/>
      </p:ext>
    </p:extLst>
  </p:cSld>
  <p:clrMap bg1="lt1" tx1="dk1" bg2="lt2" tx2="dk2" accent1="accent1" accent2="accent2" accent3="accent3" accent4="accent4" accent5="accent5" accent6="accent6" hlink="hlink" folHlink="folHlink"/>
  <p:sldLayoutIdLst>
    <p:sldLayoutId id="2147485040" r:id="rId1"/>
    <p:sldLayoutId id="2147485041" r:id="rId2"/>
    <p:sldLayoutId id="2147485042" r:id="rId3"/>
    <p:sldLayoutId id="2147485043" r:id="rId4"/>
    <p:sldLayoutId id="2147485044" r:id="rId5"/>
    <p:sldLayoutId id="2147485045" r:id="rId6"/>
    <p:sldLayoutId id="2147485046" r:id="rId7"/>
    <p:sldLayoutId id="2147485047" r:id="rId8"/>
    <p:sldLayoutId id="2147485048" r:id="rId9"/>
    <p:sldLayoutId id="2147485049" r:id="rId10"/>
    <p:sldLayoutId id="2147485050" r:id="rId11"/>
    <p:sldLayoutId id="2147485051" r:id="rId12"/>
    <p:sldLayoutId id="2147485052" r:id="rId13"/>
    <p:sldLayoutId id="2147485053" r:id="rId14"/>
    <p:sldLayoutId id="2147485054" r:id="rId15"/>
    <p:sldLayoutId id="2147485055" r:id="rId16"/>
    <p:sldLayoutId id="2147485056" r:id="rId17"/>
    <p:sldLayoutId id="2147485057" r:id="rId18"/>
    <p:sldLayoutId id="2147485058" r:id="rId19"/>
    <p:sldLayoutId id="2147485059" r:id="rId20"/>
    <p:sldLayoutId id="2147485060" r:id="rId21"/>
    <p:sldLayoutId id="2147485061" r:id="rId22"/>
    <p:sldLayoutId id="2147485062" r:id="rId23"/>
    <p:sldLayoutId id="2147485063"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12314" name="think-cell Slide" r:id="rId31" imgW="360" imgH="360" progId="">
              <p:embed/>
            </p:oleObj>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pic>
        <p:nvPicPr>
          <p:cNvPr id="12" name="Picture 11"/>
          <p:cNvPicPr>
            <a:picLocks noChangeAspect="1"/>
          </p:cNvPicPr>
          <p:nvPr userDrawn="1"/>
        </p:nvPicPr>
        <p:blipFill>
          <a:blip r:embed="rId32" cstate="print">
            <a:extLst>
              <a:ext uri="{28A0092B-C50C-407E-A947-70E740481C1C}">
                <a14:useLocalDpi xmlns:a14="http://schemas.microsoft.com/office/drawing/2010/main" xmlns="" val="0"/>
              </a:ext>
            </a:extLst>
          </a:blip>
          <a:stretch>
            <a:fillRect/>
          </a:stretch>
        </p:blipFill>
        <p:spPr>
          <a:xfrm>
            <a:off x="251520" y="6381329"/>
            <a:ext cx="927518" cy="288032"/>
          </a:xfrm>
          <a:prstGeom prst="rect">
            <a:avLst/>
          </a:prstGeom>
        </p:spPr>
      </p:pic>
    </p:spTree>
    <p:extLst>
      <p:ext uri="{BB962C8B-B14F-4D97-AF65-F5344CB8AC3E}">
        <p14:creationId xmlns:p14="http://schemas.microsoft.com/office/powerpoint/2010/main" xmlns="" val="2783725464"/>
      </p:ext>
    </p:extLst>
  </p:cSld>
  <p:clrMap bg1="lt1" tx1="dk1" bg2="lt2" tx2="dk2" accent1="accent1" accent2="accent2" accent3="accent3" accent4="accent4" accent5="accent5" accent6="accent6" hlink="hlink" folHlink="folHlink"/>
  <p:sldLayoutIdLst>
    <p:sldLayoutId id="2147485065" r:id="rId1"/>
    <p:sldLayoutId id="2147485066" r:id="rId2"/>
    <p:sldLayoutId id="2147485067" r:id="rId3"/>
    <p:sldLayoutId id="2147485068" r:id="rId4"/>
    <p:sldLayoutId id="2147485069" r:id="rId5"/>
    <p:sldLayoutId id="2147485070" r:id="rId6"/>
    <p:sldLayoutId id="2147485071" r:id="rId7"/>
    <p:sldLayoutId id="2147485072" r:id="rId8"/>
    <p:sldLayoutId id="2147485073" r:id="rId9"/>
    <p:sldLayoutId id="2147485074" r:id="rId10"/>
    <p:sldLayoutId id="2147485075" r:id="rId11"/>
    <p:sldLayoutId id="2147485076" r:id="rId12"/>
    <p:sldLayoutId id="2147485077" r:id="rId13"/>
    <p:sldLayoutId id="2147485078" r:id="rId14"/>
    <p:sldLayoutId id="2147485079" r:id="rId15"/>
    <p:sldLayoutId id="2147485080" r:id="rId16"/>
    <p:sldLayoutId id="2147485081" r:id="rId17"/>
    <p:sldLayoutId id="2147485082" r:id="rId18"/>
    <p:sldLayoutId id="2147485083" r:id="rId19"/>
    <p:sldLayoutId id="2147485084" r:id="rId20"/>
    <p:sldLayoutId id="2147485085" r:id="rId21"/>
    <p:sldLayoutId id="2147485086" r:id="rId22"/>
    <p:sldLayoutId id="2147485087" r:id="rId23"/>
    <p:sldLayoutId id="2147485088" r:id="rId24"/>
    <p:sldLayoutId id="2147485089" r:id="rId25"/>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 y="0"/>
          <a:ext cx="158750" cy="158750"/>
        </p:xfrm>
        <a:graphic>
          <a:graphicData uri="http://schemas.openxmlformats.org/presentationml/2006/ole">
            <p:oleObj spid="_x0000_s13338" name="think-cell Slide" r:id="rId33" imgW="360" imgH="360" progId="">
              <p:embed/>
            </p:oleObj>
          </a:graphicData>
        </a:graphic>
      </p:graphicFrame>
      <p:sp>
        <p:nvSpPr>
          <p:cNvPr id="2" name="Title Placeholder 1"/>
          <p:cNvSpPr>
            <a:spLocks noGrp="1"/>
          </p:cNvSpPr>
          <p:nvPr>
            <p:ph type="title"/>
            <p:custDataLst>
              <p:tags r:id="rId28"/>
            </p:custDataLst>
          </p:nvPr>
        </p:nvSpPr>
        <p:spPr>
          <a:xfrm>
            <a:off x="295277"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7"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40500" tIns="40500" rIns="0" bIns="0" rtlCol="0" anchor="b"/>
          <a:lstStyle/>
          <a:p>
            <a:pPr lvl="0"/>
            <a:r>
              <a:rPr lang="en-US" sz="450" dirty="0">
                <a:solidFill>
                  <a:schemeClr val="accent3"/>
                </a:solidFill>
              </a:rPr>
              <a:t>© Western Cape Government 2012  |</a:t>
            </a:r>
            <a:endParaRPr lang="en-GB" sz="450" dirty="0">
              <a:solidFill>
                <a:schemeClr val="accent3"/>
              </a:solidFill>
            </a:endParaRPr>
          </a:p>
        </p:txBody>
      </p:sp>
      <p:sp>
        <p:nvSpPr>
          <p:cNvPr id="11" name="Right Triangle 10"/>
          <p:cNvSpPr/>
          <p:nvPr userDrawn="1"/>
        </p:nvSpPr>
        <p:spPr>
          <a:xfrm flipH="1">
            <a:off x="539553" y="898357"/>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75" dirty="0"/>
          </a:p>
        </p:txBody>
      </p:sp>
      <p:pic>
        <p:nvPicPr>
          <p:cNvPr id="12" name="Picture 11"/>
          <p:cNvPicPr>
            <a:picLocks noChangeAspect="1"/>
          </p:cNvPicPr>
          <p:nvPr userDrawn="1"/>
        </p:nvPicPr>
        <p:blipFill>
          <a:blip r:embed="rId34" cstate="print">
            <a:extLst>
              <a:ext uri="{28A0092B-C50C-407E-A947-70E740481C1C}">
                <a14:useLocalDpi xmlns:a14="http://schemas.microsoft.com/office/drawing/2010/main" xmlns="" val="0"/>
              </a:ext>
            </a:extLst>
          </a:blip>
          <a:stretch>
            <a:fillRect/>
          </a:stretch>
        </p:blipFill>
        <p:spPr>
          <a:xfrm>
            <a:off x="251521" y="6381330"/>
            <a:ext cx="927518" cy="288032"/>
          </a:xfrm>
          <a:prstGeom prst="rect">
            <a:avLst/>
          </a:prstGeom>
        </p:spPr>
      </p:pic>
    </p:spTree>
    <p:extLst>
      <p:ext uri="{BB962C8B-B14F-4D97-AF65-F5344CB8AC3E}">
        <p14:creationId xmlns:p14="http://schemas.microsoft.com/office/powerpoint/2010/main" xmlns="" val="2361223742"/>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 id="2147485108" r:id="rId13"/>
    <p:sldLayoutId id="2147485109" r:id="rId14"/>
    <p:sldLayoutId id="2147485110" r:id="rId15"/>
    <p:sldLayoutId id="2147485111" r:id="rId16"/>
    <p:sldLayoutId id="2147485112" r:id="rId17"/>
    <p:sldLayoutId id="2147485113" r:id="rId18"/>
    <p:sldLayoutId id="2147485114" r:id="rId19"/>
    <p:sldLayoutId id="2147485115" r:id="rId20"/>
    <p:sldLayoutId id="2147485116" r:id="rId21"/>
    <p:sldLayoutId id="2147485117" r:id="rId22"/>
    <p:sldLayoutId id="2147485118" r:id="rId23"/>
    <p:sldLayoutId id="2147485119" r:id="rId24"/>
    <p:sldLayoutId id="2147485121" r:id="rId25"/>
  </p:sldLayoutIdLst>
  <p:hf hdr="0"/>
  <p:txStyles>
    <p:titleStyle>
      <a:lvl1pPr algn="l" defTabSz="514361" rtl="0" eaLnBrk="1" latinLnBrk="0" hangingPunct="1">
        <a:spcBef>
          <a:spcPct val="0"/>
        </a:spcBef>
        <a:buNone/>
        <a:defRPr sz="1350" b="1" kern="1200">
          <a:solidFill>
            <a:schemeClr val="tx2"/>
          </a:solidFill>
          <a:latin typeface="Century Gothic" pitchFamily="34" charset="0"/>
          <a:ea typeface="+mj-ea"/>
          <a:cs typeface="+mj-cs"/>
        </a:defRPr>
      </a:lvl1pPr>
    </p:titleStyle>
    <p:bodyStyle>
      <a:lvl1pPr marL="0" indent="0" algn="l" defTabSz="514361" rtl="0" eaLnBrk="1" latinLnBrk="0" hangingPunct="1">
        <a:spcBef>
          <a:spcPts val="169"/>
        </a:spcBef>
        <a:buFont typeface="Arial" pitchFamily="34" charset="0"/>
        <a:buNone/>
        <a:defRPr sz="900" b="1" kern="1200">
          <a:solidFill>
            <a:schemeClr val="tx1"/>
          </a:solidFill>
          <a:latin typeface="Century Gothic" pitchFamily="34" charset="0"/>
          <a:ea typeface="+mn-ea"/>
          <a:cs typeface="+mn-cs"/>
        </a:defRPr>
      </a:lvl1pPr>
      <a:lvl2pPr marL="101252" indent="-101252" algn="l" defTabSz="514361" rtl="0" eaLnBrk="1" latinLnBrk="0" hangingPunct="1">
        <a:spcBef>
          <a:spcPts val="169"/>
        </a:spcBef>
        <a:buClr>
          <a:srgbClr val="002060"/>
        </a:buClr>
        <a:buFontTx/>
        <a:buBlip>
          <a:blip r:embed="rId35"/>
        </a:buBlip>
        <a:defRPr sz="900" kern="1200">
          <a:solidFill>
            <a:schemeClr val="tx1"/>
          </a:solidFill>
          <a:latin typeface="Century Gothic" pitchFamily="34" charset="0"/>
          <a:ea typeface="+mn-ea"/>
          <a:cs typeface="+mn-cs"/>
        </a:defRPr>
      </a:lvl2pPr>
      <a:lvl3pPr marL="202504" indent="-101252" algn="l" defTabSz="514361" rtl="0" eaLnBrk="1" latinLnBrk="0" hangingPunct="1">
        <a:spcBef>
          <a:spcPts val="169"/>
        </a:spcBef>
        <a:buClr>
          <a:schemeClr val="accent3"/>
        </a:buClr>
        <a:buFont typeface="Arial" pitchFamily="34" charset="0"/>
        <a:buChar char="•"/>
        <a:defRPr lang="en-US" sz="900" kern="1200" dirty="0" smtClean="0">
          <a:solidFill>
            <a:schemeClr val="tx1"/>
          </a:solidFill>
          <a:latin typeface="Century Gothic" pitchFamily="34" charset="0"/>
          <a:ea typeface="+mn-ea"/>
          <a:cs typeface="+mn-cs"/>
        </a:defRPr>
      </a:lvl3pPr>
      <a:lvl4pPr marL="303756" indent="-101252" algn="l" defTabSz="514361" rtl="0" eaLnBrk="1" latinLnBrk="0" hangingPunct="1">
        <a:spcBef>
          <a:spcPts val="169"/>
        </a:spcBef>
        <a:buClr>
          <a:schemeClr val="accent3"/>
        </a:buClr>
        <a:buFont typeface="Arial" pitchFamily="34" charset="0"/>
        <a:buChar char="–"/>
        <a:defRPr sz="900" kern="1200">
          <a:solidFill>
            <a:schemeClr val="tx1"/>
          </a:solidFill>
          <a:latin typeface="Century Gothic" pitchFamily="34" charset="0"/>
          <a:ea typeface="+mn-ea"/>
          <a:cs typeface="+mn-cs"/>
        </a:defRPr>
      </a:lvl4pPr>
      <a:lvl5pPr marL="1012520" indent="-1012520" algn="l" defTabSz="514361" rtl="0" eaLnBrk="1" latinLnBrk="0" hangingPunct="1">
        <a:spcBef>
          <a:spcPts val="169"/>
        </a:spcBef>
        <a:buFont typeface="Arial" pitchFamily="34" charset="0"/>
        <a:buNone/>
        <a:defRPr sz="900" kern="1200">
          <a:solidFill>
            <a:schemeClr val="tx2"/>
          </a:solidFill>
          <a:latin typeface="+mn-lt"/>
          <a:ea typeface="+mn-ea"/>
          <a:cs typeface="+mn-cs"/>
        </a:defRPr>
      </a:lvl5pPr>
      <a:lvl6pPr marL="1414491" indent="-128591" algn="l" defTabSz="514361"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71" indent="-128591" algn="l" defTabSz="514361"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52" indent="-128591" algn="l" defTabSz="514361"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6032" indent="-128591" algn="l" defTabSz="514361"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61" rtl="0" eaLnBrk="1" latinLnBrk="0" hangingPunct="1">
        <a:defRPr sz="1013" kern="1200">
          <a:solidFill>
            <a:schemeClr val="tx1"/>
          </a:solidFill>
          <a:latin typeface="+mn-lt"/>
          <a:ea typeface="+mn-ea"/>
          <a:cs typeface="+mn-cs"/>
        </a:defRPr>
      </a:lvl1pPr>
      <a:lvl2pPr marL="257180" algn="l" defTabSz="514361" rtl="0" eaLnBrk="1" latinLnBrk="0" hangingPunct="1">
        <a:defRPr sz="1013" kern="1200">
          <a:solidFill>
            <a:schemeClr val="tx1"/>
          </a:solidFill>
          <a:latin typeface="+mn-lt"/>
          <a:ea typeface="+mn-ea"/>
          <a:cs typeface="+mn-cs"/>
        </a:defRPr>
      </a:lvl2pPr>
      <a:lvl3pPr marL="514361" algn="l" defTabSz="514361" rtl="0" eaLnBrk="1" latinLnBrk="0" hangingPunct="1">
        <a:defRPr sz="1013" kern="1200">
          <a:solidFill>
            <a:schemeClr val="tx1"/>
          </a:solidFill>
          <a:latin typeface="+mn-lt"/>
          <a:ea typeface="+mn-ea"/>
          <a:cs typeface="+mn-cs"/>
        </a:defRPr>
      </a:lvl3pPr>
      <a:lvl4pPr marL="771540" algn="l" defTabSz="514361" rtl="0" eaLnBrk="1" latinLnBrk="0" hangingPunct="1">
        <a:defRPr sz="1013" kern="1200">
          <a:solidFill>
            <a:schemeClr val="tx1"/>
          </a:solidFill>
          <a:latin typeface="+mn-lt"/>
          <a:ea typeface="+mn-ea"/>
          <a:cs typeface="+mn-cs"/>
        </a:defRPr>
      </a:lvl4pPr>
      <a:lvl5pPr marL="1028721" algn="l" defTabSz="514361" rtl="0" eaLnBrk="1" latinLnBrk="0" hangingPunct="1">
        <a:defRPr sz="1013" kern="1200">
          <a:solidFill>
            <a:schemeClr val="tx1"/>
          </a:solidFill>
          <a:latin typeface="+mn-lt"/>
          <a:ea typeface="+mn-ea"/>
          <a:cs typeface="+mn-cs"/>
        </a:defRPr>
      </a:lvl5pPr>
      <a:lvl6pPr marL="1285901" algn="l" defTabSz="514361" rtl="0" eaLnBrk="1" latinLnBrk="0" hangingPunct="1">
        <a:defRPr sz="1013" kern="1200">
          <a:solidFill>
            <a:schemeClr val="tx1"/>
          </a:solidFill>
          <a:latin typeface="+mn-lt"/>
          <a:ea typeface="+mn-ea"/>
          <a:cs typeface="+mn-cs"/>
        </a:defRPr>
      </a:lvl6pPr>
      <a:lvl7pPr marL="1543081" algn="l" defTabSz="514361" rtl="0" eaLnBrk="1" latinLnBrk="0" hangingPunct="1">
        <a:defRPr sz="1013" kern="1200">
          <a:solidFill>
            <a:schemeClr val="tx1"/>
          </a:solidFill>
          <a:latin typeface="+mn-lt"/>
          <a:ea typeface="+mn-ea"/>
          <a:cs typeface="+mn-cs"/>
        </a:defRPr>
      </a:lvl7pPr>
      <a:lvl8pPr marL="1800261" algn="l" defTabSz="514361" rtl="0" eaLnBrk="1" latinLnBrk="0" hangingPunct="1">
        <a:defRPr sz="1013" kern="1200">
          <a:solidFill>
            <a:schemeClr val="tx1"/>
          </a:solidFill>
          <a:latin typeface="+mn-lt"/>
          <a:ea typeface="+mn-ea"/>
          <a:cs typeface="+mn-cs"/>
        </a:defRPr>
      </a:lvl8pPr>
      <a:lvl9pPr marL="2057441" algn="l" defTabSz="514361" rtl="0" eaLnBrk="1" latinLnBrk="0" hangingPunct="1">
        <a:defRPr sz="1013"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 y="0"/>
          <a:ext cx="158750" cy="158750"/>
        </p:xfrm>
        <a:graphic>
          <a:graphicData uri="http://schemas.openxmlformats.org/presentationml/2006/ole">
            <p:oleObj spid="_x0000_s14362" name="think-cell Slide" r:id="rId32" imgW="360" imgH="360" progId="">
              <p:embed/>
            </p:oleObj>
          </a:graphicData>
        </a:graphic>
      </p:graphicFrame>
      <p:sp>
        <p:nvSpPr>
          <p:cNvPr id="2" name="Title Placeholder 1"/>
          <p:cNvSpPr>
            <a:spLocks noGrp="1"/>
          </p:cNvSpPr>
          <p:nvPr>
            <p:ph type="title"/>
            <p:custDataLst>
              <p:tags r:id="rId27"/>
            </p:custDataLst>
          </p:nvPr>
        </p:nvSpPr>
        <p:spPr>
          <a:xfrm>
            <a:off x="295277"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7"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7" name="Rectangle 6"/>
          <p:cNvSpPr>
            <a:spLocks/>
          </p:cNvSpPr>
          <p:nvPr>
            <p:custDataLst>
              <p:tags r:id="rId31"/>
            </p:custDataLst>
          </p:nvPr>
        </p:nvSpPr>
        <p:spPr>
          <a:xfrm>
            <a:off x="2060973" y="6468150"/>
            <a:ext cx="1944216" cy="230832"/>
          </a:xfrm>
          <a:prstGeom prst="rect">
            <a:avLst/>
          </a:prstGeom>
        </p:spPr>
        <p:txBody>
          <a:bodyPr vert="horz" lIns="40500" tIns="40500" rIns="0" bIns="0" rtlCol="0" anchor="b"/>
          <a:lstStyle/>
          <a:p>
            <a:pPr lvl="0"/>
            <a:r>
              <a:rPr lang="en-US" sz="450" dirty="0">
                <a:solidFill>
                  <a:schemeClr val="accent3"/>
                </a:solidFill>
              </a:rPr>
              <a:t>© Western Cape Government 2012  |</a:t>
            </a:r>
            <a:endParaRPr lang="en-GB" sz="450" dirty="0">
              <a:solidFill>
                <a:schemeClr val="accent3"/>
              </a:solidFill>
            </a:endParaRPr>
          </a:p>
        </p:txBody>
      </p:sp>
      <p:sp>
        <p:nvSpPr>
          <p:cNvPr id="11" name="Right Triangle 10"/>
          <p:cNvSpPr/>
          <p:nvPr userDrawn="1"/>
        </p:nvSpPr>
        <p:spPr>
          <a:xfrm flipH="1">
            <a:off x="539553" y="898357"/>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75" dirty="0"/>
          </a:p>
        </p:txBody>
      </p:sp>
      <p:pic>
        <p:nvPicPr>
          <p:cNvPr id="12" name="Picture 11"/>
          <p:cNvPicPr>
            <a:picLocks noChangeAspect="1"/>
          </p:cNvPicPr>
          <p:nvPr userDrawn="1"/>
        </p:nvPicPr>
        <p:blipFill>
          <a:blip r:embed="rId33" cstate="email">
            <a:extLst>
              <a:ext uri="{28A0092B-C50C-407E-A947-70E740481C1C}">
                <a14:useLocalDpi xmlns:a14="http://schemas.microsoft.com/office/drawing/2010/main" xmlns=""/>
              </a:ext>
            </a:extLst>
          </a:blip>
          <a:stretch>
            <a:fillRect/>
          </a:stretch>
        </p:blipFill>
        <p:spPr>
          <a:xfrm>
            <a:off x="251521" y="6381329"/>
            <a:ext cx="927518" cy="288032"/>
          </a:xfrm>
          <a:prstGeom prst="rect">
            <a:avLst/>
          </a:prstGeom>
        </p:spPr>
      </p:pic>
    </p:spTree>
    <p:extLst>
      <p:ext uri="{BB962C8B-B14F-4D97-AF65-F5344CB8AC3E}">
        <p14:creationId xmlns:p14="http://schemas.microsoft.com/office/powerpoint/2010/main" xmlns="" val="3321454663"/>
      </p:ext>
    </p:extLst>
  </p:cSld>
  <p:clrMap bg1="lt1" tx1="dk1" bg2="lt2" tx2="dk2" accent1="accent1" accent2="accent2" accent3="accent3" accent4="accent4" accent5="accent5" accent6="accent6" hlink="hlink" folHlink="folHlink"/>
  <p:sldLayoutIdLst>
    <p:sldLayoutId id="2147485123" r:id="rId1"/>
    <p:sldLayoutId id="2147485124" r:id="rId2"/>
    <p:sldLayoutId id="2147485125" r:id="rId3"/>
    <p:sldLayoutId id="2147485126" r:id="rId4"/>
    <p:sldLayoutId id="2147485127" r:id="rId5"/>
    <p:sldLayoutId id="2147485128" r:id="rId6"/>
    <p:sldLayoutId id="2147485129" r:id="rId7"/>
    <p:sldLayoutId id="2147485130" r:id="rId8"/>
    <p:sldLayoutId id="2147485131" r:id="rId9"/>
    <p:sldLayoutId id="2147485132" r:id="rId10"/>
    <p:sldLayoutId id="2147485133" r:id="rId11"/>
    <p:sldLayoutId id="2147485134" r:id="rId12"/>
    <p:sldLayoutId id="2147485135" r:id="rId13"/>
    <p:sldLayoutId id="2147485136" r:id="rId14"/>
    <p:sldLayoutId id="2147485137" r:id="rId15"/>
    <p:sldLayoutId id="2147485138" r:id="rId16"/>
    <p:sldLayoutId id="2147485139" r:id="rId17"/>
    <p:sldLayoutId id="2147485140" r:id="rId18"/>
    <p:sldLayoutId id="2147485141" r:id="rId19"/>
    <p:sldLayoutId id="2147485142" r:id="rId20"/>
    <p:sldLayoutId id="2147485143" r:id="rId21"/>
    <p:sldLayoutId id="2147485144" r:id="rId22"/>
    <p:sldLayoutId id="2147485145" r:id="rId23"/>
    <p:sldLayoutId id="2147485146" r:id="rId24"/>
  </p:sldLayoutIdLst>
  <p:hf hdr="0"/>
  <p:txStyles>
    <p:titleStyle>
      <a:lvl1pPr algn="l" defTabSz="514350" rtl="0" eaLnBrk="1" latinLnBrk="0" hangingPunct="1">
        <a:spcBef>
          <a:spcPct val="0"/>
        </a:spcBef>
        <a:buNone/>
        <a:defRPr sz="1350" b="1" kern="1200">
          <a:solidFill>
            <a:schemeClr val="tx2"/>
          </a:solidFill>
          <a:latin typeface="Century Gothic" pitchFamily="34" charset="0"/>
          <a:ea typeface="+mj-ea"/>
          <a:cs typeface="+mj-cs"/>
        </a:defRPr>
      </a:lvl1pPr>
    </p:titleStyle>
    <p:bodyStyle>
      <a:lvl1pPr marL="0" indent="0" algn="l" defTabSz="514350" rtl="0" eaLnBrk="1" latinLnBrk="0" hangingPunct="1">
        <a:spcBef>
          <a:spcPts val="169"/>
        </a:spcBef>
        <a:buFont typeface="Arial" pitchFamily="34" charset="0"/>
        <a:buNone/>
        <a:defRPr sz="900" b="1" kern="1200">
          <a:solidFill>
            <a:schemeClr val="tx1"/>
          </a:solidFill>
          <a:latin typeface="Century Gothic" pitchFamily="34" charset="0"/>
          <a:ea typeface="+mn-ea"/>
          <a:cs typeface="+mn-cs"/>
        </a:defRPr>
      </a:lvl1pPr>
      <a:lvl2pPr marL="101250" indent="-101250" algn="l" defTabSz="514350" rtl="0" eaLnBrk="1" latinLnBrk="0" hangingPunct="1">
        <a:spcBef>
          <a:spcPts val="169"/>
        </a:spcBef>
        <a:buClr>
          <a:srgbClr val="002060"/>
        </a:buClr>
        <a:buFontTx/>
        <a:buBlip>
          <a:blip r:embed="rId34"/>
        </a:buBlip>
        <a:defRPr sz="900" kern="1200">
          <a:solidFill>
            <a:schemeClr val="tx1"/>
          </a:solidFill>
          <a:latin typeface="Century Gothic" pitchFamily="34" charset="0"/>
          <a:ea typeface="+mn-ea"/>
          <a:cs typeface="+mn-cs"/>
        </a:defRPr>
      </a:lvl2pPr>
      <a:lvl3pPr marL="202500" indent="-101250" algn="l" defTabSz="514350" rtl="0" eaLnBrk="1" latinLnBrk="0" hangingPunct="1">
        <a:spcBef>
          <a:spcPts val="169"/>
        </a:spcBef>
        <a:buClr>
          <a:schemeClr val="accent3"/>
        </a:buClr>
        <a:buFont typeface="Arial" pitchFamily="34" charset="0"/>
        <a:buChar char="•"/>
        <a:defRPr lang="en-US" sz="900" kern="1200" dirty="0" smtClean="0">
          <a:solidFill>
            <a:schemeClr val="tx1"/>
          </a:solidFill>
          <a:latin typeface="Century Gothic" pitchFamily="34" charset="0"/>
          <a:ea typeface="+mn-ea"/>
          <a:cs typeface="+mn-cs"/>
        </a:defRPr>
      </a:lvl3pPr>
      <a:lvl4pPr marL="303750" indent="-101250" algn="l" defTabSz="514350" rtl="0" eaLnBrk="1" latinLnBrk="0" hangingPunct="1">
        <a:spcBef>
          <a:spcPts val="169"/>
        </a:spcBef>
        <a:buClr>
          <a:schemeClr val="accent3"/>
        </a:buClr>
        <a:buFont typeface="Arial" pitchFamily="34" charset="0"/>
        <a:buChar char="–"/>
        <a:defRPr sz="900" kern="1200">
          <a:solidFill>
            <a:schemeClr val="tx1"/>
          </a:solidFill>
          <a:latin typeface="Century Gothic" pitchFamily="34" charset="0"/>
          <a:ea typeface="+mn-ea"/>
          <a:cs typeface="+mn-cs"/>
        </a:defRPr>
      </a:lvl4pPr>
      <a:lvl5pPr marL="1012500" indent="-1012500" algn="l" defTabSz="514350" rtl="0" eaLnBrk="1" latinLnBrk="0" hangingPunct="1">
        <a:spcBef>
          <a:spcPts val="169"/>
        </a:spcBef>
        <a:buFont typeface="Arial" pitchFamily="34" charset="0"/>
        <a:buNone/>
        <a:defRPr sz="900" kern="1200">
          <a:solidFill>
            <a:schemeClr val="tx2"/>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15386" name="think-cell Slide" r:id="rId34" imgW="360" imgH="360" progId="">
              <p:embed/>
            </p:oleObj>
          </a:graphicData>
        </a:graphic>
      </p:graphicFrame>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pic>
        <p:nvPicPr>
          <p:cNvPr id="12" name="Picture 11"/>
          <p:cNvPicPr>
            <a:picLocks noChangeAspect="1"/>
          </p:cNvPicPr>
          <p:nvPr userDrawn="1"/>
        </p:nvPicPr>
        <p:blipFill>
          <a:blip r:embed="rId35" cstate="email">
            <a:extLst>
              <a:ext uri="{28A0092B-C50C-407E-A947-70E740481C1C}">
                <a14:useLocalDpi xmlns:a14="http://schemas.microsoft.com/office/drawing/2010/main" xmlns=""/>
              </a:ext>
            </a:extLst>
          </a:blip>
          <a:stretch>
            <a:fillRect/>
          </a:stretch>
        </p:blipFill>
        <p:spPr>
          <a:xfrm>
            <a:off x="251520" y="6381329"/>
            <a:ext cx="927518" cy="288032"/>
          </a:xfrm>
          <a:prstGeom prst="rect">
            <a:avLst/>
          </a:prstGeom>
        </p:spPr>
      </p:pic>
    </p:spTree>
    <p:extLst>
      <p:ext uri="{BB962C8B-B14F-4D97-AF65-F5344CB8AC3E}">
        <p14:creationId xmlns:p14="http://schemas.microsoft.com/office/powerpoint/2010/main" xmlns="" val="3872737741"/>
      </p:ext>
    </p:extLst>
  </p:cSld>
  <p:clrMap bg1="lt1" tx1="dk1" bg2="lt2" tx2="dk2" accent1="accent1" accent2="accent2" accent3="accent3" accent4="accent4" accent5="accent5" accent6="accent6" hlink="hlink" folHlink="folHlink"/>
  <p:sldLayoutIdLst>
    <p:sldLayoutId id="2147485160" r:id="rId1"/>
    <p:sldLayoutId id="2147485161" r:id="rId2"/>
    <p:sldLayoutId id="2147485162" r:id="rId3"/>
    <p:sldLayoutId id="2147485163" r:id="rId4"/>
    <p:sldLayoutId id="2147485164" r:id="rId5"/>
    <p:sldLayoutId id="2147485165" r:id="rId6"/>
    <p:sldLayoutId id="2147485166" r:id="rId7"/>
    <p:sldLayoutId id="2147485167" r:id="rId8"/>
    <p:sldLayoutId id="2147485168" r:id="rId9"/>
    <p:sldLayoutId id="2147485169" r:id="rId10"/>
    <p:sldLayoutId id="2147485170" r:id="rId11"/>
    <p:sldLayoutId id="2147485171" r:id="rId12"/>
    <p:sldLayoutId id="2147485172" r:id="rId13"/>
    <p:sldLayoutId id="2147485173" r:id="rId14"/>
    <p:sldLayoutId id="2147485174" r:id="rId15"/>
    <p:sldLayoutId id="2147485175" r:id="rId16"/>
    <p:sldLayoutId id="2147485176" r:id="rId17"/>
    <p:sldLayoutId id="2147485177" r:id="rId18"/>
    <p:sldLayoutId id="2147485178" r:id="rId19"/>
    <p:sldLayoutId id="2147485179" r:id="rId20"/>
    <p:sldLayoutId id="2147485180" r:id="rId21"/>
    <p:sldLayoutId id="2147485181" r:id="rId22"/>
    <p:sldLayoutId id="2147485182" r:id="rId23"/>
    <p:sldLayoutId id="2147485183" r:id="rId24"/>
    <p:sldLayoutId id="2147485184" r:id="rId25"/>
    <p:sldLayoutId id="2147485185" r:id="rId26"/>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627ED9C8-F09A-4D9E-BEC0-4725162E21FF}" type="datetimeFigureOut">
              <a:rPr lang="en-US" smtClean="0"/>
              <a:pPr/>
              <a:t>2/3/2021</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8C7D807A-D3EC-4DEA-86E2-120E4093F1A6}" type="slidenum">
              <a:rPr lang="en-US" smtClean="0"/>
              <a:pPr/>
              <a:t>‹#›</a:t>
            </a:fld>
            <a:endParaRPr lang="en-US"/>
          </a:p>
        </p:txBody>
      </p:sp>
    </p:spTree>
    <p:extLst>
      <p:ext uri="{BB962C8B-B14F-4D97-AF65-F5344CB8AC3E}">
        <p14:creationId xmlns:p14="http://schemas.microsoft.com/office/powerpoint/2010/main" xmlns="" val="2822941453"/>
      </p:ext>
    </p:extLst>
  </p:cSld>
  <p:clrMap bg1="lt1" tx1="dk1" bg2="lt2" tx2="dk2" accent1="accent1" accent2="accent2" accent3="accent3" accent4="accent4" accent5="accent5" accent6="accent6" hlink="hlink" folHlink="folHlink"/>
  <p:sldLayoutIdLst>
    <p:sldLayoutId id="2147485187" r:id="rId1"/>
    <p:sldLayoutId id="2147485188" r:id="rId2"/>
    <p:sldLayoutId id="2147485189" r:id="rId3"/>
    <p:sldLayoutId id="2147485190" r:id="rId4"/>
    <p:sldLayoutId id="2147485191" r:id="rId5"/>
    <p:sldLayoutId id="2147485192" r:id="rId6"/>
    <p:sldLayoutId id="2147485193" r:id="rId7"/>
    <p:sldLayoutId id="2147485194" r:id="rId8"/>
    <p:sldLayoutId id="2147485195" r:id="rId9"/>
    <p:sldLayoutId id="2147485196" r:id="rId10"/>
    <p:sldLayoutId id="2147485197"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 y="0"/>
          <a:ext cx="158750" cy="158750"/>
        </p:xfrm>
        <a:graphic>
          <a:graphicData uri="http://schemas.openxmlformats.org/presentationml/2006/ole">
            <p:oleObj spid="_x0000_s16410" name="think-cell Slide" r:id="rId32" imgW="360" imgH="360" progId="">
              <p:embed/>
            </p:oleObj>
          </a:graphicData>
        </a:graphic>
      </p:graphicFrame>
      <p:sp>
        <p:nvSpPr>
          <p:cNvPr id="2" name="Title Placeholder 1"/>
          <p:cNvSpPr>
            <a:spLocks noGrp="1"/>
          </p:cNvSpPr>
          <p:nvPr>
            <p:ph type="title"/>
            <p:custDataLst>
              <p:tags r:id="rId27"/>
            </p:custDataLst>
          </p:nvPr>
        </p:nvSpPr>
        <p:spPr>
          <a:xfrm>
            <a:off x="295276"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7" name="Rectangle 6"/>
          <p:cNvSpPr>
            <a:spLocks/>
          </p:cNvSpPr>
          <p:nvPr>
            <p:custDataLst>
              <p:tags r:id="rId31"/>
            </p:custDataLst>
          </p:nvPr>
        </p:nvSpPr>
        <p:spPr>
          <a:xfrm>
            <a:off x="2060973" y="6468150"/>
            <a:ext cx="1944216" cy="230832"/>
          </a:xfrm>
          <a:prstGeom prst="rect">
            <a:avLst/>
          </a:prstGeom>
        </p:spPr>
        <p:txBody>
          <a:bodyPr vert="horz" lIns="54000" tIns="54000" rIns="0" bIns="0" rtlCol="0" anchor="b"/>
          <a:lstStyle/>
          <a:p>
            <a:pPr lvl="0"/>
            <a:r>
              <a:rPr lang="en-US" sz="600" dirty="0">
                <a:solidFill>
                  <a:schemeClr val="accent3"/>
                </a:solidFill>
              </a:rPr>
              <a:t>© Western Cape Government 2012  |</a:t>
            </a:r>
            <a:endParaRPr lang="en-GB" sz="600" dirty="0">
              <a:solidFill>
                <a:schemeClr val="accent3"/>
              </a:solidFill>
            </a:endParaRPr>
          </a:p>
        </p:txBody>
      </p:sp>
      <p:sp>
        <p:nvSpPr>
          <p:cNvPr id="11" name="Right Triangle 10"/>
          <p:cNvSpPr/>
          <p:nvPr userDrawn="1"/>
        </p:nvSpPr>
        <p:spPr>
          <a:xfrm flipH="1">
            <a:off x="539553" y="898355"/>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pic>
        <p:nvPicPr>
          <p:cNvPr id="12" name="Picture 11"/>
          <p:cNvPicPr>
            <a:picLocks noChangeAspect="1"/>
          </p:cNvPicPr>
          <p:nvPr userDrawn="1"/>
        </p:nvPicPr>
        <p:blipFill>
          <a:blip r:embed="rId33" cstate="print">
            <a:extLst>
              <a:ext uri="{28A0092B-C50C-407E-A947-70E740481C1C}">
                <a14:useLocalDpi xmlns:a14="http://schemas.microsoft.com/office/drawing/2010/main" xmlns="" val="0"/>
              </a:ext>
            </a:extLst>
          </a:blip>
          <a:stretch>
            <a:fillRect/>
          </a:stretch>
        </p:blipFill>
        <p:spPr>
          <a:xfrm>
            <a:off x="251521" y="6381330"/>
            <a:ext cx="927518" cy="288032"/>
          </a:xfrm>
          <a:prstGeom prst="rect">
            <a:avLst/>
          </a:prstGeom>
        </p:spPr>
      </p:pic>
    </p:spTree>
    <p:extLst>
      <p:ext uri="{BB962C8B-B14F-4D97-AF65-F5344CB8AC3E}">
        <p14:creationId xmlns:p14="http://schemas.microsoft.com/office/powerpoint/2010/main" xmlns="" val="1236648154"/>
      </p:ext>
    </p:extLst>
  </p:cSld>
  <p:clrMap bg1="lt1" tx1="dk1" bg2="lt2" tx2="dk2" accent1="accent1" accent2="accent2" accent3="accent3" accent4="accent4" accent5="accent5" accent6="accent6" hlink="hlink" folHlink="folHlink"/>
  <p:sldLayoutIdLst>
    <p:sldLayoutId id="2147485199" r:id="rId1"/>
    <p:sldLayoutId id="2147485200" r:id="rId2"/>
    <p:sldLayoutId id="2147485201" r:id="rId3"/>
    <p:sldLayoutId id="2147485202" r:id="rId4"/>
    <p:sldLayoutId id="2147485203" r:id="rId5"/>
    <p:sldLayoutId id="2147485204" r:id="rId6"/>
    <p:sldLayoutId id="2147485205" r:id="rId7"/>
    <p:sldLayoutId id="2147485206" r:id="rId8"/>
    <p:sldLayoutId id="2147485207" r:id="rId9"/>
    <p:sldLayoutId id="2147485208" r:id="rId10"/>
    <p:sldLayoutId id="2147485209" r:id="rId11"/>
    <p:sldLayoutId id="2147485210" r:id="rId12"/>
    <p:sldLayoutId id="2147485211" r:id="rId13"/>
    <p:sldLayoutId id="2147485212" r:id="rId14"/>
    <p:sldLayoutId id="2147485213" r:id="rId15"/>
    <p:sldLayoutId id="2147485214" r:id="rId16"/>
    <p:sldLayoutId id="2147485215" r:id="rId17"/>
    <p:sldLayoutId id="2147485216" r:id="rId18"/>
    <p:sldLayoutId id="2147485217" r:id="rId19"/>
    <p:sldLayoutId id="2147485218" r:id="rId20"/>
    <p:sldLayoutId id="2147485219" r:id="rId21"/>
    <p:sldLayoutId id="2147485220" r:id="rId22"/>
    <p:sldLayoutId id="2147485221" r:id="rId23"/>
    <p:sldLayoutId id="2147485222" r:id="rId24"/>
  </p:sldLayoutIdLst>
  <p:hf hdr="0"/>
  <p:txStyles>
    <p:titleStyle>
      <a:lvl1pPr algn="l" defTabSz="685814"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14"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3" indent="-135003" algn="l" defTabSz="685814" rtl="0" eaLnBrk="1" latinLnBrk="0" hangingPunct="1">
        <a:spcBef>
          <a:spcPts val="225"/>
        </a:spcBef>
        <a:buClr>
          <a:srgbClr val="002060"/>
        </a:buClr>
        <a:buFontTx/>
        <a:buBlip>
          <a:blip r:embed="rId34"/>
        </a:buBlip>
        <a:defRPr sz="1200" kern="1200">
          <a:solidFill>
            <a:schemeClr val="tx1"/>
          </a:solidFill>
          <a:latin typeface="Century Gothic" pitchFamily="34" charset="0"/>
          <a:ea typeface="+mn-ea"/>
          <a:cs typeface="+mn-cs"/>
        </a:defRPr>
      </a:lvl2pPr>
      <a:lvl3pPr marL="270005" indent="-135003" algn="l" defTabSz="685814"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8" indent="-135003" algn="l" defTabSz="685814"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27" indent="-1350027" algn="l" defTabSz="685814" rtl="0" eaLnBrk="1" latinLnBrk="0" hangingPunct="1">
        <a:spcBef>
          <a:spcPts val="225"/>
        </a:spcBef>
        <a:buFont typeface="Arial" pitchFamily="34" charset="0"/>
        <a:buNone/>
        <a:defRPr sz="1200" kern="1200">
          <a:solidFill>
            <a:schemeClr val="tx2"/>
          </a:solidFill>
          <a:latin typeface="+mn-lt"/>
          <a:ea typeface="+mn-ea"/>
          <a:cs typeface="+mn-cs"/>
        </a:defRPr>
      </a:lvl5pPr>
      <a:lvl6pPr marL="1885988" indent="-171454" algn="l" defTabSz="68581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94" indent="-171454" algn="l" defTabSz="68581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02" indent="-171454" algn="l" defTabSz="68581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709" indent="-171454" algn="l" defTabSz="68581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14" rtl="0" eaLnBrk="1" latinLnBrk="0" hangingPunct="1">
        <a:defRPr sz="1350" kern="1200">
          <a:solidFill>
            <a:schemeClr val="tx1"/>
          </a:solidFill>
          <a:latin typeface="+mn-lt"/>
          <a:ea typeface="+mn-ea"/>
          <a:cs typeface="+mn-cs"/>
        </a:defRPr>
      </a:lvl1pPr>
      <a:lvl2pPr marL="342907" algn="l" defTabSz="685814" rtl="0" eaLnBrk="1" latinLnBrk="0" hangingPunct="1">
        <a:defRPr sz="1350" kern="1200">
          <a:solidFill>
            <a:schemeClr val="tx1"/>
          </a:solidFill>
          <a:latin typeface="+mn-lt"/>
          <a:ea typeface="+mn-ea"/>
          <a:cs typeface="+mn-cs"/>
        </a:defRPr>
      </a:lvl2pPr>
      <a:lvl3pPr marL="685814" algn="l" defTabSz="685814" rtl="0" eaLnBrk="1" latinLnBrk="0" hangingPunct="1">
        <a:defRPr sz="1350" kern="1200">
          <a:solidFill>
            <a:schemeClr val="tx1"/>
          </a:solidFill>
          <a:latin typeface="+mn-lt"/>
          <a:ea typeface="+mn-ea"/>
          <a:cs typeface="+mn-cs"/>
        </a:defRPr>
      </a:lvl3pPr>
      <a:lvl4pPr marL="1028720" algn="l" defTabSz="685814" rtl="0" eaLnBrk="1" latinLnBrk="0" hangingPunct="1">
        <a:defRPr sz="1350" kern="1200">
          <a:solidFill>
            <a:schemeClr val="tx1"/>
          </a:solidFill>
          <a:latin typeface="+mn-lt"/>
          <a:ea typeface="+mn-ea"/>
          <a:cs typeface="+mn-cs"/>
        </a:defRPr>
      </a:lvl4pPr>
      <a:lvl5pPr marL="1371628" algn="l" defTabSz="685814" rtl="0" eaLnBrk="1" latinLnBrk="0" hangingPunct="1">
        <a:defRPr sz="1350" kern="1200">
          <a:solidFill>
            <a:schemeClr val="tx1"/>
          </a:solidFill>
          <a:latin typeface="+mn-lt"/>
          <a:ea typeface="+mn-ea"/>
          <a:cs typeface="+mn-cs"/>
        </a:defRPr>
      </a:lvl5pPr>
      <a:lvl6pPr marL="1714535" algn="l" defTabSz="685814" rtl="0" eaLnBrk="1" latinLnBrk="0" hangingPunct="1">
        <a:defRPr sz="1350" kern="1200">
          <a:solidFill>
            <a:schemeClr val="tx1"/>
          </a:solidFill>
          <a:latin typeface="+mn-lt"/>
          <a:ea typeface="+mn-ea"/>
          <a:cs typeface="+mn-cs"/>
        </a:defRPr>
      </a:lvl6pPr>
      <a:lvl7pPr marL="2057441" algn="l" defTabSz="685814" rtl="0" eaLnBrk="1" latinLnBrk="0" hangingPunct="1">
        <a:defRPr sz="1350" kern="1200">
          <a:solidFill>
            <a:schemeClr val="tx1"/>
          </a:solidFill>
          <a:latin typeface="+mn-lt"/>
          <a:ea typeface="+mn-ea"/>
          <a:cs typeface="+mn-cs"/>
        </a:defRPr>
      </a:lvl7pPr>
      <a:lvl8pPr marL="2400348" algn="l" defTabSz="685814" rtl="0" eaLnBrk="1" latinLnBrk="0" hangingPunct="1">
        <a:defRPr sz="1350" kern="1200">
          <a:solidFill>
            <a:schemeClr val="tx1"/>
          </a:solidFill>
          <a:latin typeface="+mn-lt"/>
          <a:ea typeface="+mn-ea"/>
          <a:cs typeface="+mn-cs"/>
        </a:defRPr>
      </a:lvl8pPr>
      <a:lvl9pPr marL="2743255" algn="l" defTabSz="685814"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 y="0"/>
          <a:ext cx="158750" cy="158750"/>
        </p:xfrm>
        <a:graphic>
          <a:graphicData uri="http://schemas.openxmlformats.org/presentationml/2006/ole">
            <p:oleObj spid="_x0000_s2074" name="think-cell Slide" r:id="rId32" imgW="360" imgH="360" progId="">
              <p:embed/>
            </p:oleObj>
          </a:graphicData>
        </a:graphic>
      </p:graphicFrame>
      <p:sp>
        <p:nvSpPr>
          <p:cNvPr id="2" name="Title Placeholder 1"/>
          <p:cNvSpPr>
            <a:spLocks noGrp="1"/>
          </p:cNvSpPr>
          <p:nvPr>
            <p:ph type="title"/>
            <p:custDataLst>
              <p:tags r:id="rId27"/>
            </p:custDataLst>
          </p:nvPr>
        </p:nvSpPr>
        <p:spPr>
          <a:xfrm>
            <a:off x="295276"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7" name="Rectangle 6"/>
          <p:cNvSpPr>
            <a:spLocks/>
          </p:cNvSpPr>
          <p:nvPr>
            <p:custDataLst>
              <p:tags r:id="rId31"/>
            </p:custDataLst>
          </p:nvPr>
        </p:nvSpPr>
        <p:spPr>
          <a:xfrm>
            <a:off x="2060973" y="6468150"/>
            <a:ext cx="1944216" cy="230832"/>
          </a:xfrm>
          <a:prstGeom prst="rect">
            <a:avLst/>
          </a:prstGeom>
        </p:spPr>
        <p:txBody>
          <a:bodyPr vert="horz" lIns="54000" tIns="54000" rIns="0" bIns="0" rtlCol="0" anchor="b"/>
          <a:lstStyle/>
          <a:p>
            <a:pPr lvl="0"/>
            <a:r>
              <a:rPr lang="en-US" sz="600" dirty="0">
                <a:solidFill>
                  <a:schemeClr val="accent3"/>
                </a:solidFill>
              </a:rPr>
              <a:t>© Western Cape Government 2012  |</a:t>
            </a:r>
            <a:endParaRPr lang="en-GB" sz="600" dirty="0">
              <a:solidFill>
                <a:schemeClr val="accent3"/>
              </a:solidFill>
            </a:endParaRPr>
          </a:p>
        </p:txBody>
      </p:sp>
      <p:sp>
        <p:nvSpPr>
          <p:cNvPr id="11" name="Right Triangle 10"/>
          <p:cNvSpPr/>
          <p:nvPr userDrawn="1"/>
        </p:nvSpPr>
        <p:spPr>
          <a:xfrm flipH="1">
            <a:off x="539553" y="898355"/>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pic>
        <p:nvPicPr>
          <p:cNvPr id="12" name="Picture 11"/>
          <p:cNvPicPr>
            <a:picLocks noChangeAspect="1"/>
          </p:cNvPicPr>
          <p:nvPr userDrawn="1"/>
        </p:nvPicPr>
        <p:blipFill>
          <a:blip r:embed="rId33" cstate="email">
            <a:extLst>
              <a:ext uri="{28A0092B-C50C-407E-A947-70E740481C1C}">
                <a14:useLocalDpi xmlns:a14="http://schemas.microsoft.com/office/drawing/2010/main" xmlns=""/>
              </a:ext>
            </a:extLst>
          </a:blip>
          <a:stretch>
            <a:fillRect/>
          </a:stretch>
        </p:blipFill>
        <p:spPr>
          <a:xfrm>
            <a:off x="251521" y="6381329"/>
            <a:ext cx="927518" cy="288032"/>
          </a:xfrm>
          <a:prstGeom prst="rect">
            <a:avLst/>
          </a:prstGeom>
        </p:spPr>
      </p:pic>
    </p:spTree>
    <p:extLst>
      <p:ext uri="{BB962C8B-B14F-4D97-AF65-F5344CB8AC3E}">
        <p14:creationId xmlns:p14="http://schemas.microsoft.com/office/powerpoint/2010/main" xmlns="" val="2074129519"/>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 id="2147483824" r:id="rId21"/>
    <p:sldLayoutId id="2147483825" r:id="rId22"/>
    <p:sldLayoutId id="2147483826" r:id="rId23"/>
    <p:sldLayoutId id="2147483827" r:id="rId24"/>
  </p:sldLayoutIdLst>
  <p:hf hdr="0"/>
  <p:txStyles>
    <p:titleStyle>
      <a:lvl1pPr algn="l" defTabSz="685800"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34"/>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17434" name="think-cell Slide" r:id="rId32" imgW="360" imgH="36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solidFill>
                <a:prstClr val="white"/>
              </a:solidFill>
            </a:endParaRPr>
          </a:p>
        </p:txBody>
      </p:sp>
      <p:pic>
        <p:nvPicPr>
          <p:cNvPr id="12" name="Picture 11"/>
          <p:cNvPicPr>
            <a:picLocks noChangeAspect="1"/>
          </p:cNvPicPr>
          <p:nvPr userDrawn="1"/>
        </p:nvPicPr>
        <p:blipFill>
          <a:blip r:embed="rId33" cstate="email">
            <a:extLst>
              <a:ext uri="{28A0092B-C50C-407E-A947-70E740481C1C}">
                <a14:useLocalDpi xmlns:a14="http://schemas.microsoft.com/office/drawing/2010/main" xmlns=""/>
              </a:ext>
            </a:extLst>
          </a:blip>
          <a:stretch>
            <a:fillRect/>
          </a:stretch>
        </p:blipFill>
        <p:spPr>
          <a:xfrm>
            <a:off x="251520" y="6381329"/>
            <a:ext cx="927518" cy="288032"/>
          </a:xfrm>
          <a:prstGeom prst="rect">
            <a:avLst/>
          </a:prstGeom>
        </p:spPr>
      </p:pic>
    </p:spTree>
    <p:extLst>
      <p:ext uri="{BB962C8B-B14F-4D97-AF65-F5344CB8AC3E}">
        <p14:creationId xmlns:p14="http://schemas.microsoft.com/office/powerpoint/2010/main" xmlns="" val="1647059642"/>
      </p:ext>
    </p:extLst>
  </p:cSld>
  <p:clrMap bg1="lt1" tx1="dk1" bg2="lt2" tx2="dk2" accent1="accent1" accent2="accent2" accent3="accent3" accent4="accent4" accent5="accent5" accent6="accent6" hlink="hlink" folHlink="folHlink"/>
  <p:sldLayoutIdLst>
    <p:sldLayoutId id="2147485226" r:id="rId1"/>
    <p:sldLayoutId id="2147485227" r:id="rId2"/>
    <p:sldLayoutId id="2147485228" r:id="rId3"/>
    <p:sldLayoutId id="2147485229" r:id="rId4"/>
    <p:sldLayoutId id="2147485230" r:id="rId5"/>
    <p:sldLayoutId id="2147485231" r:id="rId6"/>
    <p:sldLayoutId id="2147485232" r:id="rId7"/>
    <p:sldLayoutId id="2147485233" r:id="rId8"/>
    <p:sldLayoutId id="2147485234" r:id="rId9"/>
    <p:sldLayoutId id="2147485235" r:id="rId10"/>
    <p:sldLayoutId id="2147485236" r:id="rId11"/>
    <p:sldLayoutId id="2147485237" r:id="rId12"/>
    <p:sldLayoutId id="2147485238" r:id="rId13"/>
    <p:sldLayoutId id="2147485239" r:id="rId14"/>
    <p:sldLayoutId id="2147485240" r:id="rId15"/>
    <p:sldLayoutId id="2147485241" r:id="rId16"/>
    <p:sldLayoutId id="2147485242" r:id="rId17"/>
    <p:sldLayoutId id="2147485243" r:id="rId18"/>
    <p:sldLayoutId id="2147485244" r:id="rId19"/>
    <p:sldLayoutId id="2147485245" r:id="rId20"/>
    <p:sldLayoutId id="2147485246" r:id="rId21"/>
    <p:sldLayoutId id="2147485247" r:id="rId22"/>
    <p:sldLayoutId id="2147485248" r:id="rId23"/>
    <p:sldLayoutId id="2147485249"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 y="1"/>
          <a:ext cx="158751" cy="158750"/>
        </p:xfrm>
        <a:graphic>
          <a:graphicData uri="http://schemas.openxmlformats.org/presentationml/2006/ole">
            <p:oleObj spid="_x0000_s18458"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3"/>
            <a:ext cx="9144000" cy="377371"/>
          </a:xfrm>
          <a:prstGeom prst="rect">
            <a:avLst/>
          </a:prstGeom>
        </p:spPr>
      </p:pic>
      <p:sp>
        <p:nvSpPr>
          <p:cNvPr id="2" name="Title Placeholder 1"/>
          <p:cNvSpPr>
            <a:spLocks noGrp="1"/>
          </p:cNvSpPr>
          <p:nvPr>
            <p:ph type="title"/>
            <p:custDataLst>
              <p:tags r:id="rId28"/>
            </p:custDataLst>
          </p:nvPr>
        </p:nvSpPr>
        <p:spPr>
          <a:xfrm>
            <a:off x="295276"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1" name="Picture 115" descr="C:\Users\Conny\Desktop\WCG\WCG - Logo\PNG\Logos blue\Health\WCG - Logo - Health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9"/>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86504115"/>
      </p:ext>
    </p:extLst>
  </p:cSld>
  <p:clrMap bg1="lt1" tx1="dk1" bg2="lt2" tx2="dk2" accent1="accent1" accent2="accent2" accent3="accent3" accent4="accent4" accent5="accent5" accent6="accent6" hlink="hlink" folHlink="folHlink"/>
  <p:sldLayoutIdLst>
    <p:sldLayoutId id="2147485279" r:id="rId1"/>
    <p:sldLayoutId id="2147485280" r:id="rId2"/>
    <p:sldLayoutId id="2147485281" r:id="rId3"/>
    <p:sldLayoutId id="2147485282" r:id="rId4"/>
    <p:sldLayoutId id="2147485283" r:id="rId5"/>
    <p:sldLayoutId id="2147485284" r:id="rId6"/>
    <p:sldLayoutId id="2147485285" r:id="rId7"/>
    <p:sldLayoutId id="2147485286" r:id="rId8"/>
    <p:sldLayoutId id="2147485287" r:id="rId9"/>
    <p:sldLayoutId id="2147485288" r:id="rId10"/>
    <p:sldLayoutId id="2147485289" r:id="rId11"/>
    <p:sldLayoutId id="2147485290" r:id="rId12"/>
    <p:sldLayoutId id="2147485291" r:id="rId13"/>
    <p:sldLayoutId id="2147485292" r:id="rId14"/>
    <p:sldLayoutId id="2147485293" r:id="rId15"/>
    <p:sldLayoutId id="2147485294" r:id="rId16"/>
    <p:sldLayoutId id="2147485295" r:id="rId17"/>
    <p:sldLayoutId id="2147485296" r:id="rId18"/>
    <p:sldLayoutId id="2147485297" r:id="rId19"/>
    <p:sldLayoutId id="2147485298" r:id="rId20"/>
    <p:sldLayoutId id="2147485299" r:id="rId21"/>
    <p:sldLayoutId id="2147485300" r:id="rId22"/>
    <p:sldLayoutId id="2147485301" r:id="rId23"/>
    <p:sldLayoutId id="2147485302" r:id="rId24"/>
  </p:sldLayoutIdLst>
  <p:hf hdr="0"/>
  <p:txStyles>
    <p:titleStyle>
      <a:lvl1pPr algn="l" defTabSz="914378"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378"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79996" indent="-179996" algn="l" defTabSz="914378"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59991" indent="-179996" algn="l" defTabSz="914378"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39987" indent="-179996" algn="l" defTabSz="914378"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799955" indent="-1799955" algn="l" defTabSz="914378" rtl="0" eaLnBrk="1" latinLnBrk="0" hangingPunct="1">
        <a:spcBef>
          <a:spcPts val="300"/>
        </a:spcBef>
        <a:buFont typeface="Arial" pitchFamily="34" charset="0"/>
        <a:buNone/>
        <a:defRPr sz="1600" kern="1200">
          <a:solidFill>
            <a:schemeClr val="tx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19457" name="think-cell Slide" r:id="rId33" imgW="360" imgH="360" progId="">
              <p:embed/>
            </p:oleObj>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pic>
        <p:nvPicPr>
          <p:cNvPr id="12" name="Picture 11"/>
          <p:cNvPicPr>
            <a:picLocks noChangeAspect="1"/>
          </p:cNvPicPr>
          <p:nvPr userDrawn="1"/>
        </p:nvPicPr>
        <p:blipFill>
          <a:blip r:embed="rId34" cstate="print">
            <a:extLst>
              <a:ext uri="{28A0092B-C50C-407E-A947-70E740481C1C}">
                <a14:useLocalDpi xmlns:a14="http://schemas.microsoft.com/office/drawing/2010/main" xmlns="" val="0"/>
              </a:ext>
            </a:extLst>
          </a:blip>
          <a:stretch>
            <a:fillRect/>
          </a:stretch>
        </p:blipFill>
        <p:spPr>
          <a:xfrm>
            <a:off x="251520" y="6381329"/>
            <a:ext cx="927518" cy="288032"/>
          </a:xfrm>
          <a:prstGeom prst="rect">
            <a:avLst/>
          </a:prstGeom>
        </p:spPr>
      </p:pic>
    </p:spTree>
    <p:extLst>
      <p:ext uri="{BB962C8B-B14F-4D97-AF65-F5344CB8AC3E}">
        <p14:creationId xmlns:p14="http://schemas.microsoft.com/office/powerpoint/2010/main" xmlns="" val="3204165086"/>
      </p:ext>
    </p:extLst>
  </p:cSld>
  <p:clrMap bg1="lt1" tx1="dk1" bg2="lt2" tx2="dk2" accent1="accent1" accent2="accent2" accent3="accent3" accent4="accent4" accent5="accent5" accent6="accent6" hlink="hlink" folHlink="folHlink"/>
  <p:sldLayoutIdLst>
    <p:sldLayoutId id="2147485305" r:id="rId1"/>
    <p:sldLayoutId id="2147485306" r:id="rId2"/>
    <p:sldLayoutId id="2147485307" r:id="rId3"/>
    <p:sldLayoutId id="2147485308" r:id="rId4"/>
    <p:sldLayoutId id="2147485309" r:id="rId5"/>
    <p:sldLayoutId id="2147485310" r:id="rId6"/>
    <p:sldLayoutId id="2147485311" r:id="rId7"/>
    <p:sldLayoutId id="2147485312" r:id="rId8"/>
    <p:sldLayoutId id="2147485313" r:id="rId9"/>
    <p:sldLayoutId id="2147485314" r:id="rId10"/>
    <p:sldLayoutId id="2147485315" r:id="rId11"/>
    <p:sldLayoutId id="2147485316" r:id="rId12"/>
    <p:sldLayoutId id="2147485317" r:id="rId13"/>
    <p:sldLayoutId id="2147485318" r:id="rId14"/>
    <p:sldLayoutId id="2147485319" r:id="rId15"/>
    <p:sldLayoutId id="2147485320" r:id="rId16"/>
    <p:sldLayoutId id="2147485321" r:id="rId17"/>
    <p:sldLayoutId id="2147485322" r:id="rId18"/>
    <p:sldLayoutId id="2147485323" r:id="rId19"/>
    <p:sldLayoutId id="2147485324" r:id="rId20"/>
    <p:sldLayoutId id="2147485325" r:id="rId21"/>
    <p:sldLayoutId id="2147485326" r:id="rId22"/>
    <p:sldLayoutId id="2147485327" r:id="rId23"/>
    <p:sldLayoutId id="2147485328" r:id="rId24"/>
    <p:sldLayoutId id="2147485329" r:id="rId25"/>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98FCEC97-CEBB-4BCD-888D-30C23938191A}"/>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a:extLst>
              <a:ext uri="{FF2B5EF4-FFF2-40B4-BE49-F238E27FC236}">
                <a16:creationId xmlns:a16="http://schemas.microsoft.com/office/drawing/2014/main" xmlns="" id="{A3E3120F-9183-4046-AB14-4DD256C87792}"/>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xmlns="" id="{3350C346-BC5D-4BFD-A6AB-4156A8C2A9FC}"/>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7BD8B346-B5D7-4250-81FC-D179C2A773C0}" type="datetimeFigureOut">
              <a:rPr lang="en-ZA" smtClean="0"/>
              <a:pPr/>
              <a:t>2021/02/03</a:t>
            </a:fld>
            <a:endParaRPr lang="en-ZA"/>
          </a:p>
        </p:txBody>
      </p:sp>
      <p:sp>
        <p:nvSpPr>
          <p:cNvPr id="5" name="Footer Placeholder 4">
            <a:extLst>
              <a:ext uri="{FF2B5EF4-FFF2-40B4-BE49-F238E27FC236}">
                <a16:creationId xmlns:a16="http://schemas.microsoft.com/office/drawing/2014/main" xmlns="" id="{3062B015-F6A1-4181-B1DA-27020EFD6FD1}"/>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ZA"/>
          </a:p>
        </p:txBody>
      </p:sp>
      <p:sp>
        <p:nvSpPr>
          <p:cNvPr id="6" name="Slide Number Placeholder 5">
            <a:extLst>
              <a:ext uri="{FF2B5EF4-FFF2-40B4-BE49-F238E27FC236}">
                <a16:creationId xmlns:a16="http://schemas.microsoft.com/office/drawing/2014/main" xmlns="" id="{BEBC42FB-61B1-471F-A0EE-9A743BBBC069}"/>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3302B29-356E-42F1-B728-B4A2119D0885}" type="slidenum">
              <a:rPr lang="en-ZA" smtClean="0"/>
              <a:pPr/>
              <a:t>‹#›</a:t>
            </a:fld>
            <a:endParaRPr lang="en-ZA"/>
          </a:p>
        </p:txBody>
      </p:sp>
    </p:spTree>
    <p:extLst>
      <p:ext uri="{BB962C8B-B14F-4D97-AF65-F5344CB8AC3E}">
        <p14:creationId xmlns:p14="http://schemas.microsoft.com/office/powerpoint/2010/main" xmlns="" val="2097667676"/>
      </p:ext>
    </p:extLst>
  </p:cSld>
  <p:clrMap bg1="lt1" tx1="dk1" bg2="lt2" tx2="dk2" accent1="accent1" accent2="accent2" accent3="accent3" accent4="accent4" accent5="accent5" accent6="accent6" hlink="hlink" folHlink="folHlink"/>
  <p:sldLayoutIdLst>
    <p:sldLayoutId id="2147485331" r:id="rId1"/>
    <p:sldLayoutId id="2147485332" r:id="rId2"/>
    <p:sldLayoutId id="2147485333" r:id="rId3"/>
    <p:sldLayoutId id="2147485334" r:id="rId4"/>
    <p:sldLayoutId id="2147485335" r:id="rId5"/>
    <p:sldLayoutId id="2147485336" r:id="rId6"/>
    <p:sldLayoutId id="2147485337" r:id="rId7"/>
    <p:sldLayoutId id="2147485338" r:id="rId8"/>
    <p:sldLayoutId id="2147485339" r:id="rId9"/>
    <p:sldLayoutId id="2147485340" r:id="rId10"/>
    <p:sldLayoutId id="2147485341" r:id="rId11"/>
    <p:sldLayoutId id="2147485342"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nvGraphicFramePr>
        <p:xfrm>
          <a:off x="1191" y="1588"/>
          <a:ext cx="1191" cy="1588"/>
        </p:xfrm>
        <a:graphic>
          <a:graphicData uri="http://schemas.openxmlformats.org/presentationml/2006/ole">
            <p:oleObj spid="_x0000_s20481" name="think-cell Slide" r:id="rId10" imgW="360" imgH="360" progId="">
              <p:embed/>
            </p:oleObj>
          </a:graphicData>
        </a:graphic>
      </p:graphicFrame>
      <p:sp>
        <p:nvSpPr>
          <p:cNvPr id="7" name="Rectangle 6"/>
          <p:cNvSpPr/>
          <p:nvPr/>
        </p:nvSpPr>
        <p:spPr>
          <a:xfrm>
            <a:off x="0" y="0"/>
            <a:ext cx="9144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Rectangle 26"/>
          <p:cNvSpPr>
            <a:spLocks noGrp="1" noChangeArrowheads="1"/>
          </p:cNvSpPr>
          <p:nvPr>
            <p:ph type="sldNum" sz="quarter" idx="4"/>
          </p:nvPr>
        </p:nvSpPr>
        <p:spPr>
          <a:xfrm>
            <a:off x="8819964" y="6605736"/>
            <a:ext cx="324036" cy="252264"/>
          </a:xfrm>
          <a:prstGeom prst="rect">
            <a:avLst/>
          </a:prstGeom>
          <a:ln/>
        </p:spPr>
        <p:txBody>
          <a:bodyPr anchor="b"/>
          <a:lstStyle>
            <a:lvl1pPr algn="r">
              <a:defRPr sz="900"/>
            </a:lvl1pPr>
          </a:lstStyle>
          <a:p>
            <a:fld id="{2017EE79-33E5-4C4B-BAE3-E8DBEA3383C6}" type="slidenum">
              <a:rPr lang="en-ZA" smtClean="0"/>
              <a:pPr/>
              <a:t>‹#›</a:t>
            </a:fld>
            <a:endParaRPr lang="en-ZA"/>
          </a:p>
        </p:txBody>
      </p:sp>
    </p:spTree>
    <p:extLst>
      <p:ext uri="{BB962C8B-B14F-4D97-AF65-F5344CB8AC3E}">
        <p14:creationId xmlns:p14="http://schemas.microsoft.com/office/powerpoint/2010/main" xmlns="" val="1176791453"/>
      </p:ext>
    </p:extLst>
  </p:cSld>
  <p:clrMap bg1="lt1" tx1="dk1" bg2="lt2" tx2="dk2" accent1="accent1" accent2="accent2" accent3="accent3" accent4="accent4" accent5="accent5" accent6="accent6" hlink="hlink" folHlink="folHlink"/>
  <p:sldLayoutIdLst>
    <p:sldLayoutId id="2147485344" r:id="rId1"/>
    <p:sldLayoutId id="2147485345" r:id="rId2"/>
    <p:sldLayoutId id="2147485346" r:id="rId3"/>
    <p:sldLayoutId id="2147485347" r:id="rId4"/>
    <p:sldLayoutId id="2147485348" r:id="rId5"/>
    <p:sldLayoutId id="2147485349" r:id="rId6"/>
    <p:sldLayoutId id="2147485350" r:id="rId7"/>
  </p:sldLayoutIdLst>
  <p:hf sldNum="0"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2160">
          <p15:clr>
            <a:srgbClr val="F26B43"/>
          </p15:clr>
        </p15:guide>
        <p15:guide id="2" pos="3840">
          <p15:clr>
            <a:srgbClr val="F26B43"/>
          </p15:clr>
        </p15:guide>
        <p15:guide id="3" pos="211">
          <p15:clr>
            <a:srgbClr val="F26B43"/>
          </p15:clr>
        </p15:guide>
        <p15:guide id="4" pos="7469">
          <p15:clr>
            <a:srgbClr val="F26B43"/>
          </p15:clr>
        </p15:guide>
        <p15:guide id="5" orient="horz" pos="799">
          <p15:clr>
            <a:srgbClr val="F26B43"/>
          </p15:clr>
        </p15:guide>
        <p15:guide id="6" orient="horz" pos="3748">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B6B73245-F185-40A8-A344-7B7B6602C273}"/>
              </a:ext>
            </a:extLst>
          </p:cNvPr>
          <p:cNvSpPr/>
          <p:nvPr userDrawn="1"/>
        </p:nvSpPr>
        <p:spPr>
          <a:xfrm>
            <a:off x="2076995" y="796835"/>
            <a:ext cx="5270863" cy="488550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p>
        </p:txBody>
      </p:sp>
      <p:pic>
        <p:nvPicPr>
          <p:cNvPr id="8" name="Picture 7" descr="Shape, circle&#10;&#10;Description automatically generated">
            <a:extLst>
              <a:ext uri="{FF2B5EF4-FFF2-40B4-BE49-F238E27FC236}">
                <a16:creationId xmlns:a16="http://schemas.microsoft.com/office/drawing/2014/main" xmlns="" id="{00B85673-99B5-4EA4-A767-6E8641BD2BBF}"/>
              </a:ext>
            </a:extLst>
          </p:cNvPr>
          <p:cNvPicPr>
            <a:picLocks noChangeAspect="1"/>
          </p:cNvPicPr>
          <p:nvPr userDrawn="1"/>
        </p:nvPicPr>
        <p:blipFill>
          <a:blip r:embed="rId13" cstate="print">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Title Placeholder 1">
            <a:extLst>
              <a:ext uri="{FF2B5EF4-FFF2-40B4-BE49-F238E27FC236}">
                <a16:creationId xmlns:a16="http://schemas.microsoft.com/office/drawing/2014/main" xmlns="" id="{A4286E42-E7CF-42EA-8773-33A4C9815C44}"/>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endParaRPr lang="en-US" dirty="0"/>
          </a:p>
        </p:txBody>
      </p:sp>
      <p:sp>
        <p:nvSpPr>
          <p:cNvPr id="3" name="Text Placeholder 2">
            <a:extLst>
              <a:ext uri="{FF2B5EF4-FFF2-40B4-BE49-F238E27FC236}">
                <a16:creationId xmlns:a16="http://schemas.microsoft.com/office/drawing/2014/main" xmlns="" id="{003DB706-82F9-4AD0-99F5-40CF2D0F5593}"/>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fr-FR" dirty="0"/>
              <a:t>			</a:t>
            </a:r>
          </a:p>
          <a:p>
            <a:pPr lvl="0"/>
            <a:r>
              <a:rPr lang="fr-FR" dirty="0"/>
              <a:t>			Communication</a:t>
            </a:r>
            <a:br>
              <a:rPr lang="fr-FR" dirty="0"/>
            </a:br>
            <a:r>
              <a:rPr lang="fr-FR" dirty="0"/>
              <a:t> 			Stakeholder engagement  </a:t>
            </a:r>
            <a:br>
              <a:rPr lang="fr-FR" dirty="0"/>
            </a:br>
            <a:r>
              <a:rPr lang="fr-FR" dirty="0"/>
              <a:t>			Social mobilisation</a:t>
            </a:r>
            <a:endParaRPr lang="en-US" dirty="0"/>
          </a:p>
        </p:txBody>
      </p:sp>
      <p:sp>
        <p:nvSpPr>
          <p:cNvPr id="4" name="Date Placeholder 3">
            <a:extLst>
              <a:ext uri="{FF2B5EF4-FFF2-40B4-BE49-F238E27FC236}">
                <a16:creationId xmlns:a16="http://schemas.microsoft.com/office/drawing/2014/main" xmlns="" id="{04DCC597-8F31-4547-92D0-FC1BFF1152FD}"/>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51FA61B5-C1F2-42FD-A3AF-0A905062C832}" type="datetimeFigureOut">
              <a:rPr lang="en-US" smtClean="0"/>
              <a:pPr/>
              <a:t>2/3/2021</a:t>
            </a:fld>
            <a:endParaRPr lang="en-US"/>
          </a:p>
        </p:txBody>
      </p:sp>
      <p:sp>
        <p:nvSpPr>
          <p:cNvPr id="5" name="Footer Placeholder 4">
            <a:extLst>
              <a:ext uri="{FF2B5EF4-FFF2-40B4-BE49-F238E27FC236}">
                <a16:creationId xmlns:a16="http://schemas.microsoft.com/office/drawing/2014/main" xmlns="" id="{A36CFFEE-B060-4D3E-8F9B-229D3715A3A2}"/>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xmlns="" id="{A08E9238-0450-48C4-9FB4-BC4F069E15DD}"/>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B173FF6-7009-4F3D-8AC4-BCF2727DA22E}" type="slidenum">
              <a:rPr lang="en-US" smtClean="0"/>
              <a:pPr/>
              <a:t>‹#›</a:t>
            </a:fld>
            <a:endParaRPr lang="en-US"/>
          </a:p>
        </p:txBody>
      </p:sp>
    </p:spTree>
    <p:extLst>
      <p:ext uri="{BB962C8B-B14F-4D97-AF65-F5344CB8AC3E}">
        <p14:creationId xmlns:p14="http://schemas.microsoft.com/office/powerpoint/2010/main" xmlns="" val="2469878619"/>
      </p:ext>
    </p:extLst>
  </p:cSld>
  <p:clrMap bg1="lt1" tx1="dk1" bg2="lt2" tx2="dk2" accent1="accent1" accent2="accent2" accent3="accent3" accent4="accent4" accent5="accent5" accent6="accent6" hlink="hlink" folHlink="folHlink"/>
  <p:sldLayoutIdLst>
    <p:sldLayoutId id="2147485352" r:id="rId1"/>
    <p:sldLayoutId id="2147485353" r:id="rId2"/>
    <p:sldLayoutId id="2147485354" r:id="rId3"/>
    <p:sldLayoutId id="2147485355" r:id="rId4"/>
    <p:sldLayoutId id="2147485356" r:id="rId5"/>
    <p:sldLayoutId id="2147485357" r:id="rId6"/>
    <p:sldLayoutId id="2147485358" r:id="rId7"/>
    <p:sldLayoutId id="2147485359" r:id="rId8"/>
    <p:sldLayoutId id="2147485360" r:id="rId9"/>
    <p:sldLayoutId id="2147485361" r:id="rId10"/>
    <p:sldLayoutId id="2147485362"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2100" kern="1200">
          <a:solidFill>
            <a:schemeClr val="tx1"/>
          </a:solidFill>
          <a:latin typeface="+mn-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3098" name="think-cell Slide" r:id="rId33" imgW="360" imgH="360" progId="">
              <p:embed/>
            </p:oleObj>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pic>
        <p:nvPicPr>
          <p:cNvPr id="12" name="Picture 11"/>
          <p:cNvPicPr>
            <a:picLocks noChangeAspect="1"/>
          </p:cNvPicPr>
          <p:nvPr userDrawn="1"/>
        </p:nvPicPr>
        <p:blipFill>
          <a:blip r:embed="rId34" cstate="email">
            <a:extLst>
              <a:ext uri="{28A0092B-C50C-407E-A947-70E740481C1C}">
                <a14:useLocalDpi xmlns:a14="http://schemas.microsoft.com/office/drawing/2010/main" xmlns=""/>
              </a:ext>
            </a:extLst>
          </a:blip>
          <a:stretch>
            <a:fillRect/>
          </a:stretch>
        </p:blipFill>
        <p:spPr>
          <a:xfrm>
            <a:off x="251520" y="6381329"/>
            <a:ext cx="927518" cy="288032"/>
          </a:xfrm>
          <a:prstGeom prst="rect">
            <a:avLst/>
          </a:prstGeom>
        </p:spPr>
      </p:pic>
    </p:spTree>
    <p:extLst>
      <p:ext uri="{BB962C8B-B14F-4D97-AF65-F5344CB8AC3E}">
        <p14:creationId xmlns:p14="http://schemas.microsoft.com/office/powerpoint/2010/main" xmlns="" val="3202730878"/>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 id="2147484056" r:id="rId13"/>
    <p:sldLayoutId id="2147484057" r:id="rId14"/>
    <p:sldLayoutId id="2147484058" r:id="rId15"/>
    <p:sldLayoutId id="2147484059" r:id="rId16"/>
    <p:sldLayoutId id="2147484060" r:id="rId17"/>
    <p:sldLayoutId id="2147484061" r:id="rId18"/>
    <p:sldLayoutId id="2147484062" r:id="rId19"/>
    <p:sldLayoutId id="2147484063" r:id="rId20"/>
    <p:sldLayoutId id="2147484064" r:id="rId21"/>
    <p:sldLayoutId id="2147484065" r:id="rId22"/>
    <p:sldLayoutId id="2147484066" r:id="rId23"/>
    <p:sldLayoutId id="2147484067" r:id="rId24"/>
    <p:sldLayoutId id="2147485303" r:id="rId25"/>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4122" name="think-cell Slide" r:id="rId32" imgW="360" imgH="36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pic>
        <p:nvPicPr>
          <p:cNvPr id="12" name="Picture 11"/>
          <p:cNvPicPr>
            <a:picLocks noChangeAspect="1"/>
          </p:cNvPicPr>
          <p:nvPr userDrawn="1"/>
        </p:nvPicPr>
        <p:blipFill>
          <a:blip r:embed="rId33" cstate="email">
            <a:extLst>
              <a:ext uri="{28A0092B-C50C-407E-A947-70E740481C1C}">
                <a14:useLocalDpi xmlns:a14="http://schemas.microsoft.com/office/drawing/2010/main" xmlns=""/>
              </a:ext>
            </a:extLst>
          </a:blip>
          <a:stretch>
            <a:fillRect/>
          </a:stretch>
        </p:blipFill>
        <p:spPr>
          <a:xfrm>
            <a:off x="251520" y="6381329"/>
            <a:ext cx="927518" cy="288032"/>
          </a:xfrm>
          <a:prstGeom prst="rect">
            <a:avLst/>
          </a:prstGeom>
        </p:spPr>
      </p:pic>
    </p:spTree>
    <p:extLst>
      <p:ext uri="{BB962C8B-B14F-4D97-AF65-F5344CB8AC3E}">
        <p14:creationId xmlns:p14="http://schemas.microsoft.com/office/powerpoint/2010/main" xmlns="" val="3804009631"/>
      </p:ext>
    </p:extLst>
  </p:cSld>
  <p:clrMap bg1="lt1" tx1="dk1" bg2="lt2" tx2="dk2" accent1="accent1" accent2="accent2" accent3="accent3" accent4="accent4" accent5="accent5" accent6="accent6" hlink="hlink" folHlink="folHlink"/>
  <p:sldLayoutIdLst>
    <p:sldLayoutId id="2147484417" r:id="rId1"/>
    <p:sldLayoutId id="2147484418" r:id="rId2"/>
    <p:sldLayoutId id="2147484419" r:id="rId3"/>
    <p:sldLayoutId id="2147484420" r:id="rId4"/>
    <p:sldLayoutId id="2147484421" r:id="rId5"/>
    <p:sldLayoutId id="2147484422" r:id="rId6"/>
    <p:sldLayoutId id="2147484423" r:id="rId7"/>
    <p:sldLayoutId id="2147484424" r:id="rId8"/>
    <p:sldLayoutId id="2147484425" r:id="rId9"/>
    <p:sldLayoutId id="2147484426" r:id="rId10"/>
    <p:sldLayoutId id="2147484427" r:id="rId11"/>
    <p:sldLayoutId id="2147484428" r:id="rId12"/>
    <p:sldLayoutId id="2147484429" r:id="rId13"/>
    <p:sldLayoutId id="2147484430" r:id="rId14"/>
    <p:sldLayoutId id="2147484431" r:id="rId15"/>
    <p:sldLayoutId id="2147484432" r:id="rId16"/>
    <p:sldLayoutId id="2147484433" r:id="rId17"/>
    <p:sldLayoutId id="2147484434" r:id="rId18"/>
    <p:sldLayoutId id="2147484435" r:id="rId19"/>
    <p:sldLayoutId id="2147484436" r:id="rId20"/>
    <p:sldLayoutId id="2147484437" r:id="rId21"/>
    <p:sldLayoutId id="2147484438" r:id="rId22"/>
    <p:sldLayoutId id="2147484439" r:id="rId23"/>
    <p:sldLayoutId id="2147484440"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 y="0"/>
          <a:ext cx="158750" cy="158750"/>
        </p:xfrm>
        <a:graphic>
          <a:graphicData uri="http://schemas.openxmlformats.org/presentationml/2006/ole">
            <p:oleObj spid="_x0000_s5146" name="think-cell Slide" r:id="rId33" imgW="360" imgH="360" progId="">
              <p:embed/>
            </p:oleObj>
          </a:graphicData>
        </a:graphic>
      </p:graphicFrame>
      <p:sp>
        <p:nvSpPr>
          <p:cNvPr id="2" name="Title Placeholder 1"/>
          <p:cNvSpPr>
            <a:spLocks noGrp="1"/>
          </p:cNvSpPr>
          <p:nvPr>
            <p:ph type="title"/>
            <p:custDataLst>
              <p:tags r:id="rId28"/>
            </p:custDataLst>
          </p:nvPr>
        </p:nvSpPr>
        <p:spPr>
          <a:xfrm>
            <a:off x="295276"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ZA" dirty="0"/>
              <a:t>Go to Insert &gt; Header &amp; Footer &gt; Enter presentation name into footer field</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54000" tIns="54000" rIns="0" bIns="0" rtlCol="0" anchor="b"/>
          <a:lstStyle/>
          <a:p>
            <a:pPr lvl="0"/>
            <a:r>
              <a:rPr lang="en-US" sz="600" dirty="0">
                <a:solidFill>
                  <a:schemeClr val="accent3"/>
                </a:solidFill>
              </a:rPr>
              <a:t>© Western Cape Government 2012  |</a:t>
            </a:r>
            <a:endParaRPr lang="en-GB" sz="600" dirty="0">
              <a:solidFill>
                <a:schemeClr val="accent3"/>
              </a:solidFill>
            </a:endParaRPr>
          </a:p>
        </p:txBody>
      </p:sp>
      <p:sp>
        <p:nvSpPr>
          <p:cNvPr id="11" name="Right Triangle 10"/>
          <p:cNvSpPr/>
          <p:nvPr userDrawn="1"/>
        </p:nvSpPr>
        <p:spPr>
          <a:xfrm flipH="1">
            <a:off x="539553" y="898355"/>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pic>
        <p:nvPicPr>
          <p:cNvPr id="12" name="Picture 11"/>
          <p:cNvPicPr>
            <a:picLocks noChangeAspect="1"/>
          </p:cNvPicPr>
          <p:nvPr userDrawn="1"/>
        </p:nvPicPr>
        <p:blipFill>
          <a:blip r:embed="rId34" cstate="print">
            <a:extLst>
              <a:ext uri="{28A0092B-C50C-407E-A947-70E740481C1C}">
                <a14:useLocalDpi xmlns:a14="http://schemas.microsoft.com/office/drawing/2010/main" xmlns="" val="0"/>
              </a:ext>
            </a:extLst>
          </a:blip>
          <a:stretch>
            <a:fillRect/>
          </a:stretch>
        </p:blipFill>
        <p:spPr>
          <a:xfrm>
            <a:off x="251521" y="6381330"/>
            <a:ext cx="927518" cy="288032"/>
          </a:xfrm>
          <a:prstGeom prst="rect">
            <a:avLst/>
          </a:prstGeom>
        </p:spPr>
      </p:pic>
    </p:spTree>
    <p:extLst>
      <p:ext uri="{BB962C8B-B14F-4D97-AF65-F5344CB8AC3E}">
        <p14:creationId xmlns:p14="http://schemas.microsoft.com/office/powerpoint/2010/main" xmlns="" val="2938637815"/>
      </p:ext>
    </p:extLst>
  </p:cSld>
  <p:clrMap bg1="lt1" tx1="dk1" bg2="lt2" tx2="dk2" accent1="accent1" accent2="accent2" accent3="accent3" accent4="accent4" accent5="accent5" accent6="accent6" hlink="hlink" folHlink="folHlink"/>
  <p:sldLayoutIdLst>
    <p:sldLayoutId id="2147484572" r:id="rId1"/>
    <p:sldLayoutId id="2147484573" r:id="rId2"/>
    <p:sldLayoutId id="2147484574" r:id="rId3"/>
    <p:sldLayoutId id="2147484575" r:id="rId4"/>
    <p:sldLayoutId id="2147484576" r:id="rId5"/>
    <p:sldLayoutId id="2147484577" r:id="rId6"/>
    <p:sldLayoutId id="2147484578" r:id="rId7"/>
    <p:sldLayoutId id="2147484579" r:id="rId8"/>
    <p:sldLayoutId id="2147484580" r:id="rId9"/>
    <p:sldLayoutId id="2147484581" r:id="rId10"/>
    <p:sldLayoutId id="2147484582" r:id="rId11"/>
    <p:sldLayoutId id="2147484583" r:id="rId12"/>
    <p:sldLayoutId id="2147484584" r:id="rId13"/>
    <p:sldLayoutId id="2147484585" r:id="rId14"/>
    <p:sldLayoutId id="2147484586" r:id="rId15"/>
    <p:sldLayoutId id="2147484587" r:id="rId16"/>
    <p:sldLayoutId id="2147484588" r:id="rId17"/>
    <p:sldLayoutId id="2147484589" r:id="rId18"/>
    <p:sldLayoutId id="2147484590" r:id="rId19"/>
    <p:sldLayoutId id="2147484591" r:id="rId20"/>
    <p:sldLayoutId id="2147484592" r:id="rId21"/>
    <p:sldLayoutId id="2147484593" r:id="rId22"/>
    <p:sldLayoutId id="2147484594" r:id="rId23"/>
    <p:sldLayoutId id="2147484595" r:id="rId24"/>
    <p:sldLayoutId id="2147485223" r:id="rId25"/>
  </p:sldLayoutIdLst>
  <p:hf hdr="0"/>
  <p:txStyles>
    <p:titleStyle>
      <a:lvl1pPr algn="l" defTabSz="685814"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14"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3" indent="-135003" algn="l" defTabSz="685814" rtl="0" eaLnBrk="1" latinLnBrk="0" hangingPunct="1">
        <a:spcBef>
          <a:spcPts val="225"/>
        </a:spcBef>
        <a:buClr>
          <a:srgbClr val="002060"/>
        </a:buClr>
        <a:buFontTx/>
        <a:buBlip>
          <a:blip r:embed="rId35"/>
        </a:buBlip>
        <a:defRPr sz="1200" kern="1200">
          <a:solidFill>
            <a:schemeClr val="tx1"/>
          </a:solidFill>
          <a:latin typeface="Century Gothic" pitchFamily="34" charset="0"/>
          <a:ea typeface="+mn-ea"/>
          <a:cs typeface="+mn-cs"/>
        </a:defRPr>
      </a:lvl2pPr>
      <a:lvl3pPr marL="270005" indent="-135003" algn="l" defTabSz="685814"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8" indent="-135003" algn="l" defTabSz="685814"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27" indent="-1350027" algn="l" defTabSz="685814" rtl="0" eaLnBrk="1" latinLnBrk="0" hangingPunct="1">
        <a:spcBef>
          <a:spcPts val="225"/>
        </a:spcBef>
        <a:buFont typeface="Arial" pitchFamily="34" charset="0"/>
        <a:buNone/>
        <a:defRPr sz="1200" kern="1200">
          <a:solidFill>
            <a:schemeClr val="tx2"/>
          </a:solidFill>
          <a:latin typeface="+mn-lt"/>
          <a:ea typeface="+mn-ea"/>
          <a:cs typeface="+mn-cs"/>
        </a:defRPr>
      </a:lvl5pPr>
      <a:lvl6pPr marL="1885988" indent="-171454" algn="l" defTabSz="68581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94" indent="-171454" algn="l" defTabSz="68581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02" indent="-171454" algn="l" defTabSz="68581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709" indent="-171454" algn="l" defTabSz="68581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14" rtl="0" eaLnBrk="1" latinLnBrk="0" hangingPunct="1">
        <a:defRPr sz="1350" kern="1200">
          <a:solidFill>
            <a:schemeClr val="tx1"/>
          </a:solidFill>
          <a:latin typeface="+mn-lt"/>
          <a:ea typeface="+mn-ea"/>
          <a:cs typeface="+mn-cs"/>
        </a:defRPr>
      </a:lvl1pPr>
      <a:lvl2pPr marL="342907" algn="l" defTabSz="685814" rtl="0" eaLnBrk="1" latinLnBrk="0" hangingPunct="1">
        <a:defRPr sz="1350" kern="1200">
          <a:solidFill>
            <a:schemeClr val="tx1"/>
          </a:solidFill>
          <a:latin typeface="+mn-lt"/>
          <a:ea typeface="+mn-ea"/>
          <a:cs typeface="+mn-cs"/>
        </a:defRPr>
      </a:lvl2pPr>
      <a:lvl3pPr marL="685814" algn="l" defTabSz="685814" rtl="0" eaLnBrk="1" latinLnBrk="0" hangingPunct="1">
        <a:defRPr sz="1350" kern="1200">
          <a:solidFill>
            <a:schemeClr val="tx1"/>
          </a:solidFill>
          <a:latin typeface="+mn-lt"/>
          <a:ea typeface="+mn-ea"/>
          <a:cs typeface="+mn-cs"/>
        </a:defRPr>
      </a:lvl3pPr>
      <a:lvl4pPr marL="1028720" algn="l" defTabSz="685814" rtl="0" eaLnBrk="1" latinLnBrk="0" hangingPunct="1">
        <a:defRPr sz="1350" kern="1200">
          <a:solidFill>
            <a:schemeClr val="tx1"/>
          </a:solidFill>
          <a:latin typeface="+mn-lt"/>
          <a:ea typeface="+mn-ea"/>
          <a:cs typeface="+mn-cs"/>
        </a:defRPr>
      </a:lvl4pPr>
      <a:lvl5pPr marL="1371628" algn="l" defTabSz="685814" rtl="0" eaLnBrk="1" latinLnBrk="0" hangingPunct="1">
        <a:defRPr sz="1350" kern="1200">
          <a:solidFill>
            <a:schemeClr val="tx1"/>
          </a:solidFill>
          <a:latin typeface="+mn-lt"/>
          <a:ea typeface="+mn-ea"/>
          <a:cs typeface="+mn-cs"/>
        </a:defRPr>
      </a:lvl5pPr>
      <a:lvl6pPr marL="1714535" algn="l" defTabSz="685814" rtl="0" eaLnBrk="1" latinLnBrk="0" hangingPunct="1">
        <a:defRPr sz="1350" kern="1200">
          <a:solidFill>
            <a:schemeClr val="tx1"/>
          </a:solidFill>
          <a:latin typeface="+mn-lt"/>
          <a:ea typeface="+mn-ea"/>
          <a:cs typeface="+mn-cs"/>
        </a:defRPr>
      </a:lvl6pPr>
      <a:lvl7pPr marL="2057441" algn="l" defTabSz="685814" rtl="0" eaLnBrk="1" latinLnBrk="0" hangingPunct="1">
        <a:defRPr sz="1350" kern="1200">
          <a:solidFill>
            <a:schemeClr val="tx1"/>
          </a:solidFill>
          <a:latin typeface="+mn-lt"/>
          <a:ea typeface="+mn-ea"/>
          <a:cs typeface="+mn-cs"/>
        </a:defRPr>
      </a:lvl7pPr>
      <a:lvl8pPr marL="2400348" algn="l" defTabSz="685814" rtl="0" eaLnBrk="1" latinLnBrk="0" hangingPunct="1">
        <a:defRPr sz="1350" kern="1200">
          <a:solidFill>
            <a:schemeClr val="tx1"/>
          </a:solidFill>
          <a:latin typeface="+mn-lt"/>
          <a:ea typeface="+mn-ea"/>
          <a:cs typeface="+mn-cs"/>
        </a:defRPr>
      </a:lvl8pPr>
      <a:lvl9pPr marL="2743255" algn="l" defTabSz="685814"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 y="0"/>
          <a:ext cx="158750" cy="158750"/>
        </p:xfrm>
        <a:graphic>
          <a:graphicData uri="http://schemas.openxmlformats.org/presentationml/2006/ole">
            <p:oleObj spid="_x0000_s6170" name="think-cell Slide" r:id="rId32" imgW="360" imgH="360" progId="">
              <p:embed/>
            </p:oleObj>
          </a:graphicData>
        </a:graphic>
      </p:graphicFrame>
      <p:sp>
        <p:nvSpPr>
          <p:cNvPr id="2" name="Title Placeholder 1"/>
          <p:cNvSpPr>
            <a:spLocks noGrp="1"/>
          </p:cNvSpPr>
          <p:nvPr>
            <p:ph type="title"/>
            <p:custDataLst>
              <p:tags r:id="rId27"/>
            </p:custDataLst>
          </p:nvPr>
        </p:nvSpPr>
        <p:spPr>
          <a:xfrm>
            <a:off x="295277"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7"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506">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2" y="6468150"/>
            <a:ext cx="4138573" cy="230832"/>
          </a:xfrm>
          <a:prstGeom prst="rect">
            <a:avLst/>
          </a:prstGeom>
        </p:spPr>
        <p:txBody>
          <a:bodyPr vert="horz" lIns="0" tIns="72000" rIns="72000" bIns="0" rtlCol="0" anchor="b"/>
          <a:lstStyle>
            <a:lvl1pPr algn="l">
              <a:defRPr sz="450">
                <a:solidFill>
                  <a:schemeClr val="accent3"/>
                </a:solidFill>
              </a:defRPr>
            </a:lvl1pPr>
          </a:lstStyle>
          <a:p>
            <a:r>
              <a:rPr lang="en-ZA" dirty="0"/>
              <a:t>Go to Insert &gt; Header &amp; Footer &gt; Enter presentation name into footer field</a:t>
            </a:r>
            <a:endParaRPr lang="en-GB" dirty="0"/>
          </a:p>
        </p:txBody>
      </p:sp>
      <p:sp>
        <p:nvSpPr>
          <p:cNvPr id="7" name="Rectangle 6"/>
          <p:cNvSpPr>
            <a:spLocks/>
          </p:cNvSpPr>
          <p:nvPr>
            <p:custDataLst>
              <p:tags r:id="rId31"/>
            </p:custDataLst>
          </p:nvPr>
        </p:nvSpPr>
        <p:spPr>
          <a:xfrm>
            <a:off x="2060973" y="6468150"/>
            <a:ext cx="1944216" cy="230832"/>
          </a:xfrm>
          <a:prstGeom prst="rect">
            <a:avLst/>
          </a:prstGeom>
        </p:spPr>
        <p:txBody>
          <a:bodyPr vert="horz" lIns="40500" tIns="40500" rIns="0" bIns="0" rtlCol="0" anchor="b"/>
          <a:lstStyle/>
          <a:p>
            <a:pPr lvl="0"/>
            <a:r>
              <a:rPr lang="en-US" sz="450" dirty="0">
                <a:solidFill>
                  <a:schemeClr val="accent3"/>
                </a:solidFill>
              </a:rPr>
              <a:t>© Western Cape Government 2012  |</a:t>
            </a:r>
            <a:endParaRPr lang="en-GB" sz="450" dirty="0">
              <a:solidFill>
                <a:schemeClr val="accent3"/>
              </a:solidFill>
            </a:endParaRPr>
          </a:p>
        </p:txBody>
      </p:sp>
      <p:sp>
        <p:nvSpPr>
          <p:cNvPr id="11" name="Right Triangle 10"/>
          <p:cNvSpPr/>
          <p:nvPr userDrawn="1"/>
        </p:nvSpPr>
        <p:spPr>
          <a:xfrm flipH="1">
            <a:off x="539553" y="898357"/>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75" dirty="0"/>
          </a:p>
        </p:txBody>
      </p:sp>
      <p:pic>
        <p:nvPicPr>
          <p:cNvPr id="12" name="Picture 11"/>
          <p:cNvPicPr>
            <a:picLocks noChangeAspect="1"/>
          </p:cNvPicPr>
          <p:nvPr userDrawn="1"/>
        </p:nvPicPr>
        <p:blipFill>
          <a:blip r:embed="rId33" cstate="print">
            <a:extLst>
              <a:ext uri="{28A0092B-C50C-407E-A947-70E740481C1C}">
                <a14:useLocalDpi xmlns:a14="http://schemas.microsoft.com/office/drawing/2010/main" xmlns="" val="0"/>
              </a:ext>
            </a:extLst>
          </a:blip>
          <a:stretch>
            <a:fillRect/>
          </a:stretch>
        </p:blipFill>
        <p:spPr>
          <a:xfrm>
            <a:off x="251522" y="6381330"/>
            <a:ext cx="927518" cy="288032"/>
          </a:xfrm>
          <a:prstGeom prst="rect">
            <a:avLst/>
          </a:prstGeom>
        </p:spPr>
      </p:pic>
    </p:spTree>
    <p:extLst>
      <p:ext uri="{BB962C8B-B14F-4D97-AF65-F5344CB8AC3E}">
        <p14:creationId xmlns:p14="http://schemas.microsoft.com/office/powerpoint/2010/main" xmlns="" val="315778190"/>
      </p:ext>
    </p:extLst>
  </p:cSld>
  <p:clrMap bg1="lt1" tx1="dk1" bg2="lt2" tx2="dk2" accent1="accent1" accent2="accent2" accent3="accent3" accent4="accent4" accent5="accent5" accent6="accent6" hlink="hlink" folHlink="folHlink"/>
  <p:sldLayoutIdLst>
    <p:sldLayoutId id="2147484609" r:id="rId1"/>
    <p:sldLayoutId id="2147484610" r:id="rId2"/>
    <p:sldLayoutId id="2147484611" r:id="rId3"/>
    <p:sldLayoutId id="2147484612" r:id="rId4"/>
    <p:sldLayoutId id="2147484613" r:id="rId5"/>
    <p:sldLayoutId id="2147484614" r:id="rId6"/>
    <p:sldLayoutId id="2147484615" r:id="rId7"/>
    <p:sldLayoutId id="2147484616" r:id="rId8"/>
    <p:sldLayoutId id="2147484617" r:id="rId9"/>
    <p:sldLayoutId id="2147484618" r:id="rId10"/>
    <p:sldLayoutId id="2147484619" r:id="rId11"/>
    <p:sldLayoutId id="2147484620" r:id="rId12"/>
    <p:sldLayoutId id="2147484621" r:id="rId13"/>
    <p:sldLayoutId id="2147484622" r:id="rId14"/>
    <p:sldLayoutId id="2147484623" r:id="rId15"/>
    <p:sldLayoutId id="2147484624" r:id="rId16"/>
    <p:sldLayoutId id="2147484625" r:id="rId17"/>
    <p:sldLayoutId id="2147484626" r:id="rId18"/>
    <p:sldLayoutId id="2147484627" r:id="rId19"/>
    <p:sldLayoutId id="2147484628" r:id="rId20"/>
    <p:sldLayoutId id="2147484629" r:id="rId21"/>
    <p:sldLayoutId id="2147484630" r:id="rId22"/>
    <p:sldLayoutId id="2147484631" r:id="rId23"/>
    <p:sldLayoutId id="2147484632" r:id="rId24"/>
  </p:sldLayoutIdLst>
  <p:hf hdr="0"/>
  <p:txStyles>
    <p:titleStyle>
      <a:lvl1pPr algn="l" defTabSz="514361" rtl="0" eaLnBrk="1" latinLnBrk="0" hangingPunct="1">
        <a:spcBef>
          <a:spcPct val="0"/>
        </a:spcBef>
        <a:buNone/>
        <a:defRPr sz="1350" b="1" kern="1200">
          <a:solidFill>
            <a:schemeClr val="tx2"/>
          </a:solidFill>
          <a:latin typeface="Century Gothic" pitchFamily="34" charset="0"/>
          <a:ea typeface="+mj-ea"/>
          <a:cs typeface="+mj-cs"/>
        </a:defRPr>
      </a:lvl1pPr>
    </p:titleStyle>
    <p:bodyStyle>
      <a:lvl1pPr marL="0" indent="0" algn="l" defTabSz="514361" rtl="0" eaLnBrk="1" latinLnBrk="0" hangingPunct="1">
        <a:spcBef>
          <a:spcPts val="169"/>
        </a:spcBef>
        <a:buFont typeface="Arial" pitchFamily="34" charset="0"/>
        <a:buNone/>
        <a:defRPr sz="900" b="1" kern="1200">
          <a:solidFill>
            <a:schemeClr val="tx1"/>
          </a:solidFill>
          <a:latin typeface="Century Gothic" pitchFamily="34" charset="0"/>
          <a:ea typeface="+mn-ea"/>
          <a:cs typeface="+mn-cs"/>
        </a:defRPr>
      </a:lvl1pPr>
      <a:lvl2pPr marL="101252" indent="-101252" algn="l" defTabSz="514361" rtl="0" eaLnBrk="1" latinLnBrk="0" hangingPunct="1">
        <a:spcBef>
          <a:spcPts val="169"/>
        </a:spcBef>
        <a:buClr>
          <a:srgbClr val="002060"/>
        </a:buClr>
        <a:buFontTx/>
        <a:buBlip>
          <a:blip r:embed="rId34"/>
        </a:buBlip>
        <a:defRPr sz="900" kern="1200">
          <a:solidFill>
            <a:schemeClr val="tx1"/>
          </a:solidFill>
          <a:latin typeface="Century Gothic" pitchFamily="34" charset="0"/>
          <a:ea typeface="+mn-ea"/>
          <a:cs typeface="+mn-cs"/>
        </a:defRPr>
      </a:lvl2pPr>
      <a:lvl3pPr marL="202504" indent="-101252" algn="l" defTabSz="514361" rtl="0" eaLnBrk="1" latinLnBrk="0" hangingPunct="1">
        <a:spcBef>
          <a:spcPts val="169"/>
        </a:spcBef>
        <a:buClr>
          <a:schemeClr val="accent3"/>
        </a:buClr>
        <a:buFont typeface="Arial" pitchFamily="34" charset="0"/>
        <a:buChar char="•"/>
        <a:defRPr lang="en-US" sz="900" kern="1200" dirty="0" smtClean="0">
          <a:solidFill>
            <a:schemeClr val="tx1"/>
          </a:solidFill>
          <a:latin typeface="Century Gothic" pitchFamily="34" charset="0"/>
          <a:ea typeface="+mn-ea"/>
          <a:cs typeface="+mn-cs"/>
        </a:defRPr>
      </a:lvl3pPr>
      <a:lvl4pPr marL="303756" indent="-101252" algn="l" defTabSz="514361" rtl="0" eaLnBrk="1" latinLnBrk="0" hangingPunct="1">
        <a:spcBef>
          <a:spcPts val="169"/>
        </a:spcBef>
        <a:buClr>
          <a:schemeClr val="accent3"/>
        </a:buClr>
        <a:buFont typeface="Arial" pitchFamily="34" charset="0"/>
        <a:buChar char="–"/>
        <a:defRPr sz="900" kern="1200">
          <a:solidFill>
            <a:schemeClr val="tx1"/>
          </a:solidFill>
          <a:latin typeface="Century Gothic" pitchFamily="34" charset="0"/>
          <a:ea typeface="+mn-ea"/>
          <a:cs typeface="+mn-cs"/>
        </a:defRPr>
      </a:lvl4pPr>
      <a:lvl5pPr marL="1012520" indent="-1012520" algn="l" defTabSz="514361" rtl="0" eaLnBrk="1" latinLnBrk="0" hangingPunct="1">
        <a:spcBef>
          <a:spcPts val="169"/>
        </a:spcBef>
        <a:buFont typeface="Arial" pitchFamily="34" charset="0"/>
        <a:buNone/>
        <a:defRPr sz="900" kern="1200">
          <a:solidFill>
            <a:schemeClr val="tx2"/>
          </a:solidFill>
          <a:latin typeface="+mn-lt"/>
          <a:ea typeface="+mn-ea"/>
          <a:cs typeface="+mn-cs"/>
        </a:defRPr>
      </a:lvl5pPr>
      <a:lvl6pPr marL="1414491" indent="-128590" algn="l" defTabSz="514361"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71" indent="-128590" algn="l" defTabSz="514361"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51" indent="-128590" algn="l" defTabSz="514361"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6031" indent="-128590" algn="l" defTabSz="514361"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61" rtl="0" eaLnBrk="1" latinLnBrk="0" hangingPunct="1">
        <a:defRPr sz="1013" kern="1200">
          <a:solidFill>
            <a:schemeClr val="tx1"/>
          </a:solidFill>
          <a:latin typeface="+mn-lt"/>
          <a:ea typeface="+mn-ea"/>
          <a:cs typeface="+mn-cs"/>
        </a:defRPr>
      </a:lvl1pPr>
      <a:lvl2pPr marL="257180" algn="l" defTabSz="514361" rtl="0" eaLnBrk="1" latinLnBrk="0" hangingPunct="1">
        <a:defRPr sz="1013" kern="1200">
          <a:solidFill>
            <a:schemeClr val="tx1"/>
          </a:solidFill>
          <a:latin typeface="+mn-lt"/>
          <a:ea typeface="+mn-ea"/>
          <a:cs typeface="+mn-cs"/>
        </a:defRPr>
      </a:lvl2pPr>
      <a:lvl3pPr marL="514361" algn="l" defTabSz="514361" rtl="0" eaLnBrk="1" latinLnBrk="0" hangingPunct="1">
        <a:defRPr sz="1013" kern="1200">
          <a:solidFill>
            <a:schemeClr val="tx1"/>
          </a:solidFill>
          <a:latin typeface="+mn-lt"/>
          <a:ea typeface="+mn-ea"/>
          <a:cs typeface="+mn-cs"/>
        </a:defRPr>
      </a:lvl3pPr>
      <a:lvl4pPr marL="771541" algn="l" defTabSz="514361" rtl="0" eaLnBrk="1" latinLnBrk="0" hangingPunct="1">
        <a:defRPr sz="1013" kern="1200">
          <a:solidFill>
            <a:schemeClr val="tx1"/>
          </a:solidFill>
          <a:latin typeface="+mn-lt"/>
          <a:ea typeface="+mn-ea"/>
          <a:cs typeface="+mn-cs"/>
        </a:defRPr>
      </a:lvl4pPr>
      <a:lvl5pPr marL="1028720" algn="l" defTabSz="514361" rtl="0" eaLnBrk="1" latinLnBrk="0" hangingPunct="1">
        <a:defRPr sz="1013" kern="1200">
          <a:solidFill>
            <a:schemeClr val="tx1"/>
          </a:solidFill>
          <a:latin typeface="+mn-lt"/>
          <a:ea typeface="+mn-ea"/>
          <a:cs typeface="+mn-cs"/>
        </a:defRPr>
      </a:lvl5pPr>
      <a:lvl6pPr marL="1285901" algn="l" defTabSz="514361" rtl="0" eaLnBrk="1" latinLnBrk="0" hangingPunct="1">
        <a:defRPr sz="1013" kern="1200">
          <a:solidFill>
            <a:schemeClr val="tx1"/>
          </a:solidFill>
          <a:latin typeface="+mn-lt"/>
          <a:ea typeface="+mn-ea"/>
          <a:cs typeface="+mn-cs"/>
        </a:defRPr>
      </a:lvl6pPr>
      <a:lvl7pPr marL="1543081" algn="l" defTabSz="514361" rtl="0" eaLnBrk="1" latinLnBrk="0" hangingPunct="1">
        <a:defRPr sz="1013" kern="1200">
          <a:solidFill>
            <a:schemeClr val="tx1"/>
          </a:solidFill>
          <a:latin typeface="+mn-lt"/>
          <a:ea typeface="+mn-ea"/>
          <a:cs typeface="+mn-cs"/>
        </a:defRPr>
      </a:lvl7pPr>
      <a:lvl8pPr marL="1800261" algn="l" defTabSz="514361" rtl="0" eaLnBrk="1" latinLnBrk="0" hangingPunct="1">
        <a:defRPr sz="1013" kern="1200">
          <a:solidFill>
            <a:schemeClr val="tx1"/>
          </a:solidFill>
          <a:latin typeface="+mn-lt"/>
          <a:ea typeface="+mn-ea"/>
          <a:cs typeface="+mn-cs"/>
        </a:defRPr>
      </a:lvl8pPr>
      <a:lvl9pPr marL="2057441" algn="l" defTabSz="514361" rtl="0" eaLnBrk="1" latinLnBrk="0" hangingPunct="1">
        <a:defRPr sz="101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7194" name="think-cell Slide" r:id="rId32" imgW="360" imgH="360" progId="">
              <p:embed/>
            </p:oleObj>
          </a:graphicData>
        </a:graphic>
      </p:graphicFrame>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pic>
        <p:nvPicPr>
          <p:cNvPr id="12" name="Picture 11"/>
          <p:cNvPicPr>
            <a:picLocks noChangeAspect="1"/>
          </p:cNvPicPr>
          <p:nvPr userDrawn="1"/>
        </p:nvPicPr>
        <p:blipFill>
          <a:blip r:embed="rId33" cstate="email">
            <a:extLst>
              <a:ext uri="{28A0092B-C50C-407E-A947-70E740481C1C}">
                <a14:useLocalDpi xmlns:a14="http://schemas.microsoft.com/office/drawing/2010/main" xmlns=""/>
              </a:ext>
            </a:extLst>
          </a:blip>
          <a:stretch>
            <a:fillRect/>
          </a:stretch>
        </p:blipFill>
        <p:spPr>
          <a:xfrm>
            <a:off x="251520" y="6381329"/>
            <a:ext cx="927518" cy="288032"/>
          </a:xfrm>
          <a:prstGeom prst="rect">
            <a:avLst/>
          </a:prstGeom>
        </p:spPr>
      </p:pic>
    </p:spTree>
    <p:extLst>
      <p:ext uri="{BB962C8B-B14F-4D97-AF65-F5344CB8AC3E}">
        <p14:creationId xmlns:p14="http://schemas.microsoft.com/office/powerpoint/2010/main" xmlns="" val="1607799632"/>
      </p:ext>
    </p:extLst>
  </p:cSld>
  <p:clrMap bg1="lt1" tx1="dk1" bg2="lt2" tx2="dk2" accent1="accent1" accent2="accent2" accent3="accent3" accent4="accent4" accent5="accent5" accent6="accent6" hlink="hlink" folHlink="folHlink"/>
  <p:sldLayoutIdLst>
    <p:sldLayoutId id="2147484888" r:id="rId1"/>
    <p:sldLayoutId id="2147484889" r:id="rId2"/>
    <p:sldLayoutId id="2147484890" r:id="rId3"/>
    <p:sldLayoutId id="2147484891" r:id="rId4"/>
    <p:sldLayoutId id="2147484892" r:id="rId5"/>
    <p:sldLayoutId id="2147484893" r:id="rId6"/>
    <p:sldLayoutId id="2147484894" r:id="rId7"/>
    <p:sldLayoutId id="2147484895" r:id="rId8"/>
    <p:sldLayoutId id="2147484896" r:id="rId9"/>
    <p:sldLayoutId id="2147484897" r:id="rId10"/>
    <p:sldLayoutId id="2147484898" r:id="rId11"/>
    <p:sldLayoutId id="2147484899" r:id="rId12"/>
    <p:sldLayoutId id="2147484900" r:id="rId13"/>
    <p:sldLayoutId id="2147484901" r:id="rId14"/>
    <p:sldLayoutId id="2147484902" r:id="rId15"/>
    <p:sldLayoutId id="2147484903" r:id="rId16"/>
    <p:sldLayoutId id="2147484904" r:id="rId17"/>
    <p:sldLayoutId id="2147484905" r:id="rId18"/>
    <p:sldLayoutId id="2147484906" r:id="rId19"/>
    <p:sldLayoutId id="2147484907" r:id="rId20"/>
    <p:sldLayoutId id="2147484908" r:id="rId21"/>
    <p:sldLayoutId id="2147484909" r:id="rId22"/>
    <p:sldLayoutId id="2147484910" r:id="rId23"/>
    <p:sldLayoutId id="2147484911" r:id="rId24"/>
    <p:sldLayoutId id="2147484912" r:id="rId25"/>
    <p:sldLayoutId id="2147484913" r:id="rId26"/>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 y="0"/>
          <a:ext cx="158750" cy="158750"/>
        </p:xfrm>
        <a:graphic>
          <a:graphicData uri="http://schemas.openxmlformats.org/presentationml/2006/ole">
            <p:oleObj spid="_x0000_s8218" name="think-cell Slide" r:id="rId16" imgW="360" imgH="360" progId="">
              <p:embed/>
            </p:oleObj>
          </a:graphicData>
        </a:graphic>
      </p:graphicFrame>
      <p:pic>
        <p:nvPicPr>
          <p:cNvPr id="9" name="Picture 8"/>
          <p:cNvPicPr>
            <a:picLocks noChangeAspect="1"/>
          </p:cNvPicPr>
          <p:nvPr>
            <p:custDataLst>
              <p:tags r:id="rId13"/>
            </p:custDataLst>
          </p:nvPr>
        </p:nvPicPr>
        <p:blipFill rotWithShape="1">
          <a:blip r:embed="rId17" cstate="print">
            <a:extLst>
              <a:ext uri="{28A0092B-C50C-407E-A947-70E740481C1C}">
                <a14:useLocalDpi xmlns:a14="http://schemas.microsoft.com/office/drawing/2010/main" xmlns="" val="0"/>
              </a:ext>
            </a:extLst>
          </a:blip>
          <a:srcRect/>
          <a:stretch/>
        </p:blipFill>
        <p:spPr>
          <a:xfrm>
            <a:off x="0" y="740233"/>
            <a:ext cx="9144000" cy="377371"/>
          </a:xfrm>
          <a:prstGeom prst="rect">
            <a:avLst/>
          </a:prstGeom>
        </p:spPr>
      </p:pic>
      <p:sp>
        <p:nvSpPr>
          <p:cNvPr id="2" name="Title Placeholder 1"/>
          <p:cNvSpPr>
            <a:spLocks noGrp="1"/>
          </p:cNvSpPr>
          <p:nvPr>
            <p:ph type="title"/>
            <p:custDataLst>
              <p:tags r:id="rId14"/>
            </p:custDataLst>
          </p:nvPr>
        </p:nvSpPr>
        <p:spPr>
          <a:xfrm>
            <a:off x="295276"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15"/>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pic>
        <p:nvPicPr>
          <p:cNvPr id="13" name="Picture 107" descr="C:\Users\Conny\Desktop\WCG\WCG - Logo\PNG\Logos blue\WCG - Logo - General - Blue.png"/>
          <p:cNvPicPr>
            <a:picLocks noChangeAspect="1" noChangeArrowheads="1"/>
          </p:cNvPicPr>
          <p:nvPr/>
        </p:nvPicPr>
        <p:blipFill>
          <a:blip r:embed="rId18" cstate="print">
            <a:extLst>
              <a:ext uri="{28A0092B-C50C-407E-A947-70E740481C1C}">
                <a14:useLocalDpi xmlns:a14="http://schemas.microsoft.com/office/drawing/2010/main" xmlns="" val="0"/>
              </a:ext>
            </a:extLst>
          </a:blip>
          <a:srcRect/>
          <a:stretch>
            <a:fillRect/>
          </a:stretch>
        </p:blipFill>
        <p:spPr bwMode="auto">
          <a:xfrm>
            <a:off x="96869" y="6424383"/>
            <a:ext cx="913396"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161250381"/>
      </p:ext>
    </p:extLst>
  </p:cSld>
  <p:clrMap bg1="lt1" tx1="dk1" bg2="lt2" tx2="dk2" accent1="accent1" accent2="accent2" accent3="accent3" accent4="accent4" accent5="accent5" accent6="accent6" hlink="hlink" folHlink="folHlink"/>
  <p:sldLayoutIdLst>
    <p:sldLayoutId id="2147484940" r:id="rId1"/>
    <p:sldLayoutId id="2147484941" r:id="rId2"/>
    <p:sldLayoutId id="2147484942" r:id="rId3"/>
    <p:sldLayoutId id="2147484943" r:id="rId4"/>
    <p:sldLayoutId id="2147484944" r:id="rId5"/>
    <p:sldLayoutId id="2147484945" r:id="rId6"/>
    <p:sldLayoutId id="2147484946" r:id="rId7"/>
    <p:sldLayoutId id="2147484947" r:id="rId8"/>
    <p:sldLayoutId id="2147484948" r:id="rId9"/>
    <p:sldLayoutId id="2147484949" r:id="rId10"/>
  </p:sldLayoutIdLst>
  <p:txStyles>
    <p:titleStyle>
      <a:lvl1pPr algn="l" defTabSz="685800"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19"/>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117EAB90-2883-4BF5-B9FC-7001720FEEE6}"/>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94711034-53B6-47BB-BAFD-125024A4F3D5}"/>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2EA1DD9C-D1A7-49A1-87F3-EB1AA20FBB39}"/>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2D10988C-77FE-486A-9A1A-093B26723D17}" type="datetimeFigureOut">
              <a:rPr lang="en-US" smtClean="0">
                <a:solidFill>
                  <a:prstClr val="black">
                    <a:tint val="75000"/>
                  </a:prstClr>
                </a:solidFill>
              </a:rPr>
              <a:pPr/>
              <a:t>2/3/2021</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xmlns="" id="{1B7C389D-6F08-467C-B0A2-88BCBD8D355F}"/>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xmlns="" id="{5B3A95D0-E2A5-481B-82D4-75710AECA565}"/>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C5559059-0FB8-44D9-B59D-F3BB29F483F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xmlns="" val="3036600403"/>
      </p:ext>
    </p:extLst>
  </p:cSld>
  <p:clrMap bg1="lt1" tx1="dk1" bg2="lt2" tx2="dk2" accent1="accent1" accent2="accent2" accent3="accent3" accent4="accent4" accent5="accent5" accent6="accent6" hlink="hlink" folHlink="folHlink"/>
  <p:sldLayoutIdLst>
    <p:sldLayoutId id="2147484951" r:id="rId1"/>
    <p:sldLayoutId id="2147484952" r:id="rId2"/>
    <p:sldLayoutId id="2147484953" r:id="rId3"/>
    <p:sldLayoutId id="2147484954" r:id="rId4"/>
    <p:sldLayoutId id="2147484955" r:id="rId5"/>
    <p:sldLayoutId id="2147484956" r:id="rId6"/>
    <p:sldLayoutId id="2147484957" r:id="rId7"/>
    <p:sldLayoutId id="2147484958" r:id="rId8"/>
    <p:sldLayoutId id="2147484959" r:id="rId9"/>
    <p:sldLayoutId id="2147484960" r:id="rId10"/>
    <p:sldLayoutId id="2147484961" r:id="rId11"/>
    <p:sldLayoutId id="2147485251"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787.xml"/></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84.xml"/></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84.xml"/></Relationships>
</file>

<file path=ppt/slides/_rels/slide1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186.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jpe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24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7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9.xml"/></Relationships>
</file>

<file path=ppt/slides/_rels/slide1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22.xml"/></Relationships>
</file>

<file path=ppt/slides/_rels/slide1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6.xml"/></Relationships>
</file>

<file path=ppt/slides/_rels/slide1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2.xml.rels><?xml version="1.0" encoding="UTF-8" standalone="yes"?>
<Relationships xmlns="http://schemas.openxmlformats.org/package/2006/relationships"><Relationship Id="rId3" Type="http://schemas.openxmlformats.org/officeDocument/2006/relationships/hyperlink" Target="https://app.powerbi.com/groups/a4925890-3371-4d05-9a92-4bc9f0a735c3/reports/c896c310-23af-4c10-bb52-693a3887e4d8/ReportSection8a41c31243a2e621d233?pbi_source=PowerPoint" TargetMode="External"/><Relationship Id="rId2" Type="http://schemas.openxmlformats.org/officeDocument/2006/relationships/notesSlide" Target="../notesSlides/notesSlide6.xml"/><Relationship Id="rId1" Type="http://schemas.openxmlformats.org/officeDocument/2006/relationships/slideLayout" Target="../slideLayouts/slideLayout386.xml"/><Relationship Id="rId4" Type="http://schemas.openxmlformats.org/officeDocument/2006/relationships/image" Target="../media/image45.png"/></Relationships>
</file>

<file path=ppt/slides/_rels/slide23.xml.rels><?xml version="1.0" encoding="UTF-8" standalone="yes"?>
<Relationships xmlns="http://schemas.openxmlformats.org/package/2006/relationships"><Relationship Id="rId3" Type="http://schemas.openxmlformats.org/officeDocument/2006/relationships/hyperlink" Target="https://app.powerbi.com/groups/a4925890-3371-4d05-9a92-4bc9f0a735c3/reports/c896c310-23af-4c10-bb52-693a3887e4d8/ReportSection61e5604335ea0310b520?pbi_source=PowerPoint" TargetMode="External"/><Relationship Id="rId2" Type="http://schemas.openxmlformats.org/officeDocument/2006/relationships/notesSlide" Target="../notesSlides/notesSlide7.xml"/><Relationship Id="rId1" Type="http://schemas.openxmlformats.org/officeDocument/2006/relationships/slideLayout" Target="../slideLayouts/slideLayout386.xml"/><Relationship Id="rId4" Type="http://schemas.openxmlformats.org/officeDocument/2006/relationships/image" Target="../media/image46.png"/></Relationships>
</file>

<file path=ppt/slides/_rels/slide2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33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6.xml.rels><?xml version="1.0" encoding="UTF-8" standalone="yes"?>
<Relationships xmlns="http://schemas.openxmlformats.org/package/2006/relationships"><Relationship Id="rId2" Type="http://schemas.openxmlformats.org/officeDocument/2006/relationships/hyperlink" Target="http://www.bloomberg.com/" TargetMode="External"/><Relationship Id="rId1" Type="http://schemas.openxmlformats.org/officeDocument/2006/relationships/slideLayout" Target="../slideLayouts/slideLayout46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86.xml"/></Relationships>
</file>

<file path=ppt/slides/_rels/slide2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488.xml"/><Relationship Id="rId6" Type="http://schemas.openxmlformats.org/officeDocument/2006/relationships/image" Target="../media/image51.svg"/><Relationship Id="rId5" Type="http://schemas.openxmlformats.org/officeDocument/2006/relationships/image" Target="../media/image49.png"/><Relationship Id="rId4" Type="http://schemas.openxmlformats.org/officeDocument/2006/relationships/image" Target="../media/image49.svg"/></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7.png"/><Relationship Id="rId1" Type="http://schemas.openxmlformats.org/officeDocument/2006/relationships/slideLayout" Target="../slideLayouts/slideLayout488.xml"/><Relationship Id="rId4" Type="http://schemas.openxmlformats.org/officeDocument/2006/relationships/image" Target="../media/image51.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63.xml"/></Relationships>
</file>

<file path=ppt/slides/_rels/slide3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Layout" Target="../slideLayouts/slideLayout463.xml"/></Relationships>
</file>

<file path=ppt/slides/_rels/slide3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8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86.xml"/></Relationships>
</file>

<file path=ppt/slides/_rels/slide34.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Layout" Target="../slideLayouts/slideLayout48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8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8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00.xml"/></Relationships>
</file>

<file path=ppt/slides/_rels/slide38.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1.png"/><Relationship Id="rId3" Type="http://schemas.openxmlformats.org/officeDocument/2006/relationships/image" Target="../media/image55.png"/><Relationship Id="rId7" Type="http://schemas.microsoft.com/office/2007/relationships/hdphoto" Target="../media/hdphoto2.wdp"/><Relationship Id="rId12" Type="http://schemas.microsoft.com/office/2007/relationships/hdphoto" Target="../media/hdphoto4.wdp"/><Relationship Id="rId2" Type="http://schemas.openxmlformats.org/officeDocument/2006/relationships/image" Target="../media/image54.png"/><Relationship Id="rId1" Type="http://schemas.openxmlformats.org/officeDocument/2006/relationships/slideLayout" Target="../slideLayouts/slideLayout500.xml"/><Relationship Id="rId6" Type="http://schemas.openxmlformats.org/officeDocument/2006/relationships/image" Target="../media/image57.png"/><Relationship Id="rId11" Type="http://schemas.openxmlformats.org/officeDocument/2006/relationships/image" Target="../media/image60.png"/><Relationship Id="rId5" Type="http://schemas.openxmlformats.org/officeDocument/2006/relationships/image" Target="../media/image56.png"/><Relationship Id="rId15" Type="http://schemas.openxmlformats.org/officeDocument/2006/relationships/image" Target="../media/image62.png"/><Relationship Id="rId10" Type="http://schemas.microsoft.com/office/2007/relationships/hdphoto" Target="../media/hdphoto3.wdp"/><Relationship Id="rId4" Type="http://schemas.microsoft.com/office/2007/relationships/hdphoto" Target="../media/hdphoto1.wdp"/><Relationship Id="rId9" Type="http://schemas.openxmlformats.org/officeDocument/2006/relationships/image" Target="../media/image59.png"/><Relationship Id="rId14" Type="http://schemas.microsoft.com/office/2007/relationships/hdphoto" Target="../media/hdphoto5.wdp"/></Relationships>
</file>

<file path=ppt/slides/_rels/slide39.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diagramLayout" Target="../diagrams/layout1.xml"/><Relationship Id="rId7" Type="http://schemas.openxmlformats.org/officeDocument/2006/relationships/image" Target="../media/image63.png"/><Relationship Id="rId2" Type="http://schemas.openxmlformats.org/officeDocument/2006/relationships/diagramData" Target="../diagrams/data1.xml"/><Relationship Id="rId1" Type="http://schemas.openxmlformats.org/officeDocument/2006/relationships/slideLayout" Target="../slideLayouts/slideLayout73.xml"/><Relationship Id="rId6" Type="http://schemas.microsoft.com/office/2007/relationships/diagramDrawing" Target="../diagrams/drawing1.xml"/><Relationship Id="rId5" Type="http://schemas.openxmlformats.org/officeDocument/2006/relationships/diagramColors" Target="../diagrams/colors1.xml"/><Relationship Id="rId10" Type="http://schemas.openxmlformats.org/officeDocument/2006/relationships/image" Target="../media/image66.png"/><Relationship Id="rId4" Type="http://schemas.openxmlformats.org/officeDocument/2006/relationships/diagramQuickStyle" Target="../diagrams/quickStyle1.xml"/><Relationship Id="rId9" Type="http://schemas.openxmlformats.org/officeDocument/2006/relationships/image" Target="../media/image65.png"/></Relationships>
</file>

<file path=ppt/slides/_rels/slide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7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67.png"/><Relationship Id="rId2" Type="http://schemas.openxmlformats.org/officeDocument/2006/relationships/diagramData" Target="../diagrams/data2.xml"/><Relationship Id="rId1" Type="http://schemas.openxmlformats.org/officeDocument/2006/relationships/slideLayout" Target="../slideLayouts/slideLayout37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7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5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5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5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5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5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5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54.xml"/></Relationships>
</file>

<file path=ppt/slides/_rels/slide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chart" Target="../charts/chart4.xml"/><Relationship Id="rId1" Type="http://schemas.openxmlformats.org/officeDocument/2006/relationships/slideLayout" Target="../slideLayouts/slideLayout50.xml"/><Relationship Id="rId4" Type="http://schemas.openxmlformats.org/officeDocument/2006/relationships/image" Target="../media/image69.png"/></Relationships>
</file>

<file path=ppt/slides/_rels/slide5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73.xml"/><Relationship Id="rId5" Type="http://schemas.openxmlformats.org/officeDocument/2006/relationships/image" Target="../media/image73.png"/><Relationship Id="rId4" Type="http://schemas.openxmlformats.org/officeDocument/2006/relationships/image" Target="../media/image72.png"/></Relationships>
</file>

<file path=ppt/slides/_rels/slide5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511.xml"/><Relationship Id="rId5" Type="http://schemas.openxmlformats.org/officeDocument/2006/relationships/image" Target="../media/image77.png"/><Relationship Id="rId4" Type="http://schemas.openxmlformats.org/officeDocument/2006/relationships/image" Target="../media/image76.png"/></Relationships>
</file>

<file path=ppt/slides/_rels/slide5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hyperlink" Target="https://coronavirus.westerncape.gov.za/covid-19-vaccination" TargetMode="External"/><Relationship Id="rId1" Type="http://schemas.openxmlformats.org/officeDocument/2006/relationships/slideLayout" Target="../slideLayouts/slideLayout510.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81.svg"/></Relationships>
</file>

<file path=ppt/slides/_rels/slide5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81.png"/><Relationship Id="rId1" Type="http://schemas.openxmlformats.org/officeDocument/2006/relationships/slideLayout" Target="../slideLayouts/slideLayout510.xml"/><Relationship Id="rId5" Type="http://schemas.openxmlformats.org/officeDocument/2006/relationships/image" Target="../media/image82.png"/><Relationship Id="rId4" Type="http://schemas.openxmlformats.org/officeDocument/2006/relationships/image" Target="../media/image81.sv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7.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77.xml"/><Relationship Id="rId5" Type="http://schemas.openxmlformats.org/officeDocument/2006/relationships/image" Target="../media/image2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184.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9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1489"/>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883038" y="3089296"/>
            <a:ext cx="7776864" cy="679407"/>
          </a:xfrm>
        </p:spPr>
        <p:txBody>
          <a:bodyPr>
            <a:normAutofit/>
          </a:bodyPr>
          <a:lstStyle/>
          <a:p>
            <a:r>
              <a:rPr lang="en-GB" b="1" dirty="0" err="1"/>
              <a:t>Adhoc</a:t>
            </a:r>
            <a:r>
              <a:rPr lang="en-GB" b="1" dirty="0"/>
              <a:t> Committee on Covid-19</a:t>
            </a:r>
          </a:p>
        </p:txBody>
      </p:sp>
      <p:sp>
        <p:nvSpPr>
          <p:cNvPr id="8" name="Text Placeholder 7"/>
          <p:cNvSpPr>
            <a:spLocks noGrp="1"/>
          </p:cNvSpPr>
          <p:nvPr>
            <p:ph type="body" sz="quarter" idx="11"/>
          </p:nvPr>
        </p:nvSpPr>
        <p:spPr>
          <a:xfrm>
            <a:off x="4663475" y="3861048"/>
            <a:ext cx="3960440" cy="1296144"/>
          </a:xfrm>
        </p:spPr>
        <p:txBody>
          <a:bodyPr>
            <a:normAutofit/>
          </a:bodyPr>
          <a:lstStyle/>
          <a:p>
            <a:pPr marL="0" indent="0" defTabSz="914400" rtl="0" eaLnBrk="1" latinLnBrk="0" hangingPunct="1">
              <a:spcBef>
                <a:spcPts val="300"/>
              </a:spcBef>
              <a:buFont typeface="Arial" pitchFamily="34" charset="0"/>
              <a:buNone/>
            </a:pPr>
            <a:r>
              <a:rPr lang="en-GB" sz="1600" dirty="0"/>
              <a:t>Health Update</a:t>
            </a:r>
          </a:p>
          <a:p>
            <a:pPr marL="0" indent="0" defTabSz="914400" rtl="0" eaLnBrk="1" latinLnBrk="0" hangingPunct="1">
              <a:spcBef>
                <a:spcPts val="300"/>
              </a:spcBef>
              <a:buFont typeface="Arial" pitchFamily="34" charset="0"/>
              <a:buNone/>
            </a:pPr>
            <a:endParaRPr lang="en-GB" sz="1600" dirty="0"/>
          </a:p>
          <a:p>
            <a:pPr marL="0" indent="0" defTabSz="914400" rtl="0" eaLnBrk="1" latinLnBrk="0" hangingPunct="1">
              <a:spcBef>
                <a:spcPts val="300"/>
              </a:spcBef>
              <a:buFont typeface="Arial" pitchFamily="34" charset="0"/>
              <a:buNone/>
            </a:pPr>
            <a:r>
              <a:rPr lang="en-GB" sz="1600" dirty="0"/>
              <a:t>Dr K Cloete </a:t>
            </a:r>
          </a:p>
        </p:txBody>
      </p:sp>
      <p:sp>
        <p:nvSpPr>
          <p:cNvPr id="13" name="Date Placeholder 12"/>
          <p:cNvSpPr>
            <a:spLocks noGrp="1"/>
          </p:cNvSpPr>
          <p:nvPr>
            <p:ph type="dt" sz="half" idx="2"/>
          </p:nvPr>
        </p:nvSpPr>
        <p:spPr>
          <a:xfrm>
            <a:off x="6872273" y="5415022"/>
            <a:ext cx="1800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entury Gothic"/>
                <a:ea typeface="+mn-ea"/>
                <a:cs typeface="+mn-cs"/>
              </a:rPr>
              <a:t>3</a:t>
            </a:r>
            <a:r>
              <a:rPr kumimoji="0" lang="en-US" sz="1200" b="0" i="0" u="none" strike="noStrike" kern="1200" cap="none" spc="0" normalizeH="0" baseline="30000" noProof="0" dirty="0">
                <a:ln>
                  <a:noFill/>
                </a:ln>
                <a:solidFill>
                  <a:prstClr val="white"/>
                </a:solidFill>
                <a:effectLst/>
                <a:uLnTx/>
                <a:uFillTx/>
                <a:latin typeface="Century Gothic"/>
                <a:ea typeface="+mn-ea"/>
                <a:cs typeface="+mn-cs"/>
              </a:rPr>
              <a:t>rd</a:t>
            </a:r>
            <a:r>
              <a:rPr kumimoji="0" lang="en-US" sz="1200" b="0" i="0" u="none" strike="noStrike" kern="1200" cap="none" spc="0" normalizeH="0" baseline="0" noProof="0" dirty="0">
                <a:ln>
                  <a:noFill/>
                </a:ln>
                <a:solidFill>
                  <a:prstClr val="white"/>
                </a:solidFill>
                <a:effectLst/>
                <a:uLnTx/>
                <a:uFillTx/>
                <a:latin typeface="Century Gothic"/>
                <a:ea typeface="+mn-ea"/>
                <a:cs typeface="+mn-cs"/>
              </a:rPr>
              <a:t> February 2021 </a:t>
            </a:r>
            <a:endParaRPr kumimoji="0" lang="en-GB" sz="1200" b="0" i="0" u="none" strike="noStrike" kern="1200" cap="none" spc="0" normalizeH="0" baseline="0" noProof="0" dirty="0">
              <a:ln>
                <a:noFill/>
              </a:ln>
              <a:solidFill>
                <a:prstClr val="white"/>
              </a:solidFill>
              <a:effectLst/>
              <a:uLnTx/>
              <a:uFillTx/>
              <a:latin typeface="Century Gothic"/>
              <a:ea typeface="+mn-ea"/>
              <a:cs typeface="+mn-cs"/>
            </a:endParaRPr>
          </a:p>
        </p:txBody>
      </p:sp>
    </p:spTree>
    <p:custDataLst>
      <p:tags r:id="rId1"/>
    </p:custDataLst>
    <p:extLst>
      <p:ext uri="{BB962C8B-B14F-4D97-AF65-F5344CB8AC3E}">
        <p14:creationId xmlns:p14="http://schemas.microsoft.com/office/powerpoint/2010/main" xmlns="" val="27469736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46" name="Rectangle 45">
            <a:extLst>
              <a:ext uri="{FF2B5EF4-FFF2-40B4-BE49-F238E27FC236}">
                <a16:creationId xmlns:a16="http://schemas.microsoft.com/office/drawing/2014/main" xmlns="" id="{9B76D444-2756-434F-AE61-96D69830C13E}"/>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xmlns="" id="{A27B6159-7734-4564-9E0F-C4BC43C36E52}"/>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bwMode="ltGray">
          <a:xfrm>
            <a:off x="241173" y="4782312"/>
            <a:ext cx="8661654" cy="1755648"/>
          </a:xfrm>
          <a:prstGeom prst="rect">
            <a:avLst/>
          </a:prstGeom>
          <a:solidFill>
            <a:schemeClr val="tx1">
              <a:alpha val="93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Title 3">
            <a:extLst>
              <a:ext uri="{FF2B5EF4-FFF2-40B4-BE49-F238E27FC236}">
                <a16:creationId xmlns:a16="http://schemas.microsoft.com/office/drawing/2014/main" xmlns="" id="{06EC7DFA-AC8F-4349-B77F-69A75628C158}"/>
              </a:ext>
            </a:extLst>
          </p:cNvPr>
          <p:cNvSpPr>
            <a:spLocks noGrp="1"/>
          </p:cNvSpPr>
          <p:nvPr>
            <p:ph type="title"/>
          </p:nvPr>
        </p:nvSpPr>
        <p:spPr>
          <a:xfrm>
            <a:off x="630936" y="5009083"/>
            <a:ext cx="2167128" cy="1345997"/>
          </a:xfrm>
        </p:spPr>
        <p:txBody>
          <a:bodyPr vert="horz" lIns="91440" tIns="45720" rIns="91440" bIns="45720" rtlCol="0" anchor="ctr">
            <a:normAutofit/>
          </a:bodyPr>
          <a:lstStyle/>
          <a:p>
            <a:pPr defTabSz="914400"/>
            <a:r>
              <a:rPr lang="en-US" sz="2300" b="1" dirty="0">
                <a:solidFill>
                  <a:schemeClr val="bg1"/>
                </a:solidFill>
              </a:rPr>
              <a:t>Metro Overview</a:t>
            </a:r>
          </a:p>
        </p:txBody>
      </p:sp>
      <p:cxnSp>
        <p:nvCxnSpPr>
          <p:cNvPr id="50" name="Straight Connector 49">
            <a:extLst>
              <a:ext uri="{FF2B5EF4-FFF2-40B4-BE49-F238E27FC236}">
                <a16:creationId xmlns:a16="http://schemas.microsoft.com/office/drawing/2014/main" xmlns="" id="{E2FFB46B-05BC-4950-B18A-9593FDAE6ED7}"/>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xmlns="" val="1"/>
              </p:ext>
            </p:extLst>
          </p:nvPr>
        </p:nvCxnSpPr>
        <p:spPr>
          <a:xfrm flipV="1">
            <a:off x="3044952" y="5237979"/>
            <a:ext cx="0" cy="914400"/>
          </a:xfrm>
          <a:prstGeom prst="line">
            <a:avLst/>
          </a:prstGeom>
          <a:ln w="190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xmlns="" id="{539C89D7-C86C-4E32-BCE8-D5B1E5C0B2A3}"/>
              </a:ext>
            </a:extLst>
          </p:cNvPr>
          <p:cNvSpPr txBox="1"/>
          <p:nvPr/>
        </p:nvSpPr>
        <p:spPr>
          <a:xfrm>
            <a:off x="3183948" y="5009083"/>
            <a:ext cx="5232654" cy="1345997"/>
          </a:xfrm>
          <a:prstGeom prst="rect">
            <a:avLst/>
          </a:prstGeom>
        </p:spPr>
        <p:txBody>
          <a:bodyPr vert="horz" lIns="91440" tIns="45720" rIns="91440" bIns="45720" rtlCol="0" anchor="ctr">
            <a:normAutofit/>
          </a:bodyPr>
          <a:lstStyle/>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Cases in the Metro decreased by 46% from 22-29 January 2021.</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All sub-districts show a marked decrease in cases as the Metro approaches levels seen before the second wave. </a:t>
            </a:r>
          </a:p>
        </p:txBody>
      </p:sp>
      <p:pic>
        <p:nvPicPr>
          <p:cNvPr id="3" name="Picture 2">
            <a:extLst>
              <a:ext uri="{FF2B5EF4-FFF2-40B4-BE49-F238E27FC236}">
                <a16:creationId xmlns:a16="http://schemas.microsoft.com/office/drawing/2014/main" xmlns="" id="{EA61ECEE-F515-4EC3-8E26-73AF7052EA59}"/>
              </a:ext>
            </a:extLst>
          </p:cNvPr>
          <p:cNvPicPr>
            <a:picLocks noChangeAspect="1"/>
          </p:cNvPicPr>
          <p:nvPr/>
        </p:nvPicPr>
        <p:blipFill>
          <a:blip r:embed="rId2" cstate="print"/>
          <a:stretch>
            <a:fillRect/>
          </a:stretch>
        </p:blipFill>
        <p:spPr>
          <a:xfrm>
            <a:off x="241168" y="1"/>
            <a:ext cx="8661655" cy="4782312"/>
          </a:xfrm>
          <a:prstGeom prst="rect">
            <a:avLst/>
          </a:prstGeom>
        </p:spPr>
      </p:pic>
      <p:sp>
        <p:nvSpPr>
          <p:cNvPr id="28" name="TextBox 27">
            <a:extLst>
              <a:ext uri="{FF2B5EF4-FFF2-40B4-BE49-F238E27FC236}">
                <a16:creationId xmlns:a16="http://schemas.microsoft.com/office/drawing/2014/main" xmlns="" id="{8196779E-61F0-48D1-814B-347507D003DC}"/>
              </a:ext>
            </a:extLst>
          </p:cNvPr>
          <p:cNvSpPr txBox="1"/>
          <p:nvPr/>
        </p:nvSpPr>
        <p:spPr>
          <a:xfrm>
            <a:off x="2993253" y="1351925"/>
            <a:ext cx="2140340"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00"/>
                </a:solidFill>
                <a:effectLst/>
                <a:uLnTx/>
                <a:uFillTx/>
                <a:latin typeface="Calibri" panose="020F0502020204030204"/>
                <a:ea typeface="+mn-ea"/>
                <a:cs typeface="+mn-cs"/>
              </a:rPr>
              <a:t>- 46% </a:t>
            </a:r>
            <a:r>
              <a:rPr kumimoji="0" lang="en-US" sz="1400" b="0" i="1" u="none" strike="noStrike" kern="1200" cap="none" spc="0" normalizeH="0" baseline="0" noProof="0" dirty="0">
                <a:ln>
                  <a:noFill/>
                </a:ln>
                <a:solidFill>
                  <a:srgbClr val="FFFF00"/>
                </a:solidFill>
                <a:effectLst/>
                <a:uLnTx/>
                <a:uFillTx/>
                <a:latin typeface="Calibri" panose="020F0502020204030204"/>
                <a:ea typeface="+mn-ea"/>
                <a:cs typeface="+mn-cs"/>
              </a:rPr>
              <a:t>in last wk </a:t>
            </a:r>
            <a:br>
              <a:rPr kumimoji="0" lang="en-US" sz="1400" b="0" i="1" u="none" strike="noStrike" kern="1200" cap="none" spc="0" normalizeH="0" baseline="0" noProof="0" dirty="0">
                <a:ln>
                  <a:noFill/>
                </a:ln>
                <a:solidFill>
                  <a:srgbClr val="FFFF00"/>
                </a:solidFill>
                <a:effectLst/>
                <a:uLnTx/>
                <a:uFillTx/>
                <a:latin typeface="Calibri" panose="020F0502020204030204"/>
                <a:ea typeface="+mn-ea"/>
                <a:cs typeface="+mn-cs"/>
              </a:rPr>
            </a:br>
            <a:r>
              <a:rPr kumimoji="0" lang="en-US" sz="1400" b="0" i="0" u="none" strike="noStrike" kern="1200" cap="none" spc="0" normalizeH="0" baseline="0" noProof="0" dirty="0">
                <a:ln>
                  <a:noFill/>
                </a:ln>
                <a:solidFill>
                  <a:srgbClr val="FFFF00"/>
                </a:solidFill>
                <a:effectLst/>
                <a:uLnTx/>
                <a:uFillTx/>
                <a:latin typeface="Calibri" panose="020F0502020204030204"/>
                <a:ea typeface="+mn-ea"/>
                <a:cs typeface="+mn-cs"/>
              </a:rPr>
              <a:t>(22-29 Ja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FFFF00"/>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xmlns="" id="{CC72AABD-A2C7-4628-8015-8E1BA4A7E9F6}"/>
              </a:ext>
            </a:extLst>
          </p:cNvPr>
          <p:cNvSpPr txBox="1"/>
          <p:nvPr/>
        </p:nvSpPr>
        <p:spPr>
          <a:xfrm>
            <a:off x="788299" y="1083404"/>
            <a:ext cx="5760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00"/>
                </a:solidFill>
                <a:effectLst/>
                <a:uLnTx/>
                <a:uFillTx/>
                <a:latin typeface="Calibri" panose="020F0502020204030204"/>
                <a:ea typeface="+mn-ea"/>
                <a:cs typeface="+mn-cs"/>
              </a:rPr>
              <a:t>-63% </a:t>
            </a:r>
          </a:p>
        </p:txBody>
      </p:sp>
      <p:sp>
        <p:nvSpPr>
          <p:cNvPr id="31" name="TextBox 30">
            <a:extLst>
              <a:ext uri="{FF2B5EF4-FFF2-40B4-BE49-F238E27FC236}">
                <a16:creationId xmlns:a16="http://schemas.microsoft.com/office/drawing/2014/main" xmlns="" id="{8E3A10A7-9A0D-492E-8E06-9EF9EEA4060B}"/>
              </a:ext>
            </a:extLst>
          </p:cNvPr>
          <p:cNvSpPr txBox="1"/>
          <p:nvPr/>
        </p:nvSpPr>
        <p:spPr>
          <a:xfrm>
            <a:off x="755576" y="2464028"/>
            <a:ext cx="5760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00"/>
                </a:solidFill>
                <a:effectLst/>
                <a:uLnTx/>
                <a:uFillTx/>
                <a:latin typeface="Calibri" panose="020F0502020204030204"/>
                <a:ea typeface="+mn-ea"/>
                <a:cs typeface="+mn-cs"/>
              </a:rPr>
              <a:t>-40% </a:t>
            </a:r>
          </a:p>
        </p:txBody>
      </p:sp>
      <p:sp>
        <p:nvSpPr>
          <p:cNvPr id="32" name="TextBox 31">
            <a:extLst>
              <a:ext uri="{FF2B5EF4-FFF2-40B4-BE49-F238E27FC236}">
                <a16:creationId xmlns:a16="http://schemas.microsoft.com/office/drawing/2014/main" xmlns="" id="{97AFECCF-59BF-4C77-ADB8-AC314D883468}"/>
              </a:ext>
            </a:extLst>
          </p:cNvPr>
          <p:cNvSpPr txBox="1"/>
          <p:nvPr/>
        </p:nvSpPr>
        <p:spPr>
          <a:xfrm>
            <a:off x="788299" y="3692346"/>
            <a:ext cx="5760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00"/>
                </a:solidFill>
                <a:effectLst/>
                <a:uLnTx/>
                <a:uFillTx/>
                <a:latin typeface="Calibri" panose="020F0502020204030204"/>
                <a:ea typeface="+mn-ea"/>
                <a:cs typeface="+mn-cs"/>
              </a:rPr>
              <a:t>-49% </a:t>
            </a:r>
          </a:p>
        </p:txBody>
      </p:sp>
      <p:sp>
        <p:nvSpPr>
          <p:cNvPr id="33" name="TextBox 32">
            <a:extLst>
              <a:ext uri="{FF2B5EF4-FFF2-40B4-BE49-F238E27FC236}">
                <a16:creationId xmlns:a16="http://schemas.microsoft.com/office/drawing/2014/main" xmlns="" id="{392201BE-9C01-4AB3-9736-14AB31B136E5}"/>
              </a:ext>
            </a:extLst>
          </p:cNvPr>
          <p:cNvSpPr txBox="1"/>
          <p:nvPr/>
        </p:nvSpPr>
        <p:spPr>
          <a:xfrm>
            <a:off x="2918387" y="3692347"/>
            <a:ext cx="5760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00"/>
                </a:solidFill>
                <a:effectLst/>
                <a:uLnTx/>
                <a:uFillTx/>
                <a:latin typeface="Calibri" panose="020F0502020204030204"/>
                <a:ea typeface="+mn-ea"/>
                <a:cs typeface="+mn-cs"/>
              </a:rPr>
              <a:t>-46% </a:t>
            </a:r>
          </a:p>
        </p:txBody>
      </p:sp>
      <p:sp>
        <p:nvSpPr>
          <p:cNvPr id="34" name="TextBox 33">
            <a:extLst>
              <a:ext uri="{FF2B5EF4-FFF2-40B4-BE49-F238E27FC236}">
                <a16:creationId xmlns:a16="http://schemas.microsoft.com/office/drawing/2014/main" xmlns="" id="{817F5EB4-595E-4280-93A4-4B6D7567D513}"/>
              </a:ext>
            </a:extLst>
          </p:cNvPr>
          <p:cNvSpPr txBox="1"/>
          <p:nvPr/>
        </p:nvSpPr>
        <p:spPr>
          <a:xfrm>
            <a:off x="5048475" y="3692348"/>
            <a:ext cx="5760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00"/>
                </a:solidFill>
                <a:effectLst/>
                <a:uLnTx/>
                <a:uFillTx/>
                <a:latin typeface="Calibri" panose="020F0502020204030204"/>
                <a:ea typeface="+mn-ea"/>
                <a:cs typeface="+mn-cs"/>
              </a:rPr>
              <a:t>-42% </a:t>
            </a:r>
          </a:p>
        </p:txBody>
      </p:sp>
      <p:sp>
        <p:nvSpPr>
          <p:cNvPr id="35" name="TextBox 34">
            <a:extLst>
              <a:ext uri="{FF2B5EF4-FFF2-40B4-BE49-F238E27FC236}">
                <a16:creationId xmlns:a16="http://schemas.microsoft.com/office/drawing/2014/main" xmlns="" id="{4BBD8FF4-90A3-4C02-ACF7-E200DFB9E42A}"/>
              </a:ext>
            </a:extLst>
          </p:cNvPr>
          <p:cNvSpPr txBox="1"/>
          <p:nvPr/>
        </p:nvSpPr>
        <p:spPr>
          <a:xfrm>
            <a:off x="7236296" y="3693727"/>
            <a:ext cx="5760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00"/>
                </a:solidFill>
                <a:effectLst/>
                <a:uLnTx/>
                <a:uFillTx/>
                <a:latin typeface="Calibri" panose="020F0502020204030204"/>
                <a:ea typeface="+mn-ea"/>
                <a:cs typeface="+mn-cs"/>
              </a:rPr>
              <a:t>-48% </a:t>
            </a:r>
          </a:p>
        </p:txBody>
      </p:sp>
      <p:sp>
        <p:nvSpPr>
          <p:cNvPr id="36" name="TextBox 35">
            <a:extLst>
              <a:ext uri="{FF2B5EF4-FFF2-40B4-BE49-F238E27FC236}">
                <a16:creationId xmlns:a16="http://schemas.microsoft.com/office/drawing/2014/main" xmlns="" id="{5B592856-9946-4992-B6F6-E6B8028AB3B3}"/>
              </a:ext>
            </a:extLst>
          </p:cNvPr>
          <p:cNvSpPr txBox="1"/>
          <p:nvPr/>
        </p:nvSpPr>
        <p:spPr>
          <a:xfrm>
            <a:off x="7236296" y="2306648"/>
            <a:ext cx="5760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00"/>
                </a:solidFill>
                <a:effectLst/>
                <a:uLnTx/>
                <a:uFillTx/>
                <a:latin typeface="Calibri" panose="020F0502020204030204"/>
                <a:ea typeface="+mn-ea"/>
                <a:cs typeface="+mn-cs"/>
              </a:rPr>
              <a:t>-49% </a:t>
            </a:r>
          </a:p>
        </p:txBody>
      </p:sp>
      <p:sp>
        <p:nvSpPr>
          <p:cNvPr id="37" name="TextBox 36">
            <a:extLst>
              <a:ext uri="{FF2B5EF4-FFF2-40B4-BE49-F238E27FC236}">
                <a16:creationId xmlns:a16="http://schemas.microsoft.com/office/drawing/2014/main" xmlns="" id="{4C7CB8FA-3298-4CF2-8DAE-6948A4EBD765}"/>
              </a:ext>
            </a:extLst>
          </p:cNvPr>
          <p:cNvSpPr txBox="1"/>
          <p:nvPr/>
        </p:nvSpPr>
        <p:spPr>
          <a:xfrm>
            <a:off x="7236296" y="946765"/>
            <a:ext cx="5760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00"/>
                </a:solidFill>
                <a:effectLst/>
                <a:uLnTx/>
                <a:uFillTx/>
                <a:latin typeface="Calibri" panose="020F0502020204030204"/>
                <a:ea typeface="+mn-ea"/>
                <a:cs typeface="+mn-cs"/>
              </a:rPr>
              <a:t>-43% </a:t>
            </a:r>
          </a:p>
        </p:txBody>
      </p:sp>
    </p:spTree>
    <p:extLst>
      <p:ext uri="{BB962C8B-B14F-4D97-AF65-F5344CB8AC3E}">
        <p14:creationId xmlns:p14="http://schemas.microsoft.com/office/powerpoint/2010/main" xmlns="" val="3833271665"/>
      </p:ext>
    </p:extLst>
  </p:cSld>
  <p:clrMapOvr>
    <a:overrideClrMapping bg1="dk1" tx1="lt1" bg2="dk2" tx2="lt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46" name="Rectangle 45">
            <a:extLst>
              <a:ext uri="{FF2B5EF4-FFF2-40B4-BE49-F238E27FC236}">
                <a16:creationId xmlns:a16="http://schemas.microsoft.com/office/drawing/2014/main" xmlns="" id="{9B76D444-2756-434F-AE61-96D69830C13E}"/>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xmlns="" id="{A27B6159-7734-4564-9E0F-C4BC43C36E52}"/>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bwMode="ltGray">
          <a:xfrm>
            <a:off x="241173" y="4782312"/>
            <a:ext cx="8661654" cy="1755648"/>
          </a:xfrm>
          <a:prstGeom prst="rect">
            <a:avLst/>
          </a:prstGeom>
          <a:solidFill>
            <a:schemeClr val="tx1">
              <a:alpha val="93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Title 3">
            <a:extLst>
              <a:ext uri="{FF2B5EF4-FFF2-40B4-BE49-F238E27FC236}">
                <a16:creationId xmlns:a16="http://schemas.microsoft.com/office/drawing/2014/main" xmlns="" id="{06EC7DFA-AC8F-4349-B77F-69A75628C158}"/>
              </a:ext>
            </a:extLst>
          </p:cNvPr>
          <p:cNvSpPr>
            <a:spLocks noGrp="1"/>
          </p:cNvSpPr>
          <p:nvPr>
            <p:ph type="title"/>
          </p:nvPr>
        </p:nvSpPr>
        <p:spPr>
          <a:xfrm>
            <a:off x="630936" y="5009083"/>
            <a:ext cx="2167128" cy="1345997"/>
          </a:xfrm>
        </p:spPr>
        <p:txBody>
          <a:bodyPr vert="horz" lIns="91440" tIns="45720" rIns="91440" bIns="45720" rtlCol="0" anchor="ctr">
            <a:normAutofit/>
          </a:bodyPr>
          <a:lstStyle/>
          <a:p>
            <a:pPr defTabSz="914400"/>
            <a:r>
              <a:rPr lang="en-US" sz="2300" b="1" dirty="0">
                <a:solidFill>
                  <a:schemeClr val="bg1"/>
                </a:solidFill>
              </a:rPr>
              <a:t>Rural Overview</a:t>
            </a:r>
          </a:p>
        </p:txBody>
      </p:sp>
      <p:cxnSp>
        <p:nvCxnSpPr>
          <p:cNvPr id="50" name="Straight Connector 49">
            <a:extLst>
              <a:ext uri="{FF2B5EF4-FFF2-40B4-BE49-F238E27FC236}">
                <a16:creationId xmlns:a16="http://schemas.microsoft.com/office/drawing/2014/main" xmlns="" id="{E2FFB46B-05BC-4950-B18A-9593FDAE6ED7}"/>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xmlns="" val="1"/>
              </p:ext>
            </p:extLst>
          </p:nvPr>
        </p:nvCxnSpPr>
        <p:spPr>
          <a:xfrm flipV="1">
            <a:off x="3044952" y="5237979"/>
            <a:ext cx="0" cy="914400"/>
          </a:xfrm>
          <a:prstGeom prst="line">
            <a:avLst/>
          </a:prstGeom>
          <a:ln w="190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xmlns="" id="{539C89D7-C86C-4E32-BCE8-D5B1E5C0B2A3}"/>
              </a:ext>
            </a:extLst>
          </p:cNvPr>
          <p:cNvSpPr txBox="1"/>
          <p:nvPr/>
        </p:nvSpPr>
        <p:spPr>
          <a:xfrm>
            <a:off x="3203850" y="4935023"/>
            <a:ext cx="5314930" cy="1572768"/>
          </a:xfrm>
          <a:prstGeom prst="rect">
            <a:avLst/>
          </a:prstGeom>
        </p:spPr>
        <p:txBody>
          <a:bodyPr vert="horz" lIns="91440" tIns="45720" rIns="91440" bIns="45720" rtlCol="0" anchor="ctr">
            <a:normAutofit/>
          </a:bodyPr>
          <a:lstStyle/>
          <a:p>
            <a:pPr marL="5715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Cases in Rural have declined by 41%, and the pattern is repeated across all districts. </a:t>
            </a:r>
          </a:p>
          <a:p>
            <a:pPr marL="57150" marR="0" lvl="0" indent="0" algn="l" defTabSz="914400" rtl="0" eaLnBrk="1" fontAlgn="auto" latinLnBrk="0" hangingPunct="1">
              <a:lnSpc>
                <a:spcPct val="9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5715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As with the Metro, cases in Rural are also heading towards pre-second wave levels. </a:t>
            </a: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xmlns="" id="{DA6EF1FE-82C5-435A-9A7F-4C45D321E703}"/>
              </a:ext>
            </a:extLst>
          </p:cNvPr>
          <p:cNvPicPr>
            <a:picLocks noChangeAspect="1"/>
          </p:cNvPicPr>
          <p:nvPr/>
        </p:nvPicPr>
        <p:blipFill>
          <a:blip r:embed="rId2" cstate="print"/>
          <a:stretch>
            <a:fillRect/>
          </a:stretch>
        </p:blipFill>
        <p:spPr>
          <a:xfrm>
            <a:off x="259031" y="0"/>
            <a:ext cx="8678817" cy="4826203"/>
          </a:xfrm>
          <a:prstGeom prst="rect">
            <a:avLst/>
          </a:prstGeom>
        </p:spPr>
      </p:pic>
      <p:sp>
        <p:nvSpPr>
          <p:cNvPr id="17" name="TextBox 16">
            <a:extLst>
              <a:ext uri="{FF2B5EF4-FFF2-40B4-BE49-F238E27FC236}">
                <a16:creationId xmlns:a16="http://schemas.microsoft.com/office/drawing/2014/main" xmlns="" id="{4417DDB9-62A9-4E8B-97A3-1178BBC79733}"/>
              </a:ext>
            </a:extLst>
          </p:cNvPr>
          <p:cNvSpPr txBox="1"/>
          <p:nvPr/>
        </p:nvSpPr>
        <p:spPr>
          <a:xfrm>
            <a:off x="2685240" y="1420499"/>
            <a:ext cx="2140340"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00"/>
                </a:solidFill>
                <a:effectLst/>
                <a:uLnTx/>
                <a:uFillTx/>
                <a:latin typeface="Calibri" panose="020F0502020204030204"/>
                <a:ea typeface="+mn-ea"/>
                <a:cs typeface="+mn-cs"/>
              </a:rPr>
              <a:t>-41%  in last wk </a:t>
            </a:r>
            <a:br>
              <a:rPr kumimoji="0" lang="en-US" sz="1400" b="0" i="0" u="none" strike="noStrike" kern="1200" cap="none" spc="0" normalizeH="0" baseline="0" noProof="0" dirty="0">
                <a:ln>
                  <a:noFill/>
                </a:ln>
                <a:solidFill>
                  <a:srgbClr val="FFFF00"/>
                </a:solidFill>
                <a:effectLst/>
                <a:uLnTx/>
                <a:uFillTx/>
                <a:latin typeface="Calibri" panose="020F0502020204030204"/>
                <a:ea typeface="+mn-ea"/>
                <a:cs typeface="+mn-cs"/>
              </a:rPr>
            </a:br>
            <a:r>
              <a:rPr kumimoji="0" lang="en-US" sz="1400" b="0" i="0" u="none" strike="noStrike" kern="1200" cap="none" spc="0" normalizeH="0" baseline="0" noProof="0" dirty="0">
                <a:ln>
                  <a:noFill/>
                </a:ln>
                <a:solidFill>
                  <a:srgbClr val="FFFF00"/>
                </a:solidFill>
                <a:effectLst/>
                <a:uLnTx/>
                <a:uFillTx/>
                <a:latin typeface="Calibri" panose="020F0502020204030204"/>
                <a:ea typeface="+mn-ea"/>
                <a:cs typeface="+mn-cs"/>
              </a:rPr>
              <a:t>(15 -22 Ja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FFFF00"/>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xmlns="" id="{D31B6D32-D454-4870-86DE-F7FC87522279}"/>
              </a:ext>
            </a:extLst>
          </p:cNvPr>
          <p:cNvSpPr txBox="1"/>
          <p:nvPr/>
        </p:nvSpPr>
        <p:spPr>
          <a:xfrm>
            <a:off x="843093" y="997049"/>
            <a:ext cx="64807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00"/>
                </a:solidFill>
                <a:effectLst/>
                <a:uLnTx/>
                <a:uFillTx/>
                <a:latin typeface="Calibri" panose="020F0502020204030204"/>
                <a:ea typeface="+mn-ea"/>
                <a:cs typeface="+mn-cs"/>
              </a:rPr>
              <a:t>-45%</a:t>
            </a:r>
            <a:endParaRPr kumimoji="0" lang="en-US" sz="2000" b="0" i="0" u="none" strike="noStrike" kern="0" cap="none" spc="0" normalizeH="0" baseline="0" noProof="0" dirty="0">
              <a:ln>
                <a:noFill/>
              </a:ln>
              <a:solidFill>
                <a:srgbClr val="FFFF00"/>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xmlns="" id="{C057285E-B0ED-444B-8345-BC7AC92103D7}"/>
              </a:ext>
            </a:extLst>
          </p:cNvPr>
          <p:cNvSpPr txBox="1"/>
          <p:nvPr/>
        </p:nvSpPr>
        <p:spPr>
          <a:xfrm>
            <a:off x="843093" y="2442738"/>
            <a:ext cx="64807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00"/>
                </a:solidFill>
                <a:effectLst/>
                <a:uLnTx/>
                <a:uFillTx/>
                <a:latin typeface="Calibri" panose="020F0502020204030204"/>
                <a:ea typeface="+mn-ea"/>
                <a:cs typeface="+mn-cs"/>
              </a:rPr>
              <a:t>-45%</a:t>
            </a:r>
            <a:endParaRPr kumimoji="0" lang="en-US" sz="2000" b="0" i="0" u="none" strike="noStrike" kern="0" cap="none" spc="0" normalizeH="0" baseline="0" noProof="0" dirty="0">
              <a:ln>
                <a:noFill/>
              </a:ln>
              <a:solidFill>
                <a:srgbClr val="FFFF00"/>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xmlns="" id="{97AFCA71-40E6-4C97-8E26-02DE8D6C0F1E}"/>
              </a:ext>
            </a:extLst>
          </p:cNvPr>
          <p:cNvSpPr txBox="1"/>
          <p:nvPr/>
        </p:nvSpPr>
        <p:spPr>
          <a:xfrm>
            <a:off x="843093" y="3717030"/>
            <a:ext cx="64807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00"/>
                </a:solidFill>
                <a:effectLst/>
                <a:uLnTx/>
                <a:uFillTx/>
                <a:latin typeface="Calibri" panose="020F0502020204030204"/>
                <a:ea typeface="+mn-ea"/>
                <a:cs typeface="+mn-cs"/>
              </a:rPr>
              <a:t>-45%</a:t>
            </a:r>
            <a:endParaRPr kumimoji="0" lang="en-US" sz="2000" b="0" i="0" u="none" strike="noStrike" kern="0" cap="none" spc="0" normalizeH="0" baseline="0" noProof="0" dirty="0">
              <a:ln>
                <a:noFill/>
              </a:ln>
              <a:solidFill>
                <a:srgbClr val="FFFF00"/>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xmlns="" id="{25769E0F-6526-4823-A847-B794F65929E4}"/>
              </a:ext>
            </a:extLst>
          </p:cNvPr>
          <p:cNvSpPr txBox="1"/>
          <p:nvPr/>
        </p:nvSpPr>
        <p:spPr>
          <a:xfrm>
            <a:off x="3107338" y="3717031"/>
            <a:ext cx="64807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00"/>
                </a:solidFill>
                <a:effectLst/>
                <a:uLnTx/>
                <a:uFillTx/>
                <a:latin typeface="Calibri" panose="020F0502020204030204"/>
                <a:ea typeface="+mn-ea"/>
                <a:cs typeface="+mn-cs"/>
              </a:rPr>
              <a:t>-45%</a:t>
            </a:r>
            <a:endParaRPr kumimoji="0" lang="en-US" sz="2000" b="0" i="0" u="none" strike="noStrike" kern="0" cap="none" spc="0" normalizeH="0" baseline="0" noProof="0" dirty="0">
              <a:ln>
                <a:noFill/>
              </a:ln>
              <a:solidFill>
                <a:srgbClr val="FFFF00"/>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xmlns="" id="{7DE247EA-D57E-4342-9A55-8666F99A210C}"/>
              </a:ext>
            </a:extLst>
          </p:cNvPr>
          <p:cNvSpPr txBox="1"/>
          <p:nvPr/>
        </p:nvSpPr>
        <p:spPr>
          <a:xfrm>
            <a:off x="5151833" y="3717032"/>
            <a:ext cx="64807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00"/>
                </a:solidFill>
                <a:effectLst/>
                <a:uLnTx/>
                <a:uFillTx/>
                <a:latin typeface="Calibri" panose="020F0502020204030204"/>
                <a:ea typeface="+mn-ea"/>
                <a:cs typeface="+mn-cs"/>
              </a:rPr>
              <a:t>-45%</a:t>
            </a:r>
            <a:endParaRPr kumimoji="0" lang="en-US" sz="2000" b="0" i="0" u="none" strike="noStrike" kern="0" cap="none" spc="0" normalizeH="0" baseline="0" noProof="0" dirty="0">
              <a:ln>
                <a:noFill/>
              </a:ln>
              <a:solidFill>
                <a:srgbClr val="FFFF00"/>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2897526292"/>
      </p:ext>
    </p:extLst>
  </p:cSld>
  <p:clrMapOvr>
    <a:overrideClrMapping bg1="dk1" tx1="lt1" bg2="dk2" tx2="lt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xmlns="" id="{F6C5BF7A-F7CF-4B46-A065-BB7DBEE2D570}"/>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1478" t="3137" r="2158" b="23031"/>
          <a:stretch/>
        </p:blipFill>
        <p:spPr>
          <a:xfrm>
            <a:off x="4733785" y="1459980"/>
            <a:ext cx="4136532" cy="2306457"/>
          </a:xfrm>
          <a:prstGeom prst="rect">
            <a:avLst/>
          </a:prstGeom>
        </p:spPr>
      </p:pic>
      <p:pic>
        <p:nvPicPr>
          <p:cNvPr id="10" name="Picture 9">
            <a:extLst>
              <a:ext uri="{FF2B5EF4-FFF2-40B4-BE49-F238E27FC236}">
                <a16:creationId xmlns:a16="http://schemas.microsoft.com/office/drawing/2014/main" xmlns="" id="{5AAA8627-9F8D-4EAD-957D-9316F4C032AD}"/>
              </a:ext>
            </a:extLst>
          </p:cNvPr>
          <p:cNvPicPr>
            <a:picLocks noChangeAspect="1"/>
          </p:cNvPicPr>
          <p:nvPr/>
        </p:nvPicPr>
        <p:blipFill rotWithShape="1">
          <a:blip r:embed="rId4" cstate="print"/>
          <a:srcRect l="1436" t="3159" r="2063" b="22397"/>
          <a:stretch/>
        </p:blipFill>
        <p:spPr>
          <a:xfrm>
            <a:off x="4744766" y="3272805"/>
            <a:ext cx="4125551" cy="2314334"/>
          </a:xfrm>
          <a:prstGeom prst="rect">
            <a:avLst/>
          </a:prstGeom>
        </p:spPr>
      </p:pic>
      <p:pic>
        <p:nvPicPr>
          <p:cNvPr id="13" name="Picture 12"/>
          <p:cNvPicPr/>
          <p:nvPr/>
        </p:nvPicPr>
        <p:blipFill>
          <a:blip r:embed="rId5" cstate="print">
            <a:extLst>
              <a:ext uri="{28A0092B-C50C-407E-A947-70E740481C1C}">
                <a14:useLocalDpi xmlns:a14="http://schemas.microsoft.com/office/drawing/2010/main" xmlns="" val="0"/>
              </a:ext>
            </a:extLst>
          </a:blip>
          <a:stretch>
            <a:fillRect/>
          </a:stretch>
        </p:blipFill>
        <p:spPr>
          <a:xfrm>
            <a:off x="7354824" y="57904"/>
            <a:ext cx="646177" cy="342922"/>
          </a:xfrm>
          <a:prstGeom prst="rect">
            <a:avLst/>
          </a:prstGeom>
          <a:extLst>
            <a:ext uri="{FAA26D3D-D897-4be2-8F04-BA451C77F1D7}">
              <ma14:placeholderFlag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16cid="http://schemas.microsoft.com/office/word/2016/wordml/cid"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rto="http://schemas.microsoft.com/office/word/2006/arto"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lc="http://schemas.openxmlformats.org/drawingml/2006/lockedCanvas"/>
            </a:ext>
          </a:extLst>
        </p:spPr>
      </p:pic>
      <p:graphicFrame>
        <p:nvGraphicFramePr>
          <p:cNvPr id="6" name="Table 5"/>
          <p:cNvGraphicFramePr>
            <a:graphicFrameLocks noGrp="1"/>
          </p:cNvGraphicFramePr>
          <p:nvPr/>
        </p:nvGraphicFramePr>
        <p:xfrm>
          <a:off x="1732024" y="1007112"/>
          <a:ext cx="5622800" cy="295276"/>
        </p:xfrm>
        <a:graphic>
          <a:graphicData uri="http://schemas.openxmlformats.org/drawingml/2006/table">
            <a:tbl>
              <a:tblPr firstRow="1" bandRow="1">
                <a:tableStyleId>{5C22544A-7EE6-4342-B048-85BDC9FD1C3A}</a:tableStyleId>
              </a:tblPr>
              <a:tblGrid>
                <a:gridCol w="5622800">
                  <a:extLst>
                    <a:ext uri="{9D8B030D-6E8A-4147-A177-3AD203B41FA5}">
                      <a16:colId xmlns:a16="http://schemas.microsoft.com/office/drawing/2014/main" xmlns="" val="999700848"/>
                    </a:ext>
                  </a:extLst>
                </a:gridCol>
              </a:tblGrid>
              <a:tr h="211455">
                <a:tc>
                  <a:txBody>
                    <a:bodyPr/>
                    <a:lstStyle/>
                    <a:p>
                      <a:pPr algn="ctr"/>
                      <a:r>
                        <a:rPr lang="en-GB" sz="1600" dirty="0"/>
                        <a:t>City of Cape Town,</a:t>
                      </a:r>
                      <a:r>
                        <a:rPr lang="en-GB" sz="1600" baseline="0" dirty="0"/>
                        <a:t> Breede Valley AND Overberg</a:t>
                      </a:r>
                      <a:endParaRPr lang="en-GB" sz="1600" dirty="0"/>
                    </a:p>
                  </a:txBody>
                  <a:tcPr marL="51435" marR="51435" marT="25718" marB="25718"/>
                </a:tc>
                <a:extLst>
                  <a:ext uri="{0D108BD9-81ED-4DB2-BD59-A6C34878D82A}">
                    <a16:rowId xmlns:a16="http://schemas.microsoft.com/office/drawing/2014/main" xmlns="" val="1181329484"/>
                  </a:ext>
                </a:extLst>
              </a:tr>
            </a:tbl>
          </a:graphicData>
        </a:graphic>
      </p:graphicFrame>
      <p:sp>
        <p:nvSpPr>
          <p:cNvPr id="21" name="TextBox 20"/>
          <p:cNvSpPr txBox="1"/>
          <p:nvPr/>
        </p:nvSpPr>
        <p:spPr>
          <a:xfrm>
            <a:off x="81855" y="596914"/>
            <a:ext cx="8882633" cy="369332"/>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SAMRC COVID- 19 AND WASTEWATER EARLY WARNING SYSTEM </a:t>
            </a:r>
          </a:p>
        </p:txBody>
      </p:sp>
      <p:pic>
        <p:nvPicPr>
          <p:cNvPr id="22" name="Picture 21"/>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8094373" y="103384"/>
            <a:ext cx="816158" cy="259687"/>
          </a:xfrm>
          <a:prstGeom prst="rect">
            <a:avLst/>
          </a:prstGeom>
        </p:spPr>
      </p:pic>
      <p:sp>
        <p:nvSpPr>
          <p:cNvPr id="7" name="TextBox 6"/>
          <p:cNvSpPr txBox="1"/>
          <p:nvPr/>
        </p:nvSpPr>
        <p:spPr>
          <a:xfrm>
            <a:off x="8094373" y="573831"/>
            <a:ext cx="775944" cy="57708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WEEK 4 2021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update</a:t>
            </a:r>
          </a:p>
        </p:txBody>
      </p:sp>
      <p:sp>
        <p:nvSpPr>
          <p:cNvPr id="9" name="Title 1">
            <a:extLst>
              <a:ext uri="{FF2B5EF4-FFF2-40B4-BE49-F238E27FC236}">
                <a16:creationId xmlns:a16="http://schemas.microsoft.com/office/drawing/2014/main" xmlns="" id="{1AFBAFD6-9E1F-4A16-8A65-63415336277D}"/>
              </a:ext>
            </a:extLst>
          </p:cNvPr>
          <p:cNvSpPr txBox="1">
            <a:spLocks noGrp="1"/>
          </p:cNvSpPr>
          <p:nvPr>
            <p:ph type="title"/>
          </p:nvPr>
        </p:nvSpPr>
        <p:spPr>
          <a:xfrm>
            <a:off x="81855" y="21122"/>
            <a:ext cx="5915025" cy="637838"/>
          </a:xfrm>
          <a:prstGeom prst="rect">
            <a:avLst/>
          </a:prstGeom>
        </p:spPr>
        <p:txBody>
          <a:bodyPr wrap="none">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defTabSz="514350">
              <a:defRPr/>
            </a:pPr>
            <a:r>
              <a:rPr lang="en-ZA" sz="2100" dirty="0">
                <a:solidFill>
                  <a:srgbClr val="003399"/>
                </a:solidFill>
              </a:rPr>
              <a:t>Triangulating with wastewater</a:t>
            </a:r>
          </a:p>
        </p:txBody>
      </p:sp>
      <p:sp>
        <p:nvSpPr>
          <p:cNvPr id="5" name="TextBox 4"/>
          <p:cNvSpPr txBox="1"/>
          <p:nvPr/>
        </p:nvSpPr>
        <p:spPr>
          <a:xfrm>
            <a:off x="0" y="4663653"/>
            <a:ext cx="4994201" cy="738664"/>
          </a:xfrm>
          <a:prstGeom prst="rect">
            <a:avLst/>
          </a:prstGeom>
          <a:noFill/>
        </p:spPr>
        <p:txBody>
          <a:bodyPr wrap="square"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etro: </a:t>
            </a: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ecrease in SARS CoV-2 RNA across all treatment plants except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Wesfleur</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Industrial</a:t>
            </a:r>
          </a:p>
        </p:txBody>
      </p:sp>
      <p:sp>
        <p:nvSpPr>
          <p:cNvPr id="26" name="TextBox 25"/>
          <p:cNvSpPr txBox="1"/>
          <p:nvPr/>
        </p:nvSpPr>
        <p:spPr>
          <a:xfrm>
            <a:off x="4644009" y="5534561"/>
            <a:ext cx="4499992" cy="1123384"/>
          </a:xfrm>
          <a:prstGeom prst="rect">
            <a:avLst/>
          </a:prstGeom>
          <a:noFill/>
        </p:spPr>
        <p:txBody>
          <a:bodyPr wrap="square"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Breede Valley: </a:t>
            </a: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
            </a:r>
            <a:b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Decrease across all areas but levels in Rawsonville relatively high </a:t>
            </a:r>
            <a:b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gt;17,796 copies/ml)</a:t>
            </a: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US" sz="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Theewaterskloof</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Decrease in all areas; no SARS-CoV-2 detected in Caledon</a:t>
            </a:r>
          </a:p>
        </p:txBody>
      </p:sp>
      <p:pic>
        <p:nvPicPr>
          <p:cNvPr id="28" name="Picture 27"/>
          <p:cNvPicPr>
            <a:picLocks noChangeAspect="1"/>
          </p:cNvPicPr>
          <p:nvPr/>
        </p:nvPicPr>
        <p:blipFill rotWithShape="1">
          <a:blip r:embed="rId7" cstate="print">
            <a:extLst>
              <a:ext uri="{28A0092B-C50C-407E-A947-70E740481C1C}">
                <a14:useLocalDpi xmlns:a14="http://schemas.microsoft.com/office/drawing/2010/main" xmlns="" val="0"/>
              </a:ext>
            </a:extLst>
          </a:blip>
          <a:srcRect l="31424" t="85646" r="43714" b="5485"/>
          <a:stretch/>
        </p:blipFill>
        <p:spPr>
          <a:xfrm>
            <a:off x="7700186" y="3393845"/>
            <a:ext cx="1110323" cy="288227"/>
          </a:xfrm>
          <a:prstGeom prst="rect">
            <a:avLst/>
          </a:prstGeom>
        </p:spPr>
      </p:pic>
      <p:pic>
        <p:nvPicPr>
          <p:cNvPr id="29" name="Picture 28"/>
          <p:cNvPicPr>
            <a:picLocks noChangeAspect="1"/>
          </p:cNvPicPr>
          <p:nvPr/>
        </p:nvPicPr>
        <p:blipFill rotWithShape="1">
          <a:blip r:embed="rId7" cstate="print">
            <a:extLst>
              <a:ext uri="{28A0092B-C50C-407E-A947-70E740481C1C}">
                <a14:useLocalDpi xmlns:a14="http://schemas.microsoft.com/office/drawing/2010/main" xmlns="" val="0"/>
              </a:ext>
            </a:extLst>
          </a:blip>
          <a:srcRect l="56717" t="85328" r="19096" b="5809"/>
          <a:stretch/>
        </p:blipFill>
        <p:spPr>
          <a:xfrm>
            <a:off x="7715288" y="3698693"/>
            <a:ext cx="1080120" cy="288032"/>
          </a:xfrm>
          <a:prstGeom prst="rect">
            <a:avLst/>
          </a:prstGeom>
        </p:spPr>
      </p:pic>
      <p:pic>
        <p:nvPicPr>
          <p:cNvPr id="31" name="Picture 30">
            <a:extLst>
              <a:ext uri="{FF2B5EF4-FFF2-40B4-BE49-F238E27FC236}">
                <a16:creationId xmlns:a16="http://schemas.microsoft.com/office/drawing/2014/main" xmlns="" id="{9F91F85F-4789-4A55-B313-1A01D5DB94E0}"/>
              </a:ext>
            </a:extLst>
          </p:cNvPr>
          <p:cNvPicPr>
            <a:picLocks noChangeAspect="1"/>
          </p:cNvPicPr>
          <p:nvPr/>
        </p:nvPicPr>
        <p:blipFill rotWithShape="1">
          <a:blip r:embed="rId8" cstate="print"/>
          <a:srcRect l="56063" t="85115" r="17508" b="6788"/>
          <a:stretch/>
        </p:blipFill>
        <p:spPr>
          <a:xfrm>
            <a:off x="7711797" y="1865342"/>
            <a:ext cx="1098712" cy="242153"/>
          </a:xfrm>
          <a:prstGeom prst="rect">
            <a:avLst/>
          </a:prstGeom>
        </p:spPr>
      </p:pic>
      <p:pic>
        <p:nvPicPr>
          <p:cNvPr id="32" name="Picture 31">
            <a:extLst>
              <a:ext uri="{FF2B5EF4-FFF2-40B4-BE49-F238E27FC236}">
                <a16:creationId xmlns:a16="http://schemas.microsoft.com/office/drawing/2014/main" xmlns="" id="{F912ABFB-B86A-4D63-B2AA-932DCE90DCEC}"/>
              </a:ext>
            </a:extLst>
          </p:cNvPr>
          <p:cNvPicPr>
            <a:picLocks noChangeAspect="1"/>
          </p:cNvPicPr>
          <p:nvPr/>
        </p:nvPicPr>
        <p:blipFill rotWithShape="1">
          <a:blip r:embed="rId8" cstate="print"/>
          <a:srcRect l="29475" t="84348" r="44221" b="5527"/>
          <a:stretch/>
        </p:blipFill>
        <p:spPr>
          <a:xfrm>
            <a:off x="7774271" y="1533370"/>
            <a:ext cx="1055890" cy="292401"/>
          </a:xfrm>
          <a:prstGeom prst="rect">
            <a:avLst/>
          </a:prstGeom>
        </p:spPr>
      </p:pic>
      <p:pic>
        <p:nvPicPr>
          <p:cNvPr id="2" name="Picture 1">
            <a:extLst>
              <a:ext uri="{FF2B5EF4-FFF2-40B4-BE49-F238E27FC236}">
                <a16:creationId xmlns:a16="http://schemas.microsoft.com/office/drawing/2014/main" xmlns="" id="{82F7C21D-199A-4A57-8922-41BE598F45BB}"/>
              </a:ext>
            </a:extLst>
          </p:cNvPr>
          <p:cNvPicPr>
            <a:picLocks noChangeAspect="1"/>
          </p:cNvPicPr>
          <p:nvPr/>
        </p:nvPicPr>
        <p:blipFill rotWithShape="1">
          <a:blip r:embed="rId9" cstate="print"/>
          <a:srcRect t="8960" b="31812"/>
          <a:stretch/>
        </p:blipFill>
        <p:spPr>
          <a:xfrm>
            <a:off x="50857" y="1460143"/>
            <a:ext cx="4206605" cy="1812662"/>
          </a:xfrm>
          <a:prstGeom prst="rect">
            <a:avLst/>
          </a:prstGeom>
        </p:spPr>
      </p:pic>
      <p:pic>
        <p:nvPicPr>
          <p:cNvPr id="23" name="Picture 22">
            <a:extLst>
              <a:ext uri="{FF2B5EF4-FFF2-40B4-BE49-F238E27FC236}">
                <a16:creationId xmlns:a16="http://schemas.microsoft.com/office/drawing/2014/main" xmlns="" id="{6F0324E4-D685-487F-9E42-310EC83C56A5}"/>
              </a:ext>
            </a:extLst>
          </p:cNvPr>
          <p:cNvPicPr>
            <a:picLocks noChangeAspect="1"/>
          </p:cNvPicPr>
          <p:nvPr/>
        </p:nvPicPr>
        <p:blipFill rotWithShape="1">
          <a:blip r:embed="rId10" cstate="print">
            <a:extLst>
              <a:ext uri="{28A0092B-C50C-407E-A947-70E740481C1C}">
                <a14:useLocalDpi xmlns:a14="http://schemas.microsoft.com/office/drawing/2010/main" xmlns="" val="0"/>
              </a:ext>
            </a:extLst>
          </a:blip>
          <a:srcRect l="28170" t="75134" r="14883" b="5874"/>
          <a:stretch/>
        </p:blipFill>
        <p:spPr>
          <a:xfrm>
            <a:off x="2207793" y="1544253"/>
            <a:ext cx="1877547" cy="455715"/>
          </a:xfrm>
          <a:prstGeom prst="rect">
            <a:avLst/>
          </a:prstGeom>
        </p:spPr>
      </p:pic>
      <p:pic>
        <p:nvPicPr>
          <p:cNvPr id="4" name="Picture 3">
            <a:extLst>
              <a:ext uri="{FF2B5EF4-FFF2-40B4-BE49-F238E27FC236}">
                <a16:creationId xmlns:a16="http://schemas.microsoft.com/office/drawing/2014/main" xmlns="" id="{210CEA84-3D2E-4749-B3D1-8E2C7F42A4E6}"/>
              </a:ext>
            </a:extLst>
          </p:cNvPr>
          <p:cNvPicPr>
            <a:picLocks noChangeAspect="1"/>
          </p:cNvPicPr>
          <p:nvPr/>
        </p:nvPicPr>
        <p:blipFill rotWithShape="1">
          <a:blip r:embed="rId11" cstate="print"/>
          <a:srcRect t="8176" b="32225"/>
          <a:stretch/>
        </p:blipFill>
        <p:spPr>
          <a:xfrm>
            <a:off x="50857" y="2770086"/>
            <a:ext cx="4206605" cy="1823973"/>
          </a:xfrm>
          <a:prstGeom prst="rect">
            <a:avLst/>
          </a:prstGeom>
        </p:spPr>
      </p:pic>
      <p:pic>
        <p:nvPicPr>
          <p:cNvPr id="8" name="Picture 7">
            <a:extLst>
              <a:ext uri="{FF2B5EF4-FFF2-40B4-BE49-F238E27FC236}">
                <a16:creationId xmlns:a16="http://schemas.microsoft.com/office/drawing/2014/main" xmlns="" id="{E2C88E60-1A9F-4123-9D02-FA712D8A7381}"/>
              </a:ext>
            </a:extLst>
          </p:cNvPr>
          <p:cNvPicPr>
            <a:picLocks noChangeAspect="1"/>
          </p:cNvPicPr>
          <p:nvPr/>
        </p:nvPicPr>
        <p:blipFill rotWithShape="1">
          <a:blip r:embed="rId11" cstate="print"/>
          <a:srcRect l="21251" t="75234" r="8917" b="5654"/>
          <a:stretch/>
        </p:blipFill>
        <p:spPr>
          <a:xfrm>
            <a:off x="1922341" y="2823957"/>
            <a:ext cx="2162999" cy="430688"/>
          </a:xfrm>
          <a:prstGeom prst="rect">
            <a:avLst/>
          </a:prstGeom>
        </p:spPr>
      </p:pic>
    </p:spTree>
    <p:extLst>
      <p:ext uri="{BB962C8B-B14F-4D97-AF65-F5344CB8AC3E}">
        <p14:creationId xmlns:p14="http://schemas.microsoft.com/office/powerpoint/2010/main" xmlns="" val="30109426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11B3635D-72E6-428E-AC3C-ABE747880E48}"/>
              </a:ext>
            </a:extLst>
          </p:cNvPr>
          <p:cNvPicPr>
            <a:picLocks noChangeAspect="1"/>
          </p:cNvPicPr>
          <p:nvPr/>
        </p:nvPicPr>
        <p:blipFill>
          <a:blip r:embed="rId3" cstate="print"/>
          <a:stretch>
            <a:fillRect/>
          </a:stretch>
        </p:blipFill>
        <p:spPr>
          <a:xfrm>
            <a:off x="0" y="-206604"/>
            <a:ext cx="9144000" cy="5131443"/>
          </a:xfrm>
          <a:prstGeom prst="rect">
            <a:avLst/>
          </a:prstGeom>
        </p:spPr>
      </p:pic>
      <p:sp>
        <p:nvSpPr>
          <p:cNvPr id="2" name="Title 1">
            <a:extLst>
              <a:ext uri="{FF2B5EF4-FFF2-40B4-BE49-F238E27FC236}">
                <a16:creationId xmlns:a16="http://schemas.microsoft.com/office/drawing/2014/main" xmlns="" id="{22D23C51-A983-469E-BB15-C8B6DA03B7B4}"/>
              </a:ext>
            </a:extLst>
          </p:cNvPr>
          <p:cNvSpPr>
            <a:spLocks noGrp="1"/>
          </p:cNvSpPr>
          <p:nvPr>
            <p:ph type="title"/>
          </p:nvPr>
        </p:nvSpPr>
        <p:spPr>
          <a:xfrm>
            <a:off x="61250" y="5084729"/>
            <a:ext cx="9021500" cy="1773271"/>
          </a:xfrm>
        </p:spPr>
        <p:txBody>
          <a:bodyPr>
            <a:normAutofit fontScale="90000"/>
          </a:bodyPr>
          <a:lstStyle/>
          <a:p>
            <a:r>
              <a:rPr lang="en-US" sz="1400" dirty="0">
                <a:latin typeface="+mn-lt"/>
              </a:rPr>
              <a:t>The seven day moving average of case numbers in the Garden Route continue to decline, and case numbers across all sub-districts are on a downward trajectory. </a:t>
            </a:r>
            <a:br>
              <a:rPr lang="en-US" sz="1400" dirty="0">
                <a:latin typeface="+mn-lt"/>
              </a:rPr>
            </a:br>
            <a:r>
              <a:rPr lang="en-US" sz="1400" dirty="0">
                <a:latin typeface="+mn-lt"/>
              </a:rPr>
              <a:t/>
            </a:r>
            <a:br>
              <a:rPr lang="en-US" sz="1400" dirty="0">
                <a:latin typeface="+mn-lt"/>
              </a:rPr>
            </a:br>
            <a:r>
              <a:rPr lang="en-US" sz="1400" dirty="0">
                <a:latin typeface="+mn-lt"/>
              </a:rPr>
              <a:t>Hospitalisations and deaths are on a steady downward trajectory.</a:t>
            </a:r>
            <a:br>
              <a:rPr lang="en-US" sz="1400" dirty="0">
                <a:latin typeface="+mn-lt"/>
              </a:rPr>
            </a:br>
            <a:r>
              <a:rPr lang="en-US" sz="1400" dirty="0">
                <a:latin typeface="+mn-lt"/>
              </a:rPr>
              <a:t/>
            </a:r>
            <a:br>
              <a:rPr lang="en-US" sz="1400" dirty="0">
                <a:latin typeface="+mn-lt"/>
              </a:rPr>
            </a:br>
            <a:r>
              <a:rPr lang="en-US" sz="1400" dirty="0">
                <a:latin typeface="+mn-lt"/>
              </a:rPr>
              <a:t>These data are re-assuring, but citizens must continue to protect themselves. </a:t>
            </a:r>
            <a:br>
              <a:rPr lang="en-US" sz="1400" dirty="0">
                <a:latin typeface="+mn-lt"/>
              </a:rPr>
            </a:br>
            <a:r>
              <a:rPr lang="en-US" sz="1400" dirty="0">
                <a:latin typeface="+mn-lt"/>
              </a:rPr>
              <a:t/>
            </a:r>
            <a:br>
              <a:rPr lang="en-US" sz="1400" dirty="0">
                <a:latin typeface="+mn-lt"/>
              </a:rPr>
            </a:br>
            <a:r>
              <a:rPr lang="en-US" sz="1400" dirty="0">
                <a:latin typeface="+mn-lt"/>
              </a:rPr>
              <a:t>. </a:t>
            </a:r>
            <a:br>
              <a:rPr lang="en-US" sz="1400" dirty="0">
                <a:latin typeface="+mn-lt"/>
              </a:rPr>
            </a:br>
            <a:r>
              <a:rPr lang="en-US" sz="1400" dirty="0">
                <a:latin typeface="+mn-lt"/>
              </a:rPr>
              <a:t/>
            </a:r>
            <a:br>
              <a:rPr lang="en-US" sz="1400" dirty="0">
                <a:latin typeface="+mn-lt"/>
              </a:rPr>
            </a:br>
            <a:endParaRPr lang="en-US" sz="1400" b="1" dirty="0">
              <a:latin typeface="+mn-lt"/>
            </a:endParaRPr>
          </a:p>
        </p:txBody>
      </p:sp>
      <p:sp>
        <p:nvSpPr>
          <p:cNvPr id="7" name="Rectangle 6">
            <a:extLst>
              <a:ext uri="{FF2B5EF4-FFF2-40B4-BE49-F238E27FC236}">
                <a16:creationId xmlns:a16="http://schemas.microsoft.com/office/drawing/2014/main" xmlns="" id="{6FCF3EAD-0EA3-404A-B551-1B6359A62C3A}"/>
              </a:ext>
            </a:extLst>
          </p:cNvPr>
          <p:cNvSpPr/>
          <p:nvPr/>
        </p:nvSpPr>
        <p:spPr>
          <a:xfrm>
            <a:off x="0" y="2852034"/>
            <a:ext cx="3059832" cy="2072805"/>
          </a:xfrm>
          <a:prstGeom prst="rect">
            <a:avLst/>
          </a:prstGeom>
          <a:solidFill>
            <a:srgbClr val="000B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rPr>
              <a:t>Garden Route</a:t>
            </a:r>
          </a:p>
        </p:txBody>
      </p:sp>
    </p:spTree>
    <p:extLst>
      <p:ext uri="{BB962C8B-B14F-4D97-AF65-F5344CB8AC3E}">
        <p14:creationId xmlns:p14="http://schemas.microsoft.com/office/powerpoint/2010/main" xmlns="" val="18789388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A5BB2699-2CDA-44A8-BE6E-DA302536D42F}"/>
              </a:ext>
            </a:extLst>
          </p:cNvPr>
          <p:cNvSpPr>
            <a:spLocks noGrp="1"/>
          </p:cNvSpPr>
          <p:nvPr>
            <p:ph type="body" sz="quarter" idx="12"/>
          </p:nvPr>
        </p:nvSpPr>
        <p:spPr>
          <a:xfrm>
            <a:off x="870155" y="2618910"/>
            <a:ext cx="7565923" cy="1080120"/>
          </a:xfrm>
        </p:spPr>
        <p:txBody>
          <a:bodyPr>
            <a:noAutofit/>
          </a:bodyPr>
          <a:lstStyle/>
          <a:p>
            <a:r>
              <a:rPr lang="en-ZA" b="1" dirty="0"/>
              <a:t>The health platform COVID response</a:t>
            </a:r>
          </a:p>
        </p:txBody>
      </p:sp>
    </p:spTree>
    <p:extLst>
      <p:ext uri="{BB962C8B-B14F-4D97-AF65-F5344CB8AC3E}">
        <p14:creationId xmlns:p14="http://schemas.microsoft.com/office/powerpoint/2010/main" xmlns="" val="19031581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xmlns="" id="{9B9CDCC0-0502-4768-8490-6002DF124159}"/>
              </a:ext>
            </a:extLst>
          </p:cNvPr>
          <p:cNvSpPr txBox="1"/>
          <p:nvPr/>
        </p:nvSpPr>
        <p:spPr>
          <a:xfrm>
            <a:off x="176548" y="83403"/>
            <a:ext cx="5979627" cy="73866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entury Gothic"/>
                <a:ea typeface="+mn-ea"/>
                <a:cs typeface="+mn-cs"/>
              </a:rPr>
              <a:t>Hospital Admissions By Health District </a:t>
            </a:r>
            <a:r>
              <a:rPr kumimoji="0" lang="en-US" sz="1800" b="1" i="0" u="none" strike="noStrike" kern="1200" cap="none" spc="0" normalizeH="0" baseline="0" noProof="0" dirty="0">
                <a:ln>
                  <a:noFill/>
                </a:ln>
                <a:solidFill>
                  <a:srgbClr val="002060"/>
                </a:solidFill>
                <a:effectLst/>
                <a:uLnTx/>
                <a:uFillTx/>
                <a:latin typeface="Century Gothic"/>
                <a:ea typeface="+mn-ea"/>
                <a:cs typeface="+mn-cs"/>
              </a:rPr>
              <a:t>(public and private)</a:t>
            </a:r>
            <a:endParaRPr kumimoji="0" lang="en-US" sz="2400" b="1" i="0" u="none" strike="noStrike" kern="1200" cap="none" spc="0" normalizeH="0" baseline="0" noProof="0" dirty="0">
              <a:ln>
                <a:noFill/>
              </a:ln>
              <a:solidFill>
                <a:srgbClr val="002060"/>
              </a:solidFill>
              <a:effectLst/>
              <a:uLnTx/>
              <a:uFillTx/>
              <a:latin typeface="Century Gothic"/>
              <a:ea typeface="+mn-ea"/>
              <a:cs typeface="+mn-cs"/>
            </a:endParaRPr>
          </a:p>
        </p:txBody>
      </p:sp>
      <p:sp>
        <p:nvSpPr>
          <p:cNvPr id="15" name="TextBox 14">
            <a:extLst>
              <a:ext uri="{FF2B5EF4-FFF2-40B4-BE49-F238E27FC236}">
                <a16:creationId xmlns:a16="http://schemas.microsoft.com/office/drawing/2014/main" xmlns="" id="{F4F29D7C-0836-4310-8414-CA111B624F8D}"/>
              </a:ext>
            </a:extLst>
          </p:cNvPr>
          <p:cNvSpPr txBox="1"/>
          <p:nvPr/>
        </p:nvSpPr>
        <p:spPr>
          <a:xfrm>
            <a:off x="1561198" y="6069251"/>
            <a:ext cx="7574382" cy="707886"/>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Hospital admissions have passed the peak and are declining in all districts. </a:t>
            </a:r>
          </a:p>
        </p:txBody>
      </p:sp>
      <p:sp>
        <p:nvSpPr>
          <p:cNvPr id="41" name="TextBox 40">
            <a:extLst>
              <a:ext uri="{FF2B5EF4-FFF2-40B4-BE49-F238E27FC236}">
                <a16:creationId xmlns:a16="http://schemas.microsoft.com/office/drawing/2014/main" xmlns="" id="{6B669F51-1BFD-4AAD-A4E0-23520A4A957A}"/>
              </a:ext>
            </a:extLst>
          </p:cNvPr>
          <p:cNvSpPr txBox="1"/>
          <p:nvPr/>
        </p:nvSpPr>
        <p:spPr>
          <a:xfrm>
            <a:off x="1619672" y="4281932"/>
            <a:ext cx="78052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entury Gothic"/>
                <a:ea typeface="+mn-ea"/>
                <a:cs typeface="+mn-cs"/>
              </a:rPr>
              <a:t>Garden Route</a:t>
            </a:r>
          </a:p>
        </p:txBody>
      </p:sp>
      <p:sp>
        <p:nvSpPr>
          <p:cNvPr id="42" name="TextBox 41">
            <a:extLst>
              <a:ext uri="{FF2B5EF4-FFF2-40B4-BE49-F238E27FC236}">
                <a16:creationId xmlns:a16="http://schemas.microsoft.com/office/drawing/2014/main" xmlns="" id="{ABC4AD4F-C7C7-4EEF-9C2E-DC3DCC939D21}"/>
              </a:ext>
            </a:extLst>
          </p:cNvPr>
          <p:cNvSpPr txBox="1"/>
          <p:nvPr/>
        </p:nvSpPr>
        <p:spPr>
          <a:xfrm>
            <a:off x="4594953" y="1998594"/>
            <a:ext cx="102340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entury Gothic"/>
                <a:ea typeface="+mn-ea"/>
                <a:cs typeface="+mn-cs"/>
              </a:rPr>
              <a:t>Cape Winelands</a:t>
            </a:r>
          </a:p>
        </p:txBody>
      </p:sp>
      <p:sp>
        <p:nvSpPr>
          <p:cNvPr id="43" name="TextBox 42">
            <a:extLst>
              <a:ext uri="{FF2B5EF4-FFF2-40B4-BE49-F238E27FC236}">
                <a16:creationId xmlns:a16="http://schemas.microsoft.com/office/drawing/2014/main" xmlns="" id="{FF4B41F7-10CF-4153-8F35-E7B3F67359F6}"/>
              </a:ext>
            </a:extLst>
          </p:cNvPr>
          <p:cNvSpPr txBox="1"/>
          <p:nvPr/>
        </p:nvSpPr>
        <p:spPr>
          <a:xfrm>
            <a:off x="7596336" y="2060848"/>
            <a:ext cx="102340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entury Gothic"/>
                <a:ea typeface="+mn-ea"/>
                <a:cs typeface="+mn-cs"/>
              </a:rPr>
              <a:t>Central Karoo</a:t>
            </a:r>
          </a:p>
        </p:txBody>
      </p:sp>
      <p:sp>
        <p:nvSpPr>
          <p:cNvPr id="44" name="TextBox 43">
            <a:extLst>
              <a:ext uri="{FF2B5EF4-FFF2-40B4-BE49-F238E27FC236}">
                <a16:creationId xmlns:a16="http://schemas.microsoft.com/office/drawing/2014/main" xmlns="" id="{E4CDE1F0-6838-4BD1-ADF3-513E2C51E963}"/>
              </a:ext>
            </a:extLst>
          </p:cNvPr>
          <p:cNvSpPr txBox="1"/>
          <p:nvPr/>
        </p:nvSpPr>
        <p:spPr>
          <a:xfrm>
            <a:off x="4644989" y="4444968"/>
            <a:ext cx="92333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entury Gothic"/>
                <a:ea typeface="+mn-ea"/>
                <a:cs typeface="+mn-cs"/>
              </a:rPr>
              <a:t>Overberg</a:t>
            </a:r>
          </a:p>
        </p:txBody>
      </p:sp>
      <p:sp>
        <p:nvSpPr>
          <p:cNvPr id="45" name="TextBox 44">
            <a:extLst>
              <a:ext uri="{FF2B5EF4-FFF2-40B4-BE49-F238E27FC236}">
                <a16:creationId xmlns:a16="http://schemas.microsoft.com/office/drawing/2014/main" xmlns="" id="{A8201752-1846-4B15-A139-32C60030DC46}"/>
              </a:ext>
            </a:extLst>
          </p:cNvPr>
          <p:cNvSpPr txBox="1"/>
          <p:nvPr/>
        </p:nvSpPr>
        <p:spPr>
          <a:xfrm>
            <a:off x="7790457" y="4411209"/>
            <a:ext cx="92333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entury Gothic"/>
                <a:ea typeface="+mn-ea"/>
                <a:cs typeface="+mn-cs"/>
              </a:rPr>
              <a:t>West Coast</a:t>
            </a:r>
          </a:p>
        </p:txBody>
      </p:sp>
      <p:sp>
        <p:nvSpPr>
          <p:cNvPr id="33" name="TextBox 32">
            <a:extLst>
              <a:ext uri="{FF2B5EF4-FFF2-40B4-BE49-F238E27FC236}">
                <a16:creationId xmlns:a16="http://schemas.microsoft.com/office/drawing/2014/main" xmlns="" id="{B0E8536A-D253-475F-BB9A-A39058119330}"/>
              </a:ext>
            </a:extLst>
          </p:cNvPr>
          <p:cNvSpPr txBox="1"/>
          <p:nvPr/>
        </p:nvSpPr>
        <p:spPr>
          <a:xfrm>
            <a:off x="1693406" y="2189264"/>
            <a:ext cx="102340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entury Gothic"/>
                <a:ea typeface="+mn-ea"/>
                <a:cs typeface="+mn-cs"/>
              </a:rPr>
              <a:t>Metro</a:t>
            </a:r>
          </a:p>
        </p:txBody>
      </p:sp>
      <p:pic>
        <p:nvPicPr>
          <p:cNvPr id="3" name="Picture 2">
            <a:extLst>
              <a:ext uri="{FF2B5EF4-FFF2-40B4-BE49-F238E27FC236}">
                <a16:creationId xmlns:a16="http://schemas.microsoft.com/office/drawing/2014/main" xmlns="" id="{BB579002-BF26-4EBD-B3F7-FA01CEF356DE}"/>
              </a:ext>
            </a:extLst>
          </p:cNvPr>
          <p:cNvPicPr>
            <a:picLocks noChangeAspect="1"/>
          </p:cNvPicPr>
          <p:nvPr/>
        </p:nvPicPr>
        <p:blipFill>
          <a:blip r:embed="rId2" cstate="print"/>
          <a:stretch>
            <a:fillRect/>
          </a:stretch>
        </p:blipFill>
        <p:spPr>
          <a:xfrm>
            <a:off x="0" y="843144"/>
            <a:ext cx="9144000" cy="5171712"/>
          </a:xfrm>
          <a:prstGeom prst="rect">
            <a:avLst/>
          </a:prstGeom>
        </p:spPr>
      </p:pic>
    </p:spTree>
    <p:extLst>
      <p:ext uri="{BB962C8B-B14F-4D97-AF65-F5344CB8AC3E}">
        <p14:creationId xmlns:p14="http://schemas.microsoft.com/office/powerpoint/2010/main" xmlns="" val="1719254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13AA8C4-6A30-48A6-B70D-42757940943A}"/>
              </a:ext>
            </a:extLst>
          </p:cNvPr>
          <p:cNvSpPr>
            <a:spLocks noGrp="1"/>
          </p:cNvSpPr>
          <p:nvPr>
            <p:ph type="title"/>
          </p:nvPr>
        </p:nvSpPr>
        <p:spPr>
          <a:xfrm>
            <a:off x="407439" y="188640"/>
            <a:ext cx="8597205" cy="559256"/>
          </a:xfrm>
        </p:spPr>
        <p:txBody>
          <a:bodyPr/>
          <a:lstStyle/>
          <a:p>
            <a:r>
              <a:rPr lang="en-ZA" sz="2400" dirty="0"/>
              <a:t>Acute service platform – general comments</a:t>
            </a:r>
            <a:endParaRPr lang="en-US" sz="2400" dirty="0"/>
          </a:p>
        </p:txBody>
      </p:sp>
      <p:sp>
        <p:nvSpPr>
          <p:cNvPr id="3" name="Text Placeholder 2">
            <a:extLst>
              <a:ext uri="{FF2B5EF4-FFF2-40B4-BE49-F238E27FC236}">
                <a16:creationId xmlns:a16="http://schemas.microsoft.com/office/drawing/2014/main" xmlns="" id="{B6E1B28F-9785-427C-B7B9-593D31B85801}"/>
              </a:ext>
            </a:extLst>
          </p:cNvPr>
          <p:cNvSpPr>
            <a:spLocks noGrp="1"/>
          </p:cNvSpPr>
          <p:nvPr>
            <p:ph type="body" sz="quarter" idx="10"/>
          </p:nvPr>
        </p:nvSpPr>
        <p:spPr>
          <a:xfrm>
            <a:off x="107504" y="1052736"/>
            <a:ext cx="8784976" cy="5688632"/>
          </a:xfrm>
        </p:spPr>
        <p:txBody>
          <a:bodyPr>
            <a:noAutofit/>
          </a:bodyPr>
          <a:lstStyle/>
          <a:p>
            <a:pPr marL="376925" indent="-367400" algn="just">
              <a:lnSpc>
                <a:spcPct val="150000"/>
              </a:lnSpc>
              <a:buFont typeface="+mj-lt"/>
              <a:buAutoNum type="arabicPeriod"/>
            </a:pPr>
            <a:r>
              <a:rPr lang="en-ZA" sz="1400" b="0" dirty="0">
                <a:latin typeface="+mn-lt"/>
              </a:rPr>
              <a:t>Currently</a:t>
            </a:r>
            <a:r>
              <a:rPr lang="en-ZA" sz="1400" dirty="0">
                <a:latin typeface="+mn-lt"/>
              </a:rPr>
              <a:t> 2330 COVID patients </a:t>
            </a:r>
            <a:r>
              <a:rPr lang="en-ZA" sz="1400" b="0" dirty="0">
                <a:latin typeface="+mn-lt"/>
              </a:rPr>
              <a:t>in our acute hospitals (</a:t>
            </a:r>
            <a:r>
              <a:rPr lang="en-ZA" sz="1400" dirty="0">
                <a:latin typeface="+mn-lt"/>
              </a:rPr>
              <a:t>1398</a:t>
            </a:r>
            <a:r>
              <a:rPr lang="en-ZA" sz="1400" b="0" dirty="0">
                <a:latin typeface="+mn-lt"/>
              </a:rPr>
              <a:t> in </a:t>
            </a:r>
            <a:r>
              <a:rPr lang="en-ZA" sz="1400" dirty="0">
                <a:latin typeface="+mn-lt"/>
              </a:rPr>
              <a:t>public </a:t>
            </a:r>
            <a:r>
              <a:rPr lang="en-ZA" sz="1400" b="0" dirty="0">
                <a:latin typeface="+mn-lt"/>
              </a:rPr>
              <a:t>hospitals &amp; </a:t>
            </a:r>
            <a:r>
              <a:rPr lang="en-ZA" sz="1400" dirty="0">
                <a:latin typeface="+mn-lt"/>
              </a:rPr>
              <a:t>932 </a:t>
            </a:r>
            <a:r>
              <a:rPr lang="en-ZA" sz="1400" b="0" dirty="0">
                <a:latin typeface="+mn-lt"/>
              </a:rPr>
              <a:t>in </a:t>
            </a:r>
            <a:r>
              <a:rPr lang="en-ZA" sz="1400" dirty="0">
                <a:latin typeface="+mn-lt"/>
              </a:rPr>
              <a:t>private</a:t>
            </a:r>
            <a:r>
              <a:rPr lang="en-ZA" sz="1400" b="0" dirty="0">
                <a:latin typeface="+mn-lt"/>
              </a:rPr>
              <a:t> hospitals). This </a:t>
            </a:r>
            <a:r>
              <a:rPr lang="en-ZA" sz="1400" dirty="0">
                <a:latin typeface="+mn-lt"/>
              </a:rPr>
              <a:t>excludes PUIs </a:t>
            </a:r>
            <a:r>
              <a:rPr lang="en-ZA" sz="1400" b="0" dirty="0">
                <a:latin typeface="+mn-lt"/>
              </a:rPr>
              <a:t>and </a:t>
            </a:r>
            <a:r>
              <a:rPr lang="en-ZA" sz="1400" dirty="0">
                <a:latin typeface="+mn-lt"/>
              </a:rPr>
              <a:t>cases in specialised hospital </a:t>
            </a:r>
            <a:r>
              <a:rPr lang="en-ZA" sz="1400" b="0" dirty="0">
                <a:latin typeface="+mn-lt"/>
              </a:rPr>
              <a:t>settings. </a:t>
            </a:r>
          </a:p>
          <a:p>
            <a:pPr marL="378115" indent="-367400" algn="just">
              <a:lnSpc>
                <a:spcPct val="150000"/>
              </a:lnSpc>
              <a:buFont typeface="+mj-lt"/>
              <a:buAutoNum type="arabicPeriod"/>
            </a:pPr>
            <a:r>
              <a:rPr lang="en-ZA" sz="1400" b="0" dirty="0">
                <a:latin typeface="+mn-lt"/>
              </a:rPr>
              <a:t>COVID </a:t>
            </a:r>
            <a:r>
              <a:rPr lang="en-ZA" sz="1400" dirty="0">
                <a:latin typeface="+mn-lt"/>
              </a:rPr>
              <a:t>hospitalisations</a:t>
            </a:r>
            <a:r>
              <a:rPr lang="en-ZA" sz="1400" b="0" dirty="0">
                <a:latin typeface="+mn-lt"/>
              </a:rPr>
              <a:t> have continued </a:t>
            </a:r>
            <a:r>
              <a:rPr lang="en-ZA" sz="1400" dirty="0">
                <a:latin typeface="+mn-lt"/>
              </a:rPr>
              <a:t>to decline </a:t>
            </a:r>
            <a:r>
              <a:rPr lang="en-ZA" sz="1400" b="0" dirty="0">
                <a:latin typeface="+mn-lt"/>
              </a:rPr>
              <a:t>whilst the </a:t>
            </a:r>
            <a:r>
              <a:rPr lang="en-ZA" sz="1400" dirty="0">
                <a:latin typeface="+mn-lt"/>
              </a:rPr>
              <a:t>t</a:t>
            </a:r>
            <a:r>
              <a:rPr lang="en-ZA" sz="1400" dirty="0"/>
              <a:t>rauma cases </a:t>
            </a:r>
            <a:r>
              <a:rPr lang="en-ZA" sz="1400" b="0" dirty="0"/>
              <a:t>has</a:t>
            </a:r>
            <a:r>
              <a:rPr lang="en-ZA" sz="1400" dirty="0"/>
              <a:t> </a:t>
            </a:r>
            <a:r>
              <a:rPr lang="en-ZA" sz="1400" b="0" dirty="0"/>
              <a:t>remained </a:t>
            </a:r>
            <a:r>
              <a:rPr lang="en-ZA" sz="1400" dirty="0"/>
              <a:t>significantly lower </a:t>
            </a:r>
            <a:r>
              <a:rPr lang="en-ZA" sz="1400" b="0" dirty="0"/>
              <a:t>than usual</a:t>
            </a:r>
            <a:r>
              <a:rPr lang="en-ZA" sz="1400" dirty="0">
                <a:latin typeface="+mn-lt"/>
              </a:rPr>
              <a:t>.</a:t>
            </a:r>
            <a:endParaRPr lang="en-ZA" sz="1400" b="0" dirty="0">
              <a:latin typeface="+mn-lt"/>
            </a:endParaRPr>
          </a:p>
          <a:p>
            <a:pPr marL="378115" indent="-367400" algn="just">
              <a:lnSpc>
                <a:spcPct val="150000"/>
              </a:lnSpc>
              <a:buFont typeface="+mj-lt"/>
              <a:buAutoNum type="arabicPeriod"/>
            </a:pPr>
            <a:r>
              <a:rPr lang="en-ZA" sz="1400" b="0" dirty="0">
                <a:latin typeface="+mn-lt"/>
              </a:rPr>
              <a:t>The </a:t>
            </a:r>
            <a:r>
              <a:rPr lang="en-ZA" sz="1400" dirty="0">
                <a:latin typeface="+mn-lt"/>
              </a:rPr>
              <a:t>Metro hospitals </a:t>
            </a:r>
            <a:r>
              <a:rPr lang="en-ZA" sz="1400" b="0" dirty="0">
                <a:latin typeface="+mn-lt"/>
              </a:rPr>
              <a:t>have an average </a:t>
            </a:r>
            <a:r>
              <a:rPr lang="en-ZA" sz="1400" dirty="0">
                <a:latin typeface="+mn-lt"/>
              </a:rPr>
              <a:t>occupancy rate </a:t>
            </a:r>
            <a:r>
              <a:rPr lang="en-ZA" sz="1400" b="0" dirty="0">
                <a:latin typeface="+mn-lt"/>
              </a:rPr>
              <a:t>of</a:t>
            </a:r>
            <a:r>
              <a:rPr lang="en-ZA" sz="1400" dirty="0">
                <a:latin typeface="+mn-lt"/>
              </a:rPr>
              <a:t> 79%; George </a:t>
            </a:r>
            <a:r>
              <a:rPr lang="en-ZA" sz="1400" b="0" dirty="0">
                <a:latin typeface="+mn-lt"/>
              </a:rPr>
              <a:t>drainage area hospitals at</a:t>
            </a:r>
            <a:r>
              <a:rPr lang="en-ZA" sz="1400" dirty="0">
                <a:latin typeface="+mn-lt"/>
              </a:rPr>
              <a:t> 59%; Paarl </a:t>
            </a:r>
            <a:r>
              <a:rPr lang="en-ZA" sz="1400" b="0" dirty="0">
                <a:latin typeface="+mn-lt"/>
              </a:rPr>
              <a:t>drainage area hospitals at </a:t>
            </a:r>
            <a:r>
              <a:rPr lang="en-ZA" sz="1400" dirty="0">
                <a:latin typeface="+mn-lt"/>
              </a:rPr>
              <a:t>71% </a:t>
            </a:r>
            <a:r>
              <a:rPr lang="en-ZA" sz="1400" b="0" dirty="0">
                <a:latin typeface="+mn-lt"/>
              </a:rPr>
              <a:t>&amp; </a:t>
            </a:r>
            <a:r>
              <a:rPr lang="en-ZA" sz="1400" dirty="0">
                <a:latin typeface="+mn-lt"/>
              </a:rPr>
              <a:t>Worcester </a:t>
            </a:r>
            <a:r>
              <a:rPr lang="en-ZA" sz="1400" b="0" dirty="0">
                <a:latin typeface="+mn-lt"/>
              </a:rPr>
              <a:t>drainage area hospitals at </a:t>
            </a:r>
            <a:r>
              <a:rPr lang="en-ZA" sz="1400" dirty="0">
                <a:latin typeface="+mn-lt"/>
              </a:rPr>
              <a:t>63%. </a:t>
            </a:r>
          </a:p>
          <a:p>
            <a:pPr marL="378115" indent="-367400" algn="just">
              <a:lnSpc>
                <a:spcPct val="150000"/>
              </a:lnSpc>
              <a:buFont typeface="+mj-lt"/>
              <a:buAutoNum type="arabicPeriod"/>
            </a:pPr>
            <a:r>
              <a:rPr lang="en-ZA" sz="1400" b="0" dirty="0">
                <a:latin typeface="+mn-lt"/>
              </a:rPr>
              <a:t>Occupancies in COVID beds show </a:t>
            </a:r>
            <a:r>
              <a:rPr lang="en-ZA" sz="1400" dirty="0">
                <a:latin typeface="+mn-lt"/>
              </a:rPr>
              <a:t>Metro </a:t>
            </a:r>
            <a:r>
              <a:rPr lang="en-ZA" sz="1400" b="0" dirty="0">
                <a:latin typeface="+mn-lt"/>
              </a:rPr>
              <a:t>hospitals at </a:t>
            </a:r>
            <a:r>
              <a:rPr lang="en-ZA" sz="1400" dirty="0">
                <a:latin typeface="+mn-lt"/>
              </a:rPr>
              <a:t>38%; George</a:t>
            </a:r>
            <a:r>
              <a:rPr lang="en-ZA" sz="1400" b="0" dirty="0">
                <a:latin typeface="+mn-lt"/>
              </a:rPr>
              <a:t> drainage area hospitals at </a:t>
            </a:r>
            <a:r>
              <a:rPr lang="en-ZA" sz="1400" dirty="0">
                <a:latin typeface="+mn-lt"/>
              </a:rPr>
              <a:t>34%</a:t>
            </a:r>
            <a:r>
              <a:rPr lang="en-ZA" sz="1400" b="0" dirty="0">
                <a:latin typeface="+mn-lt"/>
              </a:rPr>
              <a:t>; </a:t>
            </a:r>
            <a:r>
              <a:rPr lang="en-ZA" sz="1400" dirty="0">
                <a:latin typeface="+mn-lt"/>
              </a:rPr>
              <a:t>Paarl</a:t>
            </a:r>
            <a:r>
              <a:rPr lang="en-ZA" sz="1400" b="0" dirty="0">
                <a:latin typeface="+mn-lt"/>
              </a:rPr>
              <a:t> drainage area hospitals at</a:t>
            </a:r>
            <a:r>
              <a:rPr lang="en-ZA" sz="1400" dirty="0">
                <a:latin typeface="+mn-lt"/>
              </a:rPr>
              <a:t> 55%</a:t>
            </a:r>
            <a:r>
              <a:rPr lang="en-ZA" sz="1400" b="0" dirty="0">
                <a:latin typeface="+mn-lt"/>
              </a:rPr>
              <a:t>; </a:t>
            </a:r>
            <a:r>
              <a:rPr lang="en-ZA" sz="1400" dirty="0">
                <a:latin typeface="+mn-lt"/>
              </a:rPr>
              <a:t>Worcester</a:t>
            </a:r>
            <a:r>
              <a:rPr lang="en-ZA" sz="1400" b="0" dirty="0">
                <a:latin typeface="+mn-lt"/>
              </a:rPr>
              <a:t> drainage area hospitals at </a:t>
            </a:r>
            <a:r>
              <a:rPr lang="en-ZA" sz="1400" dirty="0">
                <a:latin typeface="+mn-lt"/>
              </a:rPr>
              <a:t>33%.</a:t>
            </a:r>
          </a:p>
          <a:p>
            <a:pPr marL="378115" indent="-367400" algn="just">
              <a:lnSpc>
                <a:spcPct val="150000"/>
              </a:lnSpc>
              <a:buFont typeface="+mj-lt"/>
              <a:buAutoNum type="arabicPeriod"/>
            </a:pPr>
            <a:r>
              <a:rPr lang="en-ZA" sz="1400" dirty="0">
                <a:latin typeface="+mn-lt"/>
              </a:rPr>
              <a:t>COVID &amp; PUI cases</a:t>
            </a:r>
            <a:r>
              <a:rPr lang="en-ZA" sz="1400" b="0" dirty="0">
                <a:latin typeface="+mn-lt"/>
              </a:rPr>
              <a:t> currently</a:t>
            </a:r>
            <a:r>
              <a:rPr lang="en-ZA" sz="1400" dirty="0">
                <a:latin typeface="+mn-lt"/>
              </a:rPr>
              <a:t> </a:t>
            </a:r>
            <a:r>
              <a:rPr lang="en-ZA" sz="1400" b="0" dirty="0">
                <a:latin typeface="+mn-lt"/>
              </a:rPr>
              <a:t>make up </a:t>
            </a:r>
            <a:r>
              <a:rPr lang="en-ZA" sz="1400" dirty="0">
                <a:latin typeface="+mn-lt"/>
              </a:rPr>
              <a:t>18% </a:t>
            </a:r>
            <a:r>
              <a:rPr lang="en-ZA" sz="1400" b="0" dirty="0">
                <a:latin typeface="+mn-lt"/>
              </a:rPr>
              <a:t>of all available acute general hospital capacity in both Metro and Rural Regional Hospital drainage areas. </a:t>
            </a:r>
          </a:p>
          <a:p>
            <a:pPr marL="378115" indent="-367400" algn="just">
              <a:lnSpc>
                <a:spcPct val="150000"/>
              </a:lnSpc>
              <a:buFont typeface="+mj-lt"/>
              <a:buAutoNum type="arabicPeriod"/>
            </a:pPr>
            <a:r>
              <a:rPr lang="en-ZA" sz="1400" dirty="0">
                <a:latin typeface="+mn-lt"/>
              </a:rPr>
              <a:t>COVID inter-mediate care </a:t>
            </a:r>
            <a:r>
              <a:rPr lang="en-ZA" sz="1400" b="0" dirty="0">
                <a:latin typeface="+mn-lt"/>
              </a:rPr>
              <a:t>- the </a:t>
            </a:r>
            <a:r>
              <a:rPr lang="en-ZA" sz="1400" dirty="0">
                <a:latin typeface="+mn-lt"/>
              </a:rPr>
              <a:t>Hospital of Hope </a:t>
            </a:r>
            <a:r>
              <a:rPr lang="en-ZA" sz="1400" b="0" dirty="0">
                <a:latin typeface="+mn-lt"/>
              </a:rPr>
              <a:t>(Brackengate) currently has</a:t>
            </a:r>
            <a:r>
              <a:rPr lang="en-ZA" sz="1400" dirty="0">
                <a:latin typeface="+mn-lt"/>
              </a:rPr>
              <a:t> 82 </a:t>
            </a:r>
            <a:r>
              <a:rPr lang="en-ZA" sz="1400" b="0" dirty="0">
                <a:latin typeface="+mn-lt"/>
              </a:rPr>
              <a:t>patients (3 131 cumulative patients), </a:t>
            </a:r>
            <a:r>
              <a:rPr lang="en-ZA" sz="1400" dirty="0">
                <a:latin typeface="+mn-lt"/>
              </a:rPr>
              <a:t>Freesia &amp; Ward 99 </a:t>
            </a:r>
            <a:r>
              <a:rPr lang="en-ZA" sz="1400" b="0" dirty="0">
                <a:latin typeface="+mn-lt"/>
              </a:rPr>
              <a:t>has</a:t>
            </a:r>
            <a:r>
              <a:rPr lang="en-ZA" sz="1400" dirty="0">
                <a:latin typeface="+mn-lt"/>
              </a:rPr>
              <a:t> 34 patients</a:t>
            </a:r>
            <a:r>
              <a:rPr lang="en-ZA" sz="1400" b="0" dirty="0">
                <a:latin typeface="+mn-lt"/>
              </a:rPr>
              <a:t>, </a:t>
            </a:r>
            <a:r>
              <a:rPr lang="en-ZA" sz="1400" dirty="0">
                <a:latin typeface="+mn-lt"/>
              </a:rPr>
              <a:t>Mitchell Plain hospital of hope </a:t>
            </a:r>
            <a:r>
              <a:rPr lang="en-ZA" sz="1400" b="0" dirty="0">
                <a:latin typeface="+mn-lt"/>
              </a:rPr>
              <a:t>has </a:t>
            </a:r>
            <a:r>
              <a:rPr lang="en-ZA" sz="1400" dirty="0">
                <a:latin typeface="+mn-lt"/>
              </a:rPr>
              <a:t>61 patients </a:t>
            </a:r>
            <a:r>
              <a:rPr lang="en-ZA" sz="1400" b="0" dirty="0">
                <a:latin typeface="+mn-lt"/>
              </a:rPr>
              <a:t>and </a:t>
            </a:r>
            <a:r>
              <a:rPr lang="en-ZA" sz="1400" dirty="0" err="1">
                <a:latin typeface="+mn-lt"/>
              </a:rPr>
              <a:t>Sonstraal</a:t>
            </a:r>
            <a:r>
              <a:rPr lang="en-ZA" sz="1400" dirty="0">
                <a:latin typeface="+mn-lt"/>
              </a:rPr>
              <a:t> </a:t>
            </a:r>
            <a:r>
              <a:rPr lang="en-ZA" sz="1400" b="0" dirty="0">
                <a:latin typeface="+mn-lt"/>
              </a:rPr>
              <a:t>currently has </a:t>
            </a:r>
            <a:r>
              <a:rPr lang="en-ZA" sz="1400" dirty="0">
                <a:latin typeface="+mn-lt"/>
              </a:rPr>
              <a:t>48 patients.</a:t>
            </a:r>
            <a:r>
              <a:rPr lang="en-ZA" sz="1400" b="0" dirty="0">
                <a:latin typeface="+mn-lt"/>
              </a:rPr>
              <a:t> </a:t>
            </a:r>
          </a:p>
          <a:p>
            <a:pPr marL="378115" indent="-367400" algn="just">
              <a:lnSpc>
                <a:spcPct val="150000"/>
              </a:lnSpc>
              <a:buFont typeface="+mj-lt"/>
              <a:buAutoNum type="arabicPeriod"/>
            </a:pPr>
            <a:r>
              <a:rPr lang="en-ZA" sz="1400" b="0" dirty="0"/>
              <a:t>The Metro </a:t>
            </a:r>
            <a:r>
              <a:rPr lang="en-ZA" sz="1400" dirty="0"/>
              <a:t>mass</a:t>
            </a:r>
            <a:r>
              <a:rPr lang="en-ZA" sz="1400" b="0" dirty="0"/>
              <a:t> </a:t>
            </a:r>
            <a:r>
              <a:rPr lang="en-ZA" sz="1400" dirty="0"/>
              <a:t>fatality centre </a:t>
            </a:r>
            <a:r>
              <a:rPr lang="en-ZA" sz="1400" b="0" dirty="0"/>
              <a:t>has capacity for </a:t>
            </a:r>
            <a:r>
              <a:rPr lang="en-ZA" sz="1400" dirty="0"/>
              <a:t>240 bodies; </a:t>
            </a:r>
            <a:r>
              <a:rPr lang="en-ZA" sz="1400" b="0" dirty="0"/>
              <a:t>currently</a:t>
            </a:r>
            <a:r>
              <a:rPr lang="en-ZA" sz="1400" dirty="0"/>
              <a:t> 24 decedents (cumulative total of 1257 bodies) </a:t>
            </a:r>
            <a:r>
              <a:rPr lang="en-ZA" sz="1400" b="0" dirty="0"/>
              <a:t>admitted. The overall capacity has been successfully managed across the province. </a:t>
            </a:r>
          </a:p>
          <a:p>
            <a:pPr marL="378115" indent="-367400" algn="just">
              <a:lnSpc>
                <a:spcPct val="150000"/>
              </a:lnSpc>
              <a:buFont typeface="+mj-lt"/>
              <a:buAutoNum type="arabicPeriod"/>
            </a:pPr>
            <a:endParaRPr lang="en-ZA" sz="1400" b="0" dirty="0">
              <a:latin typeface="+mn-lt"/>
            </a:endParaRPr>
          </a:p>
          <a:p>
            <a:pPr marL="10715" algn="just">
              <a:lnSpc>
                <a:spcPct val="150000"/>
              </a:lnSpc>
            </a:pPr>
            <a:r>
              <a:rPr lang="en-ZA" sz="1800" dirty="0">
                <a:latin typeface="+mn-lt"/>
              </a:rPr>
              <a:t> </a:t>
            </a:r>
          </a:p>
          <a:p>
            <a:pPr marL="342914" indent="-332199" algn="just">
              <a:buFont typeface="+mj-lt"/>
              <a:buAutoNum type="arabicPeriod" startAt="2"/>
            </a:pPr>
            <a:endParaRPr lang="en-ZA" sz="1800" b="0" dirty="0">
              <a:latin typeface="+mn-lt"/>
            </a:endParaRPr>
          </a:p>
          <a:p>
            <a:pPr marL="342914" indent="-332199">
              <a:buFont typeface="+mj-lt"/>
              <a:buAutoNum type="arabicPeriod" startAt="2"/>
            </a:pPr>
            <a:endParaRPr lang="en-ZA" sz="1800" b="0" dirty="0"/>
          </a:p>
          <a:p>
            <a:pPr marL="342914" indent="-332199">
              <a:buFont typeface="+mj-lt"/>
              <a:buAutoNum type="arabicPeriod" startAt="2"/>
            </a:pPr>
            <a:endParaRPr lang="en-ZA" sz="1600" b="0" dirty="0">
              <a:latin typeface="+mn-lt"/>
            </a:endParaRPr>
          </a:p>
        </p:txBody>
      </p:sp>
    </p:spTree>
    <p:extLst>
      <p:ext uri="{BB962C8B-B14F-4D97-AF65-F5344CB8AC3E}">
        <p14:creationId xmlns:p14="http://schemas.microsoft.com/office/powerpoint/2010/main" xmlns="" val="6564482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4000DA90-6AC0-4FB2-B140-5796FC5D8CDF}"/>
              </a:ext>
            </a:extLst>
          </p:cNvPr>
          <p:cNvSpPr txBox="1">
            <a:spLocks/>
          </p:cNvSpPr>
          <p:nvPr/>
        </p:nvSpPr>
        <p:spPr>
          <a:xfrm>
            <a:off x="407439" y="188640"/>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b">
            <a:normAutofit/>
          </a:bodyPr>
          <a:lstStyle>
            <a:lvl1pPr algn="ctr" defTabSz="685814" rtl="0" eaLnBrk="1" latinLnBrk="0" hangingPunct="1">
              <a:spcBef>
                <a:spcPct val="0"/>
              </a:spcBef>
              <a:buNone/>
              <a:defRPr sz="4500" b="1" kern="1200">
                <a:solidFill>
                  <a:schemeClr val="tx2"/>
                </a:solidFill>
                <a:latin typeface="Century Gothic" pitchFamily="34" charset="0"/>
                <a:ea typeface="+mj-ea"/>
                <a:cs typeface="+mj-cs"/>
              </a:defRPr>
            </a:lvl1pPr>
          </a:lstStyle>
          <a:p>
            <a:pPr marL="0" marR="0" lvl="0" indent="0" algn="l" defTabSz="685814" rtl="0" eaLnBrk="1" fontAlgn="auto" latinLnBrk="0" hangingPunct="1">
              <a:lnSpc>
                <a:spcPct val="100000"/>
              </a:lnSpc>
              <a:spcBef>
                <a:spcPct val="0"/>
              </a:spcBef>
              <a:spcAft>
                <a:spcPts val="0"/>
              </a:spcAft>
              <a:buClrTx/>
              <a:buSzTx/>
              <a:buFontTx/>
              <a:buNone/>
              <a:tabLst/>
              <a:defRPr/>
            </a:pPr>
            <a:r>
              <a:rPr kumimoji="0" lang="en-ZA" sz="2400" b="1" i="0" u="none" strike="noStrike" kern="1200" cap="none" spc="0" normalizeH="0" baseline="0" noProof="0" dirty="0">
                <a:ln>
                  <a:noFill/>
                </a:ln>
                <a:solidFill>
                  <a:srgbClr val="003399"/>
                </a:solidFill>
                <a:effectLst/>
                <a:uLnTx/>
                <a:uFillTx/>
                <a:latin typeface="Century Gothic" pitchFamily="34" charset="0"/>
                <a:ea typeface="+mj-ea"/>
                <a:cs typeface="+mj-cs"/>
              </a:rPr>
              <a:t>Acute Care Availability &amp; Utilisation per Drainage Area</a:t>
            </a:r>
            <a:endParaRPr kumimoji="0" lang="en-US" sz="2400" b="1" i="0" u="none" strike="noStrike" kern="1200" cap="none" spc="0" normalizeH="0" baseline="0" noProof="0" dirty="0">
              <a:ln>
                <a:noFill/>
              </a:ln>
              <a:solidFill>
                <a:srgbClr val="003399"/>
              </a:solidFill>
              <a:effectLst/>
              <a:uLnTx/>
              <a:uFillTx/>
              <a:latin typeface="Century Gothic" pitchFamily="34" charset="0"/>
              <a:ea typeface="+mj-ea"/>
              <a:cs typeface="+mj-cs"/>
            </a:endParaRPr>
          </a:p>
        </p:txBody>
      </p:sp>
      <p:sp>
        <p:nvSpPr>
          <p:cNvPr id="6" name="TextBox 5">
            <a:extLst>
              <a:ext uri="{FF2B5EF4-FFF2-40B4-BE49-F238E27FC236}">
                <a16:creationId xmlns:a16="http://schemas.microsoft.com/office/drawing/2014/main" xmlns="" id="{CD9F81B9-1BFE-4922-849B-77450D79E127}"/>
              </a:ext>
            </a:extLst>
          </p:cNvPr>
          <p:cNvSpPr txBox="1"/>
          <p:nvPr/>
        </p:nvSpPr>
        <p:spPr>
          <a:xfrm>
            <a:off x="192780" y="4957978"/>
            <a:ext cx="875843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prstClr val="black"/>
                </a:solidFill>
                <a:effectLst/>
                <a:uLnTx/>
                <a:uFillTx/>
                <a:latin typeface="Century Gothic"/>
                <a:ea typeface="+mn-ea"/>
                <a:cs typeface="+mn-cs"/>
              </a:rPr>
              <a:t>Operational Bed = an inpatient bed available for inpatient use that is staffed and equipped.</a:t>
            </a:r>
          </a:p>
        </p:txBody>
      </p:sp>
      <p:pic>
        <p:nvPicPr>
          <p:cNvPr id="2" name="Picture 1">
            <a:extLst>
              <a:ext uri="{FF2B5EF4-FFF2-40B4-BE49-F238E27FC236}">
                <a16:creationId xmlns:a16="http://schemas.microsoft.com/office/drawing/2014/main" xmlns="" id="{E4BC46A9-8902-4BF1-BA3A-69150DEB02A3}"/>
              </a:ext>
            </a:extLst>
          </p:cNvPr>
          <p:cNvPicPr>
            <a:picLocks noChangeAspect="1"/>
          </p:cNvPicPr>
          <p:nvPr/>
        </p:nvPicPr>
        <p:blipFill>
          <a:blip r:embed="rId2" cstate="print"/>
          <a:stretch>
            <a:fillRect/>
          </a:stretch>
        </p:blipFill>
        <p:spPr>
          <a:xfrm>
            <a:off x="25986" y="1052737"/>
            <a:ext cx="9118014" cy="3600400"/>
          </a:xfrm>
          <a:prstGeom prst="rect">
            <a:avLst/>
          </a:prstGeom>
        </p:spPr>
      </p:pic>
    </p:spTree>
    <p:extLst>
      <p:ext uri="{BB962C8B-B14F-4D97-AF65-F5344CB8AC3E}">
        <p14:creationId xmlns:p14="http://schemas.microsoft.com/office/powerpoint/2010/main" xmlns="" val="13492856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8" y="0"/>
            <a:ext cx="8597205" cy="1196752"/>
          </a:xfrm>
        </p:spPr>
        <p:txBody>
          <a:bodyPr/>
          <a:lstStyle/>
          <a:p>
            <a:r>
              <a:rPr lang="en-ZA" sz="2286" dirty="0"/>
              <a:t/>
            </a:r>
            <a:br>
              <a:rPr lang="en-ZA" sz="2286" dirty="0"/>
            </a:br>
            <a:r>
              <a:rPr lang="en-ZA" sz="2286" dirty="0"/>
              <a:t/>
            </a:r>
            <a:br>
              <a:rPr lang="en-ZA" sz="2286" dirty="0"/>
            </a:br>
            <a:r>
              <a:rPr lang="en-ZA" sz="2400" dirty="0"/>
              <a:t>Daily oxygen consumption over past month – tons/day</a:t>
            </a:r>
            <a:r>
              <a:rPr lang="en-ZA" sz="1800" dirty="0"/>
              <a:t/>
            </a:r>
            <a:br>
              <a:rPr lang="en-ZA" sz="1800" dirty="0"/>
            </a:br>
            <a:r>
              <a:rPr lang="en-ZA" sz="1200" dirty="0">
                <a:solidFill>
                  <a:srgbClr val="FF0000"/>
                </a:solidFill>
              </a:rPr>
              <a:t>  </a:t>
            </a:r>
            <a:r>
              <a:rPr lang="en-US" dirty="0"/>
              <a:t/>
            </a:r>
            <a:br>
              <a:rPr lang="en-US" dirty="0"/>
            </a:br>
            <a:r>
              <a:rPr lang="en-ZA" sz="2286" dirty="0"/>
              <a:t/>
            </a:r>
            <a:br>
              <a:rPr lang="en-ZA" sz="2286" dirty="0"/>
            </a:br>
            <a:endParaRPr lang="en-ZA" sz="2286" dirty="0"/>
          </a:p>
        </p:txBody>
      </p:sp>
      <p:sp>
        <p:nvSpPr>
          <p:cNvPr id="3" name="Slide Number Placeholder 2"/>
          <p:cNvSpPr>
            <a:spLocks noGrp="1"/>
          </p:cNvSpPr>
          <p:nvPr>
            <p:ph type="sldNum" sz="quarter" idx="4"/>
          </p:nvPr>
        </p:nvSpPr>
        <p:spPr/>
        <p:txBody>
          <a:bodyPr/>
          <a:lstStyle/>
          <a:p>
            <a:pPr marL="0" marR="0" lvl="0" indent="0" algn="r" defTabSz="514371" rtl="0" eaLnBrk="1" fontAlgn="auto" latinLnBrk="0" hangingPunct="1">
              <a:lnSpc>
                <a:spcPct val="100000"/>
              </a:lnSpc>
              <a:spcBef>
                <a:spcPts val="0"/>
              </a:spcBef>
              <a:spcAft>
                <a:spcPts val="0"/>
              </a:spcAft>
              <a:buClrTx/>
              <a:buSzTx/>
              <a:buFontTx/>
              <a:buNone/>
              <a:tabLst/>
              <a:defRPr/>
            </a:pPr>
            <a:fld id="{8406839F-D7A4-4E5D-B93D-768AD4D1DB36}" type="slidenum">
              <a:rPr kumimoji="0" lang="en-ZA" sz="1013" b="0" i="0" u="none" strike="noStrike" kern="0" cap="none" spc="0" normalizeH="0" baseline="0" noProof="0">
                <a:ln>
                  <a:noFill/>
                </a:ln>
                <a:solidFill>
                  <a:srgbClr val="003399"/>
                </a:solidFill>
                <a:effectLst/>
                <a:uLnTx/>
                <a:uFillTx/>
                <a:latin typeface="Century Gothic" pitchFamily="34" charset="0"/>
                <a:ea typeface="+mn-ea"/>
                <a:cs typeface="+mn-cs"/>
              </a:rPr>
              <a:pPr marL="0" marR="0" lvl="0" indent="0" algn="r" defTabSz="514371" rtl="0" eaLnBrk="1" fontAlgn="auto" latinLnBrk="0" hangingPunct="1">
                <a:lnSpc>
                  <a:spcPct val="100000"/>
                </a:lnSpc>
                <a:spcBef>
                  <a:spcPts val="0"/>
                </a:spcBef>
                <a:spcAft>
                  <a:spcPts val="0"/>
                </a:spcAft>
                <a:buClrTx/>
                <a:buSzTx/>
                <a:buFontTx/>
                <a:buNone/>
                <a:tabLst/>
                <a:defRPr/>
              </a:pPr>
              <a:t>18</a:t>
            </a:fld>
            <a:endParaRPr kumimoji="0" lang="en-ZA" sz="1013" b="0" i="0" u="none" strike="noStrike" kern="0" cap="none" spc="0" normalizeH="0" baseline="0" noProof="0" dirty="0">
              <a:ln>
                <a:noFill/>
              </a:ln>
              <a:solidFill>
                <a:srgbClr val="003399"/>
              </a:solidFill>
              <a:effectLst/>
              <a:uLnTx/>
              <a:uFillTx/>
              <a:latin typeface="Century Gothic" pitchFamily="34" charset="0"/>
              <a:ea typeface="+mn-ea"/>
              <a:cs typeface="+mn-cs"/>
            </a:endParaRPr>
          </a:p>
        </p:txBody>
      </p:sp>
      <p:graphicFrame>
        <p:nvGraphicFramePr>
          <p:cNvPr id="5" name="Chart 4">
            <a:extLst>
              <a:ext uri="{FF2B5EF4-FFF2-40B4-BE49-F238E27FC236}">
                <a16:creationId xmlns:a16="http://schemas.microsoft.com/office/drawing/2014/main" xmlns="" id="{5A98C0BB-8CEA-4638-A09C-5DEC5E3668E1}"/>
              </a:ext>
            </a:extLst>
          </p:cNvPr>
          <p:cNvGraphicFramePr>
            <a:graphicFrameLocks noGrp="1"/>
          </p:cNvGraphicFramePr>
          <p:nvPr/>
        </p:nvGraphicFramePr>
        <p:xfrm>
          <a:off x="382785" y="1153592"/>
          <a:ext cx="8378429" cy="52393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22702979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9A99354-048D-4DA7-AAE1-85A8DCE27F04}"/>
              </a:ext>
            </a:extLst>
          </p:cNvPr>
          <p:cNvSpPr>
            <a:spLocks noGrp="1"/>
          </p:cNvSpPr>
          <p:nvPr>
            <p:ph type="title"/>
          </p:nvPr>
        </p:nvSpPr>
        <p:spPr/>
        <p:txBody>
          <a:bodyPr/>
          <a:lstStyle/>
          <a:p>
            <a:r>
              <a:rPr lang="en-US" sz="2400" dirty="0"/>
              <a:t>Public Sector oxygen consumption trend - tons/day </a:t>
            </a:r>
          </a:p>
        </p:txBody>
      </p:sp>
      <p:sp>
        <p:nvSpPr>
          <p:cNvPr id="3" name="Slide Number Placeholder 2">
            <a:extLst>
              <a:ext uri="{FF2B5EF4-FFF2-40B4-BE49-F238E27FC236}">
                <a16:creationId xmlns:a16="http://schemas.microsoft.com/office/drawing/2014/main" xmlns="" id="{D75F2B3F-638F-4BE3-837C-0DC188181D8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506"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ZA" sz="506"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a:extLst>
              <a:ext uri="{FF2B5EF4-FFF2-40B4-BE49-F238E27FC236}">
                <a16:creationId xmlns:a16="http://schemas.microsoft.com/office/drawing/2014/main" xmlns="" id="{2E1F58C0-D7C4-4EB0-96D1-37175C0FABA8}"/>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450" b="0" i="0" u="none" strike="noStrike" kern="1200" cap="none" spc="0" normalizeH="0" baseline="0" noProof="0">
                <a:ln>
                  <a:noFill/>
                </a:ln>
                <a:solidFill>
                  <a:srgbClr val="998F86"/>
                </a:solidFill>
                <a:effectLst/>
                <a:uLnTx/>
                <a:uFillTx/>
                <a:latin typeface="Century Gothic"/>
                <a:ea typeface="+mn-ea"/>
                <a:cs typeface="+mn-cs"/>
              </a:rPr>
              <a:t>Go to Insert &gt; Header &amp; Footer &gt; Enter presentation name into footer field</a:t>
            </a:r>
            <a:endParaRPr kumimoji="0" lang="en-GB" sz="450" b="0" i="0" u="none" strike="noStrike" kern="1200" cap="none" spc="0" normalizeH="0" baseline="0" noProof="0" dirty="0">
              <a:ln>
                <a:noFill/>
              </a:ln>
              <a:solidFill>
                <a:srgbClr val="998F86"/>
              </a:solidFill>
              <a:effectLst/>
              <a:uLnTx/>
              <a:uFillTx/>
              <a:latin typeface="Century Gothic"/>
              <a:ea typeface="+mn-ea"/>
              <a:cs typeface="+mn-cs"/>
            </a:endParaRPr>
          </a:p>
        </p:txBody>
      </p:sp>
      <p:graphicFrame>
        <p:nvGraphicFramePr>
          <p:cNvPr id="6" name="Chart 5">
            <a:extLst>
              <a:ext uri="{FF2B5EF4-FFF2-40B4-BE49-F238E27FC236}">
                <a16:creationId xmlns:a16="http://schemas.microsoft.com/office/drawing/2014/main" xmlns="" id="{00000000-0008-0000-0800-000002000000}"/>
              </a:ext>
            </a:extLst>
          </p:cNvPr>
          <p:cNvGraphicFramePr>
            <a:graphicFrameLocks noGrp="1"/>
          </p:cNvGraphicFramePr>
          <p:nvPr/>
        </p:nvGraphicFramePr>
        <p:xfrm>
          <a:off x="81736" y="1271031"/>
          <a:ext cx="8304381" cy="533275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40616280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E1DD435-47C4-4DB3-8F52-9AA72C58F4A3}"/>
              </a:ext>
            </a:extLst>
          </p:cNvPr>
          <p:cNvSpPr>
            <a:spLocks noGrp="1"/>
          </p:cNvSpPr>
          <p:nvPr>
            <p:ph type="title"/>
          </p:nvPr>
        </p:nvSpPr>
        <p:spPr/>
        <p:txBody>
          <a:bodyPr/>
          <a:lstStyle/>
          <a:p>
            <a:r>
              <a:rPr lang="en-ZA" dirty="0"/>
              <a:t>Overview </a:t>
            </a:r>
            <a:endParaRPr lang="en-US" dirty="0"/>
          </a:p>
        </p:txBody>
      </p:sp>
      <p:sp>
        <p:nvSpPr>
          <p:cNvPr id="5" name="Text Placeholder 4">
            <a:extLst>
              <a:ext uri="{FF2B5EF4-FFF2-40B4-BE49-F238E27FC236}">
                <a16:creationId xmlns:a16="http://schemas.microsoft.com/office/drawing/2014/main" xmlns="" id="{EDCCC681-7A68-4B33-9F04-9315DEDF2137}"/>
              </a:ext>
            </a:extLst>
          </p:cNvPr>
          <p:cNvSpPr>
            <a:spLocks noGrp="1"/>
          </p:cNvSpPr>
          <p:nvPr>
            <p:ph type="body" sz="quarter" idx="10"/>
          </p:nvPr>
        </p:nvSpPr>
        <p:spPr>
          <a:xfrm>
            <a:off x="273397" y="1124744"/>
            <a:ext cx="8597205" cy="5112568"/>
          </a:xfrm>
        </p:spPr>
        <p:txBody>
          <a:bodyPr>
            <a:normAutofit/>
          </a:bodyPr>
          <a:lstStyle/>
          <a:p>
            <a:pPr marL="457200" indent="-457200">
              <a:buFont typeface="+mj-lt"/>
              <a:buAutoNum type="arabicPeriod"/>
            </a:pPr>
            <a:r>
              <a:rPr lang="en-ZA" sz="2000" b="0" dirty="0"/>
              <a:t>Surveillance &amp; Response Update</a:t>
            </a:r>
          </a:p>
          <a:p>
            <a:pPr marL="452438" indent="-452438">
              <a:buAutoNum type="arabicPeriod"/>
            </a:pPr>
            <a:endParaRPr lang="en-ZA" sz="2000" b="0" dirty="0"/>
          </a:p>
          <a:p>
            <a:pPr marL="452438" indent="-452438">
              <a:buAutoNum type="arabicPeriod"/>
            </a:pPr>
            <a:r>
              <a:rPr lang="en-ZA" sz="2000" b="0" dirty="0"/>
              <a:t>Health platform COVID response</a:t>
            </a:r>
          </a:p>
          <a:p>
            <a:pPr marL="452438" indent="-452438">
              <a:buAutoNum type="arabicPeriod"/>
            </a:pPr>
            <a:endParaRPr lang="en-ZA" sz="2000" b="0" dirty="0"/>
          </a:p>
          <a:p>
            <a:pPr marL="452438" indent="-452438">
              <a:buAutoNum type="arabicPeriod"/>
            </a:pPr>
            <a:r>
              <a:rPr lang="en-ZA" sz="2000" b="0" dirty="0"/>
              <a:t>Safe-guarding well-being of health care workers</a:t>
            </a:r>
          </a:p>
          <a:p>
            <a:pPr marL="452438" indent="-452438">
              <a:buAutoNum type="arabicPeriod"/>
            </a:pPr>
            <a:endParaRPr lang="en-ZA" sz="2000" b="0" dirty="0"/>
          </a:p>
          <a:p>
            <a:pPr marL="452438" indent="-452438">
              <a:buAutoNum type="arabicPeriod"/>
            </a:pPr>
            <a:r>
              <a:rPr lang="en-ZA" sz="2000" b="0" dirty="0"/>
              <a:t>Vaccine strategy</a:t>
            </a:r>
          </a:p>
          <a:p>
            <a:pPr marL="452438" indent="-452438">
              <a:buAutoNum type="arabicPeriod"/>
            </a:pPr>
            <a:endParaRPr lang="en-ZA" sz="2000" b="0" dirty="0"/>
          </a:p>
          <a:p>
            <a:pPr marL="452438" indent="-452438">
              <a:buAutoNum type="arabicPeriod"/>
            </a:pPr>
            <a:r>
              <a:rPr lang="en-ZA" sz="2000" b="0" dirty="0"/>
              <a:t>Conclusions</a:t>
            </a:r>
          </a:p>
          <a:p>
            <a:pPr marL="342900" indent="-342900">
              <a:buAutoNum type="arabicPeriod"/>
            </a:pPr>
            <a:endParaRPr lang="en-ZA" sz="2000" b="0" dirty="0"/>
          </a:p>
          <a:p>
            <a:endParaRPr lang="en-ZA" sz="2000" b="0" dirty="0"/>
          </a:p>
        </p:txBody>
      </p:sp>
    </p:spTree>
    <p:extLst>
      <p:ext uri="{BB962C8B-B14F-4D97-AF65-F5344CB8AC3E}">
        <p14:creationId xmlns:p14="http://schemas.microsoft.com/office/powerpoint/2010/main" xmlns="" val="28639108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13AA8C4-6A30-48A6-B70D-42757940943A}"/>
              </a:ext>
            </a:extLst>
          </p:cNvPr>
          <p:cNvSpPr>
            <a:spLocks noGrp="1"/>
          </p:cNvSpPr>
          <p:nvPr>
            <p:ph type="title"/>
          </p:nvPr>
        </p:nvSpPr>
        <p:spPr>
          <a:xfrm>
            <a:off x="407439" y="188640"/>
            <a:ext cx="8597205" cy="559256"/>
          </a:xfrm>
        </p:spPr>
        <p:txBody>
          <a:bodyPr/>
          <a:lstStyle/>
          <a:p>
            <a:r>
              <a:rPr lang="en-ZA" sz="2400" dirty="0"/>
              <a:t>Oxygen utilisation – general comments</a:t>
            </a:r>
            <a:endParaRPr lang="en-US" sz="2400" dirty="0"/>
          </a:p>
        </p:txBody>
      </p:sp>
      <p:sp>
        <p:nvSpPr>
          <p:cNvPr id="3" name="Text Placeholder 2">
            <a:extLst>
              <a:ext uri="{FF2B5EF4-FFF2-40B4-BE49-F238E27FC236}">
                <a16:creationId xmlns:a16="http://schemas.microsoft.com/office/drawing/2014/main" xmlns="" id="{B6E1B28F-9785-427C-B7B9-593D31B85801}"/>
              </a:ext>
            </a:extLst>
          </p:cNvPr>
          <p:cNvSpPr>
            <a:spLocks noGrp="1"/>
          </p:cNvSpPr>
          <p:nvPr>
            <p:ph type="body" sz="quarter" idx="10"/>
          </p:nvPr>
        </p:nvSpPr>
        <p:spPr>
          <a:xfrm>
            <a:off x="345405" y="1008099"/>
            <a:ext cx="8453190" cy="5688632"/>
          </a:xfrm>
        </p:spPr>
        <p:txBody>
          <a:bodyPr>
            <a:noAutofit/>
          </a:bodyPr>
          <a:lstStyle/>
          <a:p>
            <a:pPr marL="376925" indent="-367400" algn="just">
              <a:lnSpc>
                <a:spcPct val="150000"/>
              </a:lnSpc>
              <a:buFont typeface="+mj-lt"/>
              <a:buAutoNum type="arabicPeriod"/>
            </a:pPr>
            <a:r>
              <a:rPr lang="en-ZA" sz="1600" b="0" dirty="0">
                <a:latin typeface="+mn-lt"/>
              </a:rPr>
              <a:t>The combined oxygen utilisation in the Western Cape Public and private hospital sectors is </a:t>
            </a:r>
            <a:r>
              <a:rPr lang="en-ZA" sz="1600" dirty="0">
                <a:latin typeface="+mn-lt"/>
              </a:rPr>
              <a:t>67.46</a:t>
            </a:r>
            <a:r>
              <a:rPr lang="en-ZA" sz="1600" b="0" dirty="0">
                <a:latin typeface="+mn-lt"/>
              </a:rPr>
              <a:t> </a:t>
            </a:r>
            <a:r>
              <a:rPr lang="en-ZA" sz="1600" dirty="0">
                <a:latin typeface="+mn-lt"/>
              </a:rPr>
              <a:t>tons/day </a:t>
            </a:r>
            <a:r>
              <a:rPr lang="en-ZA" sz="1600" b="0" dirty="0">
                <a:latin typeface="+mn-lt"/>
              </a:rPr>
              <a:t>(after </a:t>
            </a:r>
            <a:r>
              <a:rPr lang="en-ZA" sz="1600" dirty="0">
                <a:latin typeface="+mn-lt"/>
              </a:rPr>
              <a:t>a peak of &gt;80 tons/day</a:t>
            </a:r>
            <a:r>
              <a:rPr lang="en-ZA" sz="1600" b="0" dirty="0">
                <a:latin typeface="+mn-lt"/>
              </a:rPr>
              <a:t>).</a:t>
            </a:r>
          </a:p>
          <a:p>
            <a:pPr marL="376925" indent="-367400" algn="just">
              <a:lnSpc>
                <a:spcPct val="150000"/>
              </a:lnSpc>
              <a:buFont typeface="+mj-lt"/>
              <a:buAutoNum type="arabicPeriod"/>
            </a:pPr>
            <a:r>
              <a:rPr lang="en-ZA" sz="1600" b="0" dirty="0">
                <a:latin typeface="+mn-lt"/>
              </a:rPr>
              <a:t>The </a:t>
            </a:r>
            <a:r>
              <a:rPr lang="en-ZA" sz="1600" dirty="0">
                <a:latin typeface="+mn-lt"/>
              </a:rPr>
              <a:t>combined public- private </a:t>
            </a:r>
            <a:r>
              <a:rPr lang="en-ZA" sz="1600" b="0" dirty="0">
                <a:latin typeface="+mn-lt"/>
              </a:rPr>
              <a:t>utilisation is now </a:t>
            </a:r>
            <a:r>
              <a:rPr lang="en-ZA" sz="1600" dirty="0">
                <a:latin typeface="+mn-lt"/>
              </a:rPr>
              <a:t>below the maximal production capacity</a:t>
            </a:r>
            <a:r>
              <a:rPr lang="en-ZA" sz="1600" b="0" dirty="0">
                <a:latin typeface="+mn-lt"/>
              </a:rPr>
              <a:t> of </a:t>
            </a:r>
            <a:r>
              <a:rPr lang="en-ZA" sz="1600" dirty="0">
                <a:latin typeface="+mn-lt"/>
              </a:rPr>
              <a:t>70 tons/day </a:t>
            </a:r>
            <a:r>
              <a:rPr lang="en-ZA" sz="1600" b="0" dirty="0">
                <a:latin typeface="+mn-lt"/>
              </a:rPr>
              <a:t>at the Afrox Western Cape plant. </a:t>
            </a:r>
          </a:p>
          <a:p>
            <a:pPr marL="376925" indent="-367400" algn="just">
              <a:lnSpc>
                <a:spcPct val="150000"/>
              </a:lnSpc>
              <a:buFont typeface="+mj-lt"/>
              <a:buAutoNum type="arabicPeriod"/>
            </a:pPr>
            <a:r>
              <a:rPr lang="en-ZA" sz="1600" b="0" dirty="0">
                <a:latin typeface="+mn-lt"/>
              </a:rPr>
              <a:t>The public sector </a:t>
            </a:r>
            <a:r>
              <a:rPr lang="en-ZA" sz="1600" dirty="0">
                <a:latin typeface="+mn-lt"/>
              </a:rPr>
              <a:t>daily bulk oxygen </a:t>
            </a:r>
            <a:r>
              <a:rPr lang="en-ZA" sz="1600" b="0" dirty="0">
                <a:latin typeface="+mn-lt"/>
              </a:rPr>
              <a:t>consumption is </a:t>
            </a:r>
            <a:r>
              <a:rPr lang="en-ZA" sz="1600" dirty="0">
                <a:latin typeface="+mn-lt"/>
              </a:rPr>
              <a:t>47.89%</a:t>
            </a:r>
            <a:r>
              <a:rPr lang="en-ZA" sz="1600" b="0" dirty="0">
                <a:latin typeface="+mn-lt"/>
              </a:rPr>
              <a:t> of the </a:t>
            </a:r>
            <a:r>
              <a:rPr lang="en-ZA" sz="1600" b="0" dirty="0" err="1">
                <a:latin typeface="+mn-lt"/>
              </a:rPr>
              <a:t>Kuilsriver</a:t>
            </a:r>
            <a:r>
              <a:rPr lang="en-ZA" sz="1600" b="0" dirty="0">
                <a:latin typeface="+mn-lt"/>
              </a:rPr>
              <a:t> plant for the 7 day period ending 1</a:t>
            </a:r>
            <a:r>
              <a:rPr lang="en-ZA" sz="1600" b="0" baseline="30000" dirty="0">
                <a:latin typeface="+mn-lt"/>
              </a:rPr>
              <a:t>st</a:t>
            </a:r>
            <a:r>
              <a:rPr lang="en-ZA" sz="1600" b="0" dirty="0">
                <a:latin typeface="+mn-lt"/>
              </a:rPr>
              <a:t> February (compared to </a:t>
            </a:r>
            <a:r>
              <a:rPr lang="en-ZA" sz="1600" dirty="0">
                <a:latin typeface="+mn-lt"/>
              </a:rPr>
              <a:t>70.56%</a:t>
            </a:r>
            <a:r>
              <a:rPr lang="en-ZA" sz="1600" b="0" dirty="0">
                <a:latin typeface="+mn-lt"/>
              </a:rPr>
              <a:t> for the period ending 15</a:t>
            </a:r>
            <a:r>
              <a:rPr lang="en-ZA" sz="1600" b="0" baseline="30000" dirty="0">
                <a:latin typeface="+mn-lt"/>
              </a:rPr>
              <a:t>th</a:t>
            </a:r>
            <a:r>
              <a:rPr lang="en-ZA" sz="1600" b="0" dirty="0">
                <a:latin typeface="+mn-lt"/>
              </a:rPr>
              <a:t> January at our peak oxygen consumption).</a:t>
            </a:r>
          </a:p>
          <a:p>
            <a:pPr marL="376925" indent="-367400" algn="just">
              <a:lnSpc>
                <a:spcPct val="150000"/>
              </a:lnSpc>
              <a:buFont typeface="+mj-lt"/>
              <a:buAutoNum type="arabicPeriod"/>
            </a:pPr>
            <a:r>
              <a:rPr lang="en-ZA" sz="1600" b="0" dirty="0">
                <a:latin typeface="+mn-lt"/>
              </a:rPr>
              <a:t>The department’s </a:t>
            </a:r>
            <a:r>
              <a:rPr lang="en-ZA" sz="1600" dirty="0">
                <a:latin typeface="+mn-lt"/>
              </a:rPr>
              <a:t>total bulk oxygen </a:t>
            </a:r>
            <a:r>
              <a:rPr lang="en-ZA" sz="1600" b="0" dirty="0">
                <a:latin typeface="+mn-lt"/>
              </a:rPr>
              <a:t>consumption has reduced to around </a:t>
            </a:r>
            <a:r>
              <a:rPr lang="en-ZA" sz="1600" dirty="0">
                <a:latin typeface="+mn-lt"/>
              </a:rPr>
              <a:t>31.41</a:t>
            </a:r>
            <a:r>
              <a:rPr lang="en-ZA" sz="1600" b="0" dirty="0">
                <a:latin typeface="+mn-lt"/>
              </a:rPr>
              <a:t> tons daily when compared to </a:t>
            </a:r>
            <a:r>
              <a:rPr lang="en-ZA" sz="1600" dirty="0">
                <a:latin typeface="+mn-lt"/>
              </a:rPr>
              <a:t>51 tons</a:t>
            </a:r>
            <a:r>
              <a:rPr lang="en-ZA" sz="1600" b="0" dirty="0">
                <a:latin typeface="+mn-lt"/>
              </a:rPr>
              <a:t> daily in the first week of January.</a:t>
            </a:r>
          </a:p>
          <a:p>
            <a:pPr marL="376925" indent="-367400" algn="just">
              <a:lnSpc>
                <a:spcPct val="150000"/>
              </a:lnSpc>
              <a:buFont typeface="+mj-lt"/>
              <a:buAutoNum type="arabicPeriod"/>
            </a:pPr>
            <a:r>
              <a:rPr lang="en-ZA" sz="1600" b="0" dirty="0">
                <a:latin typeface="+mn-lt"/>
              </a:rPr>
              <a:t>The Western Cape now have </a:t>
            </a:r>
            <a:r>
              <a:rPr lang="en-ZA" sz="1600" dirty="0">
                <a:latin typeface="+mn-lt"/>
              </a:rPr>
              <a:t>4 bulk oxygen tankers </a:t>
            </a:r>
            <a:r>
              <a:rPr lang="en-ZA" sz="1600" b="0" dirty="0">
                <a:latin typeface="+mn-lt"/>
              </a:rPr>
              <a:t>allocated for the daily delivery of oxygen supplies during this week. </a:t>
            </a:r>
          </a:p>
          <a:p>
            <a:pPr marL="376925" indent="-367400" algn="just">
              <a:lnSpc>
                <a:spcPct val="150000"/>
              </a:lnSpc>
              <a:buFont typeface="+mj-lt"/>
              <a:buAutoNum type="arabicPeriod"/>
            </a:pPr>
            <a:r>
              <a:rPr lang="en-ZA" sz="1600" b="0" dirty="0">
                <a:latin typeface="+mn-lt"/>
              </a:rPr>
              <a:t>We will </a:t>
            </a:r>
            <a:r>
              <a:rPr lang="en-ZA" sz="1600" dirty="0">
                <a:latin typeface="+mn-lt"/>
              </a:rPr>
              <a:t>continue to monitor the utilisation of oxygen </a:t>
            </a:r>
            <a:r>
              <a:rPr lang="en-ZA" sz="1600" b="0" dirty="0">
                <a:latin typeface="+mn-lt"/>
              </a:rPr>
              <a:t>over the coming weeks, but </a:t>
            </a:r>
            <a:r>
              <a:rPr lang="en-ZA" sz="1600" dirty="0">
                <a:latin typeface="+mn-lt"/>
              </a:rPr>
              <a:t>the situation </a:t>
            </a:r>
            <a:r>
              <a:rPr lang="en-ZA" sz="1600" b="0" dirty="0">
                <a:latin typeface="+mn-lt"/>
              </a:rPr>
              <a:t>has completely </a:t>
            </a:r>
            <a:r>
              <a:rPr lang="en-ZA" sz="1600" dirty="0"/>
              <a:t>stabilised</a:t>
            </a:r>
            <a:r>
              <a:rPr lang="en-ZA" sz="1600" b="0" dirty="0">
                <a:latin typeface="+mn-lt"/>
              </a:rPr>
              <a:t>. </a:t>
            </a:r>
          </a:p>
          <a:p>
            <a:pPr marL="10715"/>
            <a:endParaRPr lang="en-ZA" sz="1800" b="0" dirty="0">
              <a:latin typeface="+mn-lt"/>
            </a:endParaRPr>
          </a:p>
          <a:p>
            <a:pPr marL="342914" indent="-332199">
              <a:buFont typeface="+mj-lt"/>
              <a:buAutoNum type="arabicPeriod" startAt="2"/>
            </a:pPr>
            <a:endParaRPr lang="en-ZA" sz="1600" b="0" dirty="0">
              <a:latin typeface="+mn-lt"/>
            </a:endParaRPr>
          </a:p>
        </p:txBody>
      </p:sp>
    </p:spTree>
    <p:extLst>
      <p:ext uri="{BB962C8B-B14F-4D97-AF65-F5344CB8AC3E}">
        <p14:creationId xmlns:p14="http://schemas.microsoft.com/office/powerpoint/2010/main" xmlns="" val="13227055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1489"/>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A5BB2699-2CDA-44A8-BE6E-DA302536D42F}"/>
              </a:ext>
            </a:extLst>
          </p:cNvPr>
          <p:cNvSpPr>
            <a:spLocks noGrp="1"/>
          </p:cNvSpPr>
          <p:nvPr>
            <p:ph type="body" sz="quarter" idx="12"/>
          </p:nvPr>
        </p:nvSpPr>
        <p:spPr>
          <a:xfrm>
            <a:off x="683568" y="2492375"/>
            <a:ext cx="8209283" cy="1152649"/>
          </a:xfrm>
        </p:spPr>
        <p:txBody>
          <a:bodyPr>
            <a:noAutofit/>
          </a:bodyPr>
          <a:lstStyle/>
          <a:p>
            <a:r>
              <a:rPr lang="en-ZA" b="1" dirty="0"/>
              <a:t>Safe-guarding well-being of health care workers</a:t>
            </a:r>
          </a:p>
        </p:txBody>
      </p:sp>
      <p:sp>
        <p:nvSpPr>
          <p:cNvPr id="3" name="TextBox 2">
            <a:extLst>
              <a:ext uri="{FF2B5EF4-FFF2-40B4-BE49-F238E27FC236}">
                <a16:creationId xmlns:a16="http://schemas.microsoft.com/office/drawing/2014/main" xmlns="" id="{50AD3792-1FE1-0641-880E-3295B514014C}"/>
              </a:ext>
            </a:extLst>
          </p:cNvPr>
          <p:cNvSpPr txBox="1"/>
          <p:nvPr/>
        </p:nvSpPr>
        <p:spPr>
          <a:xfrm>
            <a:off x="7210269" y="3072984"/>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xmlns="" val="22423798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a:hlinkClick r:id="rId3"/>
          </p:cNvPr>
          <p:cNvPicPr>
            <a:picLocks noChangeAspect="1"/>
          </p:cNvPicPr>
          <p:nvPr/>
        </p:nvPicPr>
        <p:blipFill>
          <a:blip r:embed="rId4" cstate="print"/>
          <a:stretch>
            <a:fillRect/>
          </a:stretch>
        </p:blipFill>
        <p:spPr>
          <a:xfrm>
            <a:off x="57150" y="857250"/>
            <a:ext cx="9015413" cy="5143500"/>
          </a:xfrm>
          <a:prstGeom prst="rect">
            <a:avLst/>
          </a:prstGeom>
          <a:noFill/>
        </p:spPr>
      </p:pic>
      <p:sp>
        <p:nvSpPr>
          <p:cNvPr id="4" name="Title" hidden="1"/>
          <p:cNvSpPr>
            <a:spLocks noGrp="1"/>
          </p:cNvSpPr>
          <p:nvPr>
            <p:ph type="title"/>
          </p:nvPr>
        </p:nvSpPr>
        <p:spPr/>
        <p:txBody>
          <a:bodyPr/>
          <a:lstStyle/>
          <a:p>
            <a:r>
              <a:t>DailyTrends</a:t>
            </a:r>
          </a:p>
        </p:txBody>
      </p:sp>
    </p:spTree>
    <p:extLst>
      <p:ext uri="{BB962C8B-B14F-4D97-AF65-F5344CB8AC3E}">
        <p14:creationId xmlns:p14="http://schemas.microsoft.com/office/powerpoint/2010/main" xmlns="" val="29210804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a:hlinkClick r:id="rId3"/>
          </p:cNvPr>
          <p:cNvPicPr>
            <a:picLocks noChangeAspect="1"/>
          </p:cNvPicPr>
          <p:nvPr/>
        </p:nvPicPr>
        <p:blipFill>
          <a:blip r:embed="rId4" cstate="print"/>
          <a:stretch>
            <a:fillRect/>
          </a:stretch>
        </p:blipFill>
        <p:spPr>
          <a:xfrm>
            <a:off x="57150" y="857250"/>
            <a:ext cx="9015413" cy="5143500"/>
          </a:xfrm>
          <a:prstGeom prst="rect">
            <a:avLst/>
          </a:prstGeom>
          <a:noFill/>
        </p:spPr>
      </p:pic>
      <p:sp>
        <p:nvSpPr>
          <p:cNvPr id="4" name="Title" hidden="1"/>
          <p:cNvSpPr>
            <a:spLocks noGrp="1"/>
          </p:cNvSpPr>
          <p:nvPr>
            <p:ph type="title"/>
          </p:nvPr>
        </p:nvSpPr>
        <p:spPr/>
        <p:txBody>
          <a:bodyPr/>
          <a:lstStyle/>
          <a:p>
            <a:r>
              <a:t>RIP</a:t>
            </a:r>
          </a:p>
        </p:txBody>
      </p:sp>
    </p:spTree>
    <p:extLst>
      <p:ext uri="{BB962C8B-B14F-4D97-AF65-F5344CB8AC3E}">
        <p14:creationId xmlns:p14="http://schemas.microsoft.com/office/powerpoint/2010/main" xmlns="" val="41801396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High Level Summary on Recruitment Drive</a:t>
            </a:r>
          </a:p>
        </p:txBody>
      </p:sp>
      <p:sp>
        <p:nvSpPr>
          <p:cNvPr id="3" name="Slide Number Placeholder 2"/>
          <p:cNvSpPr>
            <a:spLocks noGrp="1"/>
          </p:cNvSpPr>
          <p:nvPr>
            <p:ph type="sldNum" sz="quarter" idx="4"/>
          </p:nvPr>
        </p:nvSpPr>
        <p:spPr/>
        <p:txBody>
          <a:bodyPr/>
          <a:lstStyle/>
          <a:p>
            <a:pPr marL="0" marR="0" lvl="0" indent="0" algn="r" defTabSz="51435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506" b="0" i="0" u="none" strike="noStrike" kern="1200" cap="none" spc="0" normalizeH="0" baseline="0" noProof="0">
                <a:ln>
                  <a:noFill/>
                </a:ln>
                <a:solidFill>
                  <a:srgbClr val="003399"/>
                </a:solidFill>
                <a:effectLst/>
                <a:uLnTx/>
                <a:uFillTx/>
                <a:latin typeface="Century Gothic" pitchFamily="34" charset="0"/>
                <a:ea typeface="+mn-ea"/>
                <a:cs typeface="+mn-cs"/>
              </a:rPr>
              <a:pPr marL="0" marR="0" lvl="0" indent="0" algn="r" defTabSz="514350" rtl="0" eaLnBrk="1" fontAlgn="auto" latinLnBrk="0" hangingPunct="1">
                <a:lnSpc>
                  <a:spcPct val="100000"/>
                </a:lnSpc>
                <a:spcBef>
                  <a:spcPts val="0"/>
                </a:spcBef>
                <a:spcAft>
                  <a:spcPts val="0"/>
                </a:spcAft>
                <a:buClrTx/>
                <a:buSzTx/>
                <a:buFontTx/>
                <a:buNone/>
                <a:tabLst/>
                <a:defRPr/>
              </a:pPr>
              <a:t>24</a:t>
            </a:fld>
            <a:endParaRPr kumimoji="0" lang="en-ZA" sz="506"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graphicFrame>
        <p:nvGraphicFramePr>
          <p:cNvPr id="4" name="Table 3">
            <a:extLst>
              <a:ext uri="{FF2B5EF4-FFF2-40B4-BE49-F238E27FC236}">
                <a16:creationId xmlns:a16="http://schemas.microsoft.com/office/drawing/2014/main" xmlns="" id="{CD3AF720-EC5A-4818-AB06-EF6FE907AB40}"/>
              </a:ext>
            </a:extLst>
          </p:cNvPr>
          <p:cNvGraphicFramePr>
            <a:graphicFrameLocks noGrp="1"/>
          </p:cNvGraphicFramePr>
          <p:nvPr/>
        </p:nvGraphicFramePr>
        <p:xfrm>
          <a:off x="597049" y="3844553"/>
          <a:ext cx="3090454" cy="2464768"/>
        </p:xfrm>
        <a:graphic>
          <a:graphicData uri="http://schemas.openxmlformats.org/drawingml/2006/table">
            <a:tbl>
              <a:tblPr/>
              <a:tblGrid>
                <a:gridCol w="1437857">
                  <a:extLst>
                    <a:ext uri="{9D8B030D-6E8A-4147-A177-3AD203B41FA5}">
                      <a16:colId xmlns:a16="http://schemas.microsoft.com/office/drawing/2014/main" xmlns="" val="3038824486"/>
                    </a:ext>
                  </a:extLst>
                </a:gridCol>
                <a:gridCol w="788501">
                  <a:extLst>
                    <a:ext uri="{9D8B030D-6E8A-4147-A177-3AD203B41FA5}">
                      <a16:colId xmlns:a16="http://schemas.microsoft.com/office/drawing/2014/main" xmlns="" val="3159192144"/>
                    </a:ext>
                  </a:extLst>
                </a:gridCol>
                <a:gridCol w="864096">
                  <a:extLst>
                    <a:ext uri="{9D8B030D-6E8A-4147-A177-3AD203B41FA5}">
                      <a16:colId xmlns:a16="http://schemas.microsoft.com/office/drawing/2014/main" xmlns="" val="3413316464"/>
                    </a:ext>
                  </a:extLst>
                </a:gridCol>
              </a:tblGrid>
              <a:tr h="449287">
                <a:tc>
                  <a:txBody>
                    <a:bodyPr/>
                    <a:lstStyle/>
                    <a:p>
                      <a:pPr algn="l" fontAlgn="b"/>
                      <a:r>
                        <a:rPr lang="en-US" sz="800" b="1" i="0" u="none" strike="noStrike" dirty="0">
                          <a:solidFill>
                            <a:schemeClr val="bg1"/>
                          </a:solidFill>
                          <a:effectLst/>
                          <a:latin typeface="Century Gothic" panose="020B0502020202020204" pitchFamily="34" charset="0"/>
                        </a:rPr>
                        <a:t>Category of HCW</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29B"/>
                    </a:solidFill>
                  </a:tcPr>
                </a:tc>
                <a:tc>
                  <a:txBody>
                    <a:bodyPr/>
                    <a:lstStyle/>
                    <a:p>
                      <a:pPr algn="ctr" fontAlgn="b"/>
                      <a:r>
                        <a:rPr lang="en-US" sz="800" b="1" i="0" u="none" strike="noStrike">
                          <a:solidFill>
                            <a:schemeClr val="bg1"/>
                          </a:solidFill>
                          <a:effectLst/>
                          <a:latin typeface="Century Gothic" panose="020B0502020202020204" pitchFamily="34" charset="0"/>
                        </a:rPr>
                        <a:t>Possibly Available</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29B"/>
                    </a:solidFill>
                  </a:tcPr>
                </a:tc>
                <a:tc>
                  <a:txBody>
                    <a:bodyPr/>
                    <a:lstStyle/>
                    <a:p>
                      <a:pPr algn="ctr" fontAlgn="b"/>
                      <a:r>
                        <a:rPr lang="en-US" sz="800" b="1" i="0" u="none" strike="noStrike" dirty="0">
                          <a:solidFill>
                            <a:schemeClr val="bg1"/>
                          </a:solidFill>
                          <a:effectLst/>
                          <a:latin typeface="Century Gothic" panose="020B0502020202020204" pitchFamily="34" charset="0"/>
                        </a:rPr>
                        <a:t>Appointed on PERSAL</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29B"/>
                    </a:solidFill>
                  </a:tcPr>
                </a:tc>
                <a:extLst>
                  <a:ext uri="{0D108BD9-81ED-4DB2-BD59-A6C34878D82A}">
                    <a16:rowId xmlns:a16="http://schemas.microsoft.com/office/drawing/2014/main" xmlns="" val="2376392312"/>
                  </a:ext>
                </a:extLst>
              </a:tr>
              <a:tr h="248225">
                <a:tc>
                  <a:txBody>
                    <a:bodyPr/>
                    <a:lstStyle/>
                    <a:p>
                      <a:pPr algn="l" fontAlgn="b"/>
                      <a:r>
                        <a:rPr lang="en-US" sz="800" b="1" i="0" u="none" strike="noStrike">
                          <a:solidFill>
                            <a:srgbClr val="000000"/>
                          </a:solidFill>
                          <a:effectLst/>
                          <a:latin typeface="Century Gothic" panose="020B0502020202020204" pitchFamily="34" charset="0"/>
                        </a:rPr>
                        <a:t>MO</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a:solidFill>
                            <a:srgbClr val="000000"/>
                          </a:solidFill>
                          <a:effectLst/>
                          <a:latin typeface="Century Gothic" panose="020B0502020202020204" pitchFamily="34" charset="0"/>
                        </a:rPr>
                        <a:t>142</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a:solidFill>
                            <a:srgbClr val="000000"/>
                          </a:solidFill>
                          <a:effectLst/>
                          <a:latin typeface="Century Gothic" panose="020B0502020202020204" pitchFamily="34" charset="0"/>
                        </a:rPr>
                        <a:t>22</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77995573"/>
                  </a:ext>
                </a:extLst>
              </a:tr>
              <a:tr h="248225">
                <a:tc>
                  <a:txBody>
                    <a:bodyPr/>
                    <a:lstStyle/>
                    <a:p>
                      <a:pPr algn="l" fontAlgn="b"/>
                      <a:r>
                        <a:rPr lang="en-US" sz="800" b="1" i="0" u="none" strike="noStrike" dirty="0">
                          <a:solidFill>
                            <a:srgbClr val="000000"/>
                          </a:solidFill>
                          <a:effectLst/>
                          <a:latin typeface="Century Gothic" panose="020B0502020202020204" pitchFamily="34" charset="0"/>
                        </a:rPr>
                        <a:t>Enrolled Nurse(EN)</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a:solidFill>
                            <a:srgbClr val="000000"/>
                          </a:solidFill>
                          <a:effectLst/>
                          <a:latin typeface="Century Gothic" panose="020B0502020202020204" pitchFamily="34" charset="0"/>
                        </a:rPr>
                        <a:t>102</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a:solidFill>
                            <a:srgbClr val="000000"/>
                          </a:solidFill>
                          <a:effectLst/>
                          <a:latin typeface="Century Gothic" panose="020B0502020202020204" pitchFamily="34" charset="0"/>
                        </a:rPr>
                        <a:t>12</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8072444"/>
                  </a:ext>
                </a:extLst>
              </a:tr>
              <a:tr h="387178">
                <a:tc>
                  <a:txBody>
                    <a:bodyPr/>
                    <a:lstStyle/>
                    <a:p>
                      <a:pPr algn="l" fontAlgn="b"/>
                      <a:r>
                        <a:rPr lang="en-US" sz="800" b="1" i="0" u="none" strike="noStrike" dirty="0">
                          <a:solidFill>
                            <a:srgbClr val="000000"/>
                          </a:solidFill>
                          <a:effectLst/>
                          <a:latin typeface="Century Gothic" panose="020B0502020202020204" pitchFamily="34" charset="0"/>
                        </a:rPr>
                        <a:t>Enrolled Nursing Auxiliary (ENA)</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a:solidFill>
                            <a:srgbClr val="000000"/>
                          </a:solidFill>
                          <a:effectLst/>
                          <a:latin typeface="Century Gothic" panose="020B0502020202020204" pitchFamily="34" charset="0"/>
                        </a:rPr>
                        <a:t>119</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a:solidFill>
                            <a:srgbClr val="000000"/>
                          </a:solidFill>
                          <a:effectLst/>
                          <a:latin typeface="Century Gothic" panose="020B0502020202020204" pitchFamily="34" charset="0"/>
                        </a:rPr>
                        <a:t>14</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0389822"/>
                  </a:ext>
                </a:extLst>
              </a:tr>
              <a:tr h="248225">
                <a:tc>
                  <a:txBody>
                    <a:bodyPr/>
                    <a:lstStyle/>
                    <a:p>
                      <a:pPr algn="l" fontAlgn="b"/>
                      <a:r>
                        <a:rPr lang="en-US" sz="800" b="1" i="0" u="none" strike="noStrike" dirty="0">
                          <a:solidFill>
                            <a:srgbClr val="000000"/>
                          </a:solidFill>
                          <a:effectLst/>
                          <a:latin typeface="Century Gothic" panose="020B0502020202020204" pitchFamily="34" charset="0"/>
                        </a:rPr>
                        <a:t>Not Indicated</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a:solidFill>
                            <a:srgbClr val="000000"/>
                          </a:solidFill>
                          <a:effectLst/>
                          <a:latin typeface="Century Gothic" panose="020B0502020202020204" pitchFamily="34" charset="0"/>
                        </a:rPr>
                        <a:t>29</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a:solidFill>
                            <a:srgbClr val="000000"/>
                          </a:solidFill>
                          <a:effectLst/>
                          <a:latin typeface="Century Gothic" panose="020B0502020202020204" pitchFamily="34" charset="0"/>
                        </a:rPr>
                        <a:t>5</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1928792"/>
                  </a:ext>
                </a:extLst>
              </a:tr>
              <a:tr h="248225">
                <a:tc>
                  <a:txBody>
                    <a:bodyPr/>
                    <a:lstStyle/>
                    <a:p>
                      <a:pPr algn="l" fontAlgn="b"/>
                      <a:r>
                        <a:rPr lang="en-US" sz="800" b="1" i="0" u="none" strike="noStrike">
                          <a:solidFill>
                            <a:srgbClr val="000000"/>
                          </a:solidFill>
                          <a:effectLst/>
                          <a:latin typeface="Century Gothic" panose="020B0502020202020204" pitchFamily="34" charset="0"/>
                        </a:rPr>
                        <a:t>Professional Nurse</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a:solidFill>
                            <a:srgbClr val="000000"/>
                          </a:solidFill>
                          <a:effectLst/>
                          <a:latin typeface="Century Gothic" panose="020B0502020202020204" pitchFamily="34" charset="0"/>
                        </a:rPr>
                        <a:t>126</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a:solidFill>
                            <a:srgbClr val="000000"/>
                          </a:solidFill>
                          <a:effectLst/>
                          <a:latin typeface="Century Gothic" panose="020B0502020202020204" pitchFamily="34" charset="0"/>
                        </a:rPr>
                        <a:t>50</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57674510"/>
                  </a:ext>
                </a:extLst>
              </a:tr>
              <a:tr h="387178">
                <a:tc>
                  <a:txBody>
                    <a:bodyPr/>
                    <a:lstStyle/>
                    <a:p>
                      <a:pPr algn="l" fontAlgn="b"/>
                      <a:r>
                        <a:rPr lang="en-US" sz="800" b="1" i="0" u="none" strike="noStrike">
                          <a:solidFill>
                            <a:srgbClr val="000000"/>
                          </a:solidFill>
                          <a:effectLst/>
                          <a:latin typeface="Century Gothic" panose="020B0502020202020204" pitchFamily="34" charset="0"/>
                        </a:rPr>
                        <a:t>Professional Nurse with Specialty</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a:solidFill>
                            <a:srgbClr val="000000"/>
                          </a:solidFill>
                          <a:effectLst/>
                          <a:latin typeface="Century Gothic" panose="020B0502020202020204" pitchFamily="34" charset="0"/>
                        </a:rPr>
                        <a:t>36</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dirty="0">
                          <a:solidFill>
                            <a:srgbClr val="000000"/>
                          </a:solidFill>
                          <a:effectLst/>
                          <a:latin typeface="Century Gothic" panose="020B0502020202020204" pitchFamily="34" charset="0"/>
                        </a:rPr>
                        <a:t>8</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48360763"/>
                  </a:ext>
                </a:extLst>
              </a:tr>
              <a:tr h="248225">
                <a:tc>
                  <a:txBody>
                    <a:bodyPr/>
                    <a:lstStyle/>
                    <a:p>
                      <a:pPr algn="l" fontAlgn="b"/>
                      <a:r>
                        <a:rPr lang="en-US" sz="800" b="1" i="0" u="none" strike="noStrike" dirty="0">
                          <a:solidFill>
                            <a:schemeClr val="bg1"/>
                          </a:solidFill>
                          <a:effectLst/>
                          <a:latin typeface="Century Gothic" panose="020B0502020202020204" pitchFamily="34" charset="0"/>
                        </a:rPr>
                        <a:t>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50000"/>
                      </a:schemeClr>
                    </a:solidFill>
                  </a:tcPr>
                </a:tc>
                <a:tc>
                  <a:txBody>
                    <a:bodyPr/>
                    <a:lstStyle/>
                    <a:p>
                      <a:pPr algn="ctr" fontAlgn="b"/>
                      <a:r>
                        <a:rPr lang="en-US" sz="800" b="1" i="0" u="none" strike="noStrike">
                          <a:solidFill>
                            <a:schemeClr val="bg1"/>
                          </a:solidFill>
                          <a:effectLst/>
                          <a:latin typeface="Century Gothic" panose="020B0502020202020204" pitchFamily="34" charset="0"/>
                        </a:rPr>
                        <a:t>554</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50000"/>
                      </a:schemeClr>
                    </a:solidFill>
                  </a:tcPr>
                </a:tc>
                <a:tc>
                  <a:txBody>
                    <a:bodyPr/>
                    <a:lstStyle/>
                    <a:p>
                      <a:pPr algn="ctr" fontAlgn="b"/>
                      <a:r>
                        <a:rPr lang="en-US" sz="800" b="1" i="0" u="none" strike="noStrike" dirty="0">
                          <a:solidFill>
                            <a:schemeClr val="bg1"/>
                          </a:solidFill>
                          <a:effectLst/>
                          <a:latin typeface="Century Gothic" panose="020B0502020202020204" pitchFamily="34" charset="0"/>
                        </a:rPr>
                        <a:t>111</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50000"/>
                      </a:schemeClr>
                    </a:solidFill>
                  </a:tcPr>
                </a:tc>
                <a:extLst>
                  <a:ext uri="{0D108BD9-81ED-4DB2-BD59-A6C34878D82A}">
                    <a16:rowId xmlns:a16="http://schemas.microsoft.com/office/drawing/2014/main" xmlns="" val="3737267422"/>
                  </a:ext>
                </a:extLst>
              </a:tr>
            </a:tbl>
          </a:graphicData>
        </a:graphic>
      </p:graphicFrame>
      <p:sp>
        <p:nvSpPr>
          <p:cNvPr id="10" name="TextBox 9">
            <a:extLst>
              <a:ext uri="{FF2B5EF4-FFF2-40B4-BE49-F238E27FC236}">
                <a16:creationId xmlns:a16="http://schemas.microsoft.com/office/drawing/2014/main" xmlns="" id="{B64232B0-6EE7-4C00-B5A1-E2CBA3CE265B}"/>
              </a:ext>
            </a:extLst>
          </p:cNvPr>
          <p:cNvSpPr txBox="1"/>
          <p:nvPr/>
        </p:nvSpPr>
        <p:spPr>
          <a:xfrm>
            <a:off x="3743220" y="3844553"/>
            <a:ext cx="4986610" cy="230832"/>
          </a:xfrm>
          <a:prstGeom prst="rect">
            <a:avLst/>
          </a:prstGeom>
          <a:solidFill>
            <a:schemeClr val="bg1">
              <a:lumMod val="50000"/>
            </a:schemeClr>
          </a:solidFill>
          <a:ln>
            <a:solidFill>
              <a:schemeClr val="tx1"/>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entury Gothic"/>
                <a:ea typeface="+mn-ea"/>
                <a:cs typeface="+mn-cs"/>
              </a:rPr>
              <a:t>Institutions have made 297 Offers to the following categories of staff:</a:t>
            </a:r>
          </a:p>
        </p:txBody>
      </p:sp>
      <p:sp>
        <p:nvSpPr>
          <p:cNvPr id="6" name="TextBox 5">
            <a:extLst>
              <a:ext uri="{FF2B5EF4-FFF2-40B4-BE49-F238E27FC236}">
                <a16:creationId xmlns:a16="http://schemas.microsoft.com/office/drawing/2014/main" xmlns="" id="{9149E205-CB35-4223-9447-7AAA71A82F22}"/>
              </a:ext>
            </a:extLst>
          </p:cNvPr>
          <p:cNvSpPr txBox="1"/>
          <p:nvPr/>
        </p:nvSpPr>
        <p:spPr>
          <a:xfrm>
            <a:off x="6631330" y="4125300"/>
            <a:ext cx="2098500" cy="2292935"/>
          </a:xfrm>
          <a:prstGeom prst="rect">
            <a:avLst/>
          </a:prstGeom>
          <a:solidFill>
            <a:schemeClr val="bg1">
              <a:lumMod val="50000"/>
            </a:schemeClr>
          </a:solidFill>
        </p:spPr>
        <p:txBody>
          <a:bodyPr wrap="square" rtlCol="0">
            <a:spAutoFit/>
          </a:bodyPr>
          <a:lstStyle/>
          <a:p>
            <a:pPr marL="0" marR="0" lvl="0" indent="0" algn="just"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entury Gothic"/>
                <a:ea typeface="+mn-ea"/>
                <a:cs typeface="+mn-cs"/>
              </a:rPr>
              <a:t>There are currently 903 filled posts across the platform for additional COVID posts, 297 offers are pending finalization which will bring the total to 1200. Of the 665 Recruitment Drive applicants, 111 has thus far been appointed on PERSAL. The balance of which 554 are possibly available for appointment.</a:t>
            </a:r>
          </a:p>
          <a:p>
            <a:pPr marL="0" marR="0" lvl="0" indent="0" algn="just" defTabSz="6858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Century Gothic"/>
              <a:ea typeface="+mn-ea"/>
              <a:cs typeface="+mn-cs"/>
            </a:endParaRPr>
          </a:p>
        </p:txBody>
      </p:sp>
      <p:graphicFrame>
        <p:nvGraphicFramePr>
          <p:cNvPr id="13" name="Table 12">
            <a:extLst>
              <a:ext uri="{FF2B5EF4-FFF2-40B4-BE49-F238E27FC236}">
                <a16:creationId xmlns:a16="http://schemas.microsoft.com/office/drawing/2014/main" xmlns="" id="{A5D20CAB-EA7D-4151-A235-460F668BE4FE}"/>
              </a:ext>
            </a:extLst>
          </p:cNvPr>
          <p:cNvGraphicFramePr>
            <a:graphicFrameLocks noGrp="1"/>
          </p:cNvGraphicFramePr>
          <p:nvPr/>
        </p:nvGraphicFramePr>
        <p:xfrm>
          <a:off x="3743220" y="4131221"/>
          <a:ext cx="2832393" cy="2219614"/>
        </p:xfrm>
        <a:graphic>
          <a:graphicData uri="http://schemas.openxmlformats.org/drawingml/2006/table">
            <a:tbl>
              <a:tblPr/>
              <a:tblGrid>
                <a:gridCol w="904084">
                  <a:extLst>
                    <a:ext uri="{9D8B030D-6E8A-4147-A177-3AD203B41FA5}">
                      <a16:colId xmlns:a16="http://schemas.microsoft.com/office/drawing/2014/main" xmlns="" val="4161741210"/>
                    </a:ext>
                  </a:extLst>
                </a:gridCol>
                <a:gridCol w="556708">
                  <a:extLst>
                    <a:ext uri="{9D8B030D-6E8A-4147-A177-3AD203B41FA5}">
                      <a16:colId xmlns:a16="http://schemas.microsoft.com/office/drawing/2014/main" xmlns="" val="1167843532"/>
                    </a:ext>
                  </a:extLst>
                </a:gridCol>
                <a:gridCol w="663503">
                  <a:extLst>
                    <a:ext uri="{9D8B030D-6E8A-4147-A177-3AD203B41FA5}">
                      <a16:colId xmlns:a16="http://schemas.microsoft.com/office/drawing/2014/main" xmlns="" val="2900732043"/>
                    </a:ext>
                  </a:extLst>
                </a:gridCol>
                <a:gridCol w="708098">
                  <a:extLst>
                    <a:ext uri="{9D8B030D-6E8A-4147-A177-3AD203B41FA5}">
                      <a16:colId xmlns:a16="http://schemas.microsoft.com/office/drawing/2014/main" xmlns="" val="2693336344"/>
                    </a:ext>
                  </a:extLst>
                </a:gridCol>
              </a:tblGrid>
              <a:tr h="297465">
                <a:tc>
                  <a:txBody>
                    <a:bodyPr/>
                    <a:lstStyle/>
                    <a:p>
                      <a:pPr algn="l" fontAlgn="b"/>
                      <a:r>
                        <a:rPr lang="en-US" sz="700" b="1" i="0" u="none" strike="noStrike">
                          <a:solidFill>
                            <a:srgbClr val="000000"/>
                          </a:solidFill>
                          <a:effectLst/>
                          <a:latin typeface="Century Gothic" panose="020B0502020202020204" pitchFamily="34" charset="0"/>
                        </a:rPr>
                        <a:t>OSD-Category Rank</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1" i="0" u="none" strike="noStrike">
                          <a:solidFill>
                            <a:srgbClr val="000000"/>
                          </a:solidFill>
                          <a:effectLst/>
                          <a:latin typeface="Century Gothic" panose="020B0502020202020204" pitchFamily="34" charset="0"/>
                        </a:rPr>
                        <a:t>Filled</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1" i="0" u="none" strike="noStrike" dirty="0">
                          <a:solidFill>
                            <a:srgbClr val="000000"/>
                          </a:solidFill>
                          <a:effectLst/>
                          <a:latin typeface="Century Gothic" panose="020B0502020202020204" pitchFamily="34" charset="0"/>
                        </a:rPr>
                        <a:t>Reserved Post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1" i="0" u="none" strike="noStrike">
                          <a:solidFill>
                            <a:srgbClr val="000000"/>
                          </a:solidFill>
                          <a:effectLst/>
                          <a:latin typeface="Century Gothic" panose="020B0502020202020204" pitchFamily="34" charset="0"/>
                        </a:rPr>
                        <a:t>Grand Total</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84917584"/>
                  </a:ext>
                </a:extLst>
              </a:tr>
              <a:tr h="204460">
                <a:tc>
                  <a:txBody>
                    <a:bodyPr/>
                    <a:lstStyle/>
                    <a:p>
                      <a:pPr algn="l" fontAlgn="b"/>
                      <a:r>
                        <a:rPr lang="en-US" sz="700" b="1" i="0" u="none" strike="noStrike">
                          <a:solidFill>
                            <a:srgbClr val="000000"/>
                          </a:solidFill>
                          <a:effectLst/>
                          <a:latin typeface="Century Gothic" panose="020B0502020202020204" pitchFamily="34" charset="0"/>
                        </a:rPr>
                        <a:t>Allied Health</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19</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7</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26</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08324704"/>
                  </a:ext>
                </a:extLst>
              </a:tr>
              <a:tr h="204460">
                <a:tc>
                  <a:txBody>
                    <a:bodyPr/>
                    <a:lstStyle/>
                    <a:p>
                      <a:pPr algn="l" fontAlgn="b"/>
                      <a:r>
                        <a:rPr lang="en-US" sz="700" b="1" i="0" u="none" strike="noStrike">
                          <a:solidFill>
                            <a:srgbClr val="000000"/>
                          </a:solidFill>
                          <a:effectLst/>
                          <a:latin typeface="Century Gothic" panose="020B0502020202020204" pitchFamily="34" charset="0"/>
                        </a:rPr>
                        <a:t>Doctor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66</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23</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89</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30071957"/>
                  </a:ext>
                </a:extLst>
              </a:tr>
              <a:tr h="204460">
                <a:tc>
                  <a:txBody>
                    <a:bodyPr/>
                    <a:lstStyle/>
                    <a:p>
                      <a:pPr algn="l" fontAlgn="b"/>
                      <a:r>
                        <a:rPr lang="en-US" sz="700" b="1" i="0" u="none" strike="noStrike" dirty="0">
                          <a:solidFill>
                            <a:srgbClr val="000000"/>
                          </a:solidFill>
                          <a:effectLst/>
                          <a:latin typeface="Century Gothic" panose="020B0502020202020204" pitchFamily="34" charset="0"/>
                        </a:rPr>
                        <a:t>Nursing</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652</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253</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905</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38915545"/>
                  </a:ext>
                </a:extLst>
              </a:tr>
              <a:tr h="204460">
                <a:tc>
                  <a:txBody>
                    <a:bodyPr/>
                    <a:lstStyle/>
                    <a:p>
                      <a:pPr algn="l" fontAlgn="b"/>
                      <a:r>
                        <a:rPr lang="en-US" sz="700" b="1" i="0" u="none" strike="noStrike">
                          <a:solidFill>
                            <a:srgbClr val="000000"/>
                          </a:solidFill>
                          <a:effectLst/>
                          <a:latin typeface="Century Gothic" panose="020B0502020202020204" pitchFamily="34" charset="0"/>
                        </a:rPr>
                        <a:t>Pharmacist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5</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1</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6</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28802311"/>
                  </a:ext>
                </a:extLst>
              </a:tr>
              <a:tr h="397924">
                <a:tc>
                  <a:txBody>
                    <a:bodyPr/>
                    <a:lstStyle/>
                    <a:p>
                      <a:pPr algn="l" fontAlgn="b"/>
                      <a:r>
                        <a:rPr lang="en-US" sz="700" b="1" i="0" u="none" strike="noStrike">
                          <a:solidFill>
                            <a:srgbClr val="000000"/>
                          </a:solidFill>
                          <a:effectLst/>
                          <a:latin typeface="Century Gothic" panose="020B0502020202020204" pitchFamily="34" charset="0"/>
                        </a:rPr>
                        <a:t>Pharmacists-Assistan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10</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dirty="0">
                          <a:solidFill>
                            <a:srgbClr val="000000"/>
                          </a:solidFill>
                          <a:effectLst/>
                          <a:latin typeface="Century Gothic" panose="020B0502020202020204" pitchFamily="34" charset="0"/>
                        </a:rPr>
                        <a:t>1</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11</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44327726"/>
                  </a:ext>
                </a:extLst>
              </a:tr>
              <a:tr h="204460">
                <a:tc>
                  <a:txBody>
                    <a:bodyPr/>
                    <a:lstStyle/>
                    <a:p>
                      <a:pPr algn="l" fontAlgn="b"/>
                      <a:r>
                        <a:rPr lang="en-US" sz="700" b="1" i="0" u="none" strike="noStrike">
                          <a:solidFill>
                            <a:srgbClr val="000000"/>
                          </a:solidFill>
                          <a:effectLst/>
                          <a:latin typeface="Century Gothic" panose="020B0502020202020204" pitchFamily="34" charset="0"/>
                        </a:rPr>
                        <a:t>Social Worker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7</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1</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8</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49487944"/>
                  </a:ext>
                </a:extLst>
              </a:tr>
              <a:tr h="297465">
                <a:tc>
                  <a:txBody>
                    <a:bodyPr/>
                    <a:lstStyle/>
                    <a:p>
                      <a:pPr algn="l" fontAlgn="b"/>
                      <a:r>
                        <a:rPr lang="en-US" sz="700" b="1" i="0" u="none" strike="noStrike">
                          <a:solidFill>
                            <a:srgbClr val="000000"/>
                          </a:solidFill>
                          <a:effectLst/>
                          <a:latin typeface="Century Gothic" panose="020B0502020202020204" pitchFamily="34" charset="0"/>
                        </a:rPr>
                        <a:t>Admin and Related</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144</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11</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155</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07278303"/>
                  </a:ext>
                </a:extLst>
              </a:tr>
              <a:tr h="204460">
                <a:tc>
                  <a:txBody>
                    <a:bodyPr/>
                    <a:lstStyle/>
                    <a:p>
                      <a:pPr algn="l" fontAlgn="b"/>
                      <a:r>
                        <a:rPr lang="en-US" sz="700" b="1" i="0" u="none" strike="noStrike">
                          <a:solidFill>
                            <a:srgbClr val="000000"/>
                          </a:solidFill>
                          <a:effectLst/>
                          <a:latin typeface="Century Gothic" panose="020B0502020202020204" pitchFamily="34" charset="0"/>
                        </a:rPr>
                        <a:t>Grand Total</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903</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a:solidFill>
                            <a:srgbClr val="000000"/>
                          </a:solidFill>
                          <a:effectLst/>
                          <a:latin typeface="Century Gothic" panose="020B0502020202020204" pitchFamily="34" charset="0"/>
                        </a:rPr>
                        <a:t>297</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700" b="1" i="0" u="none" strike="noStrike" dirty="0">
                          <a:solidFill>
                            <a:srgbClr val="000000"/>
                          </a:solidFill>
                          <a:effectLst/>
                          <a:latin typeface="Century Gothic" panose="020B0502020202020204" pitchFamily="34" charset="0"/>
                        </a:rPr>
                        <a:t>1200</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71012047"/>
                  </a:ext>
                </a:extLst>
              </a:tr>
            </a:tbl>
          </a:graphicData>
        </a:graphic>
      </p:graphicFrame>
      <p:graphicFrame>
        <p:nvGraphicFramePr>
          <p:cNvPr id="11" name="Chart 10">
            <a:extLst>
              <a:ext uri="{FF2B5EF4-FFF2-40B4-BE49-F238E27FC236}">
                <a16:creationId xmlns:a16="http://schemas.microsoft.com/office/drawing/2014/main" xmlns="" id="{1B0E4539-31FA-4B43-A8C0-19DC49C8B169}"/>
              </a:ext>
            </a:extLst>
          </p:cNvPr>
          <p:cNvGraphicFramePr>
            <a:graphicFrameLocks/>
          </p:cNvGraphicFramePr>
          <p:nvPr/>
        </p:nvGraphicFramePr>
        <p:xfrm>
          <a:off x="597050" y="1124745"/>
          <a:ext cx="8132780" cy="26824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14405377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1489"/>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A5BB2699-2CDA-44A8-BE6E-DA302536D42F}"/>
              </a:ext>
            </a:extLst>
          </p:cNvPr>
          <p:cNvSpPr>
            <a:spLocks noGrp="1"/>
          </p:cNvSpPr>
          <p:nvPr>
            <p:ph type="body" sz="quarter" idx="12"/>
          </p:nvPr>
        </p:nvSpPr>
        <p:spPr>
          <a:xfrm>
            <a:off x="683568" y="2492375"/>
            <a:ext cx="8209283" cy="1152649"/>
          </a:xfrm>
        </p:spPr>
        <p:txBody>
          <a:bodyPr>
            <a:noAutofit/>
          </a:bodyPr>
          <a:lstStyle/>
          <a:p>
            <a:r>
              <a:rPr lang="en-ZA" b="1" dirty="0"/>
              <a:t>Vaccine Implementation update</a:t>
            </a:r>
          </a:p>
        </p:txBody>
      </p:sp>
      <p:sp>
        <p:nvSpPr>
          <p:cNvPr id="3" name="TextBox 2">
            <a:extLst>
              <a:ext uri="{FF2B5EF4-FFF2-40B4-BE49-F238E27FC236}">
                <a16:creationId xmlns:a16="http://schemas.microsoft.com/office/drawing/2014/main" xmlns="" id="{50AD3792-1FE1-0641-880E-3295B514014C}"/>
              </a:ext>
            </a:extLst>
          </p:cNvPr>
          <p:cNvSpPr txBox="1"/>
          <p:nvPr/>
        </p:nvSpPr>
        <p:spPr>
          <a:xfrm>
            <a:off x="7210269" y="3072984"/>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xmlns="" val="42415649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0" indent="0"/>
            <a:r>
              <a:rPr lang="en-ZA" dirty="0"/>
              <a:t>Aims of COVID-19 vaccine in South Africa</a:t>
            </a:r>
          </a:p>
        </p:txBody>
      </p:sp>
      <p:sp>
        <p:nvSpPr>
          <p:cNvPr id="3" name="Content Placeholder 2"/>
          <p:cNvSpPr>
            <a:spLocks noGrp="1"/>
          </p:cNvSpPr>
          <p:nvPr>
            <p:ph idx="4294967295"/>
          </p:nvPr>
        </p:nvSpPr>
        <p:spPr>
          <a:xfrm>
            <a:off x="546849" y="1052736"/>
            <a:ext cx="8094056" cy="4912103"/>
          </a:xfrm>
          <a:prstGeom prst="rect">
            <a:avLst/>
          </a:prstGeom>
        </p:spPr>
        <p:txBody>
          <a:bodyPr>
            <a:normAutofit/>
          </a:bodyPr>
          <a:lstStyle/>
          <a:p>
            <a:pPr marL="342900" indent="-342900">
              <a:lnSpc>
                <a:spcPct val="150000"/>
              </a:lnSpc>
              <a:buFont typeface="+mj-lt"/>
              <a:buAutoNum type="arabicPeriod"/>
            </a:pPr>
            <a:r>
              <a:rPr lang="en-ZA" sz="1800" dirty="0"/>
              <a:t>Prevent severe illness and death</a:t>
            </a:r>
          </a:p>
          <a:p>
            <a:pPr marL="342900" indent="-342900">
              <a:lnSpc>
                <a:spcPct val="150000"/>
              </a:lnSpc>
              <a:buFont typeface="+mj-lt"/>
              <a:buAutoNum type="arabicPeriod"/>
            </a:pPr>
            <a:r>
              <a:rPr lang="en-ZA" sz="1800" dirty="0"/>
              <a:t>Reduce transmission</a:t>
            </a:r>
          </a:p>
          <a:p>
            <a:pPr marL="342900" indent="-342900">
              <a:lnSpc>
                <a:spcPct val="150000"/>
              </a:lnSpc>
              <a:buFont typeface="+mj-lt"/>
              <a:buAutoNum type="arabicPeriod"/>
            </a:pPr>
            <a:r>
              <a:rPr lang="en-ZA" sz="1800" dirty="0"/>
              <a:t>Protect our health system</a:t>
            </a:r>
          </a:p>
          <a:p>
            <a:endParaRPr lang="en-ZA" dirty="0"/>
          </a:p>
          <a:p>
            <a:endParaRPr lang="en-ZA" dirty="0"/>
          </a:p>
          <a:p>
            <a:pPr>
              <a:lnSpc>
                <a:spcPct val="150000"/>
              </a:lnSpc>
            </a:pPr>
            <a:r>
              <a:rPr lang="en-ZA" sz="2400" dirty="0"/>
              <a:t>As at 1 February 2021, 98.3 million shots of COVID-19 vaccine had been given, 31.8 million in the USA.</a:t>
            </a:r>
          </a:p>
          <a:p>
            <a:pPr>
              <a:lnSpc>
                <a:spcPct val="150000"/>
              </a:lnSpc>
            </a:pPr>
            <a:r>
              <a:rPr lang="en-ZA" sz="2400" dirty="0"/>
              <a:t>(</a:t>
            </a:r>
            <a:r>
              <a:rPr lang="en-ZA" sz="2400" dirty="0">
                <a:hlinkClick r:id="rId2"/>
              </a:rPr>
              <a:t>www.bloomberg.com</a:t>
            </a:r>
            <a:r>
              <a:rPr lang="en-ZA" sz="2400" dirty="0"/>
              <a:t>) https://www.bloomberg.com/graphics/covid-vaccine-tracker-global -distribution/</a:t>
            </a:r>
            <a:endParaRPr lang="en-US" sz="2400" dirty="0"/>
          </a:p>
        </p:txBody>
      </p:sp>
      <p:sp>
        <p:nvSpPr>
          <p:cNvPr id="5" name="Slide Number Placeholder 4"/>
          <p:cNvSpPr>
            <a:spLocks noGrp="1"/>
          </p:cNvSpPr>
          <p:nvPr>
            <p:ph type="sldNum" sz="quarter" idx="4294967295"/>
          </p:nvPr>
        </p:nvSpPr>
        <p:spPr>
          <a:xfrm>
            <a:off x="8220974" y="6504854"/>
            <a:ext cx="671026" cy="21662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A0A11C-E935-4C78-8F7C-FF74D92E8C16}" type="slidenum">
              <a:rPr kumimoji="0" lang="en-GB"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900" b="0" i="0" u="none" strike="noStrike" kern="1200" cap="none" spc="0" normalizeH="0" baseline="0" noProof="0">
              <a:ln>
                <a:noFill/>
              </a:ln>
              <a:solidFill>
                <a:srgbClr val="003399"/>
              </a:solidFill>
              <a:effectLst/>
              <a:uLnTx/>
              <a:uFillTx/>
              <a:latin typeface="Century Gothic" pitchFamily="34" charset="0"/>
              <a:ea typeface="+mn-ea"/>
              <a:cs typeface="+mn-cs"/>
            </a:endParaRPr>
          </a:p>
        </p:txBody>
      </p:sp>
    </p:spTree>
    <p:extLst>
      <p:ext uri="{BB962C8B-B14F-4D97-AF65-F5344CB8AC3E}">
        <p14:creationId xmlns:p14="http://schemas.microsoft.com/office/powerpoint/2010/main" xmlns="" val="21374782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2400" dirty="0"/>
              <a:t>Vaccines with available efficacy results</a:t>
            </a:r>
          </a:p>
        </p:txBody>
      </p:sp>
      <p:graphicFrame>
        <p:nvGraphicFramePr>
          <p:cNvPr id="4" name="Table 3"/>
          <p:cNvGraphicFramePr>
            <a:graphicFrameLocks noGrp="1"/>
          </p:cNvGraphicFramePr>
          <p:nvPr/>
        </p:nvGraphicFramePr>
        <p:xfrm>
          <a:off x="328502" y="1124745"/>
          <a:ext cx="8203938" cy="4828872"/>
        </p:xfrm>
        <a:graphic>
          <a:graphicData uri="http://schemas.openxmlformats.org/drawingml/2006/table">
            <a:tbl>
              <a:tblPr/>
              <a:tblGrid>
                <a:gridCol w="2310602">
                  <a:extLst>
                    <a:ext uri="{9D8B030D-6E8A-4147-A177-3AD203B41FA5}">
                      <a16:colId xmlns:a16="http://schemas.microsoft.com/office/drawing/2014/main" xmlns="" val="20000"/>
                    </a:ext>
                  </a:extLst>
                </a:gridCol>
                <a:gridCol w="1054503">
                  <a:extLst>
                    <a:ext uri="{9D8B030D-6E8A-4147-A177-3AD203B41FA5}">
                      <a16:colId xmlns:a16="http://schemas.microsoft.com/office/drawing/2014/main" xmlns="" val="20001"/>
                    </a:ext>
                  </a:extLst>
                </a:gridCol>
                <a:gridCol w="744356">
                  <a:extLst>
                    <a:ext uri="{9D8B030D-6E8A-4147-A177-3AD203B41FA5}">
                      <a16:colId xmlns:a16="http://schemas.microsoft.com/office/drawing/2014/main" xmlns="" val="20002"/>
                    </a:ext>
                  </a:extLst>
                </a:gridCol>
                <a:gridCol w="1209577">
                  <a:extLst>
                    <a:ext uri="{9D8B030D-6E8A-4147-A177-3AD203B41FA5}">
                      <a16:colId xmlns:a16="http://schemas.microsoft.com/office/drawing/2014/main" xmlns="" val="20003"/>
                    </a:ext>
                  </a:extLst>
                </a:gridCol>
                <a:gridCol w="1551264">
                  <a:extLst>
                    <a:ext uri="{9D8B030D-6E8A-4147-A177-3AD203B41FA5}">
                      <a16:colId xmlns:a16="http://schemas.microsoft.com/office/drawing/2014/main" xmlns="" val="20004"/>
                    </a:ext>
                  </a:extLst>
                </a:gridCol>
                <a:gridCol w="1333636">
                  <a:extLst>
                    <a:ext uri="{9D8B030D-6E8A-4147-A177-3AD203B41FA5}">
                      <a16:colId xmlns:a16="http://schemas.microsoft.com/office/drawing/2014/main" xmlns="" val="20005"/>
                    </a:ext>
                  </a:extLst>
                </a:gridCol>
              </a:tblGrid>
              <a:tr h="948184">
                <a:tc>
                  <a:txBody>
                    <a:bodyPr/>
                    <a:lstStyle/>
                    <a:p>
                      <a:pPr algn="l" fontAlgn="t"/>
                      <a:r>
                        <a:rPr lang="en-US" sz="1400" b="1" i="0" u="none" strike="noStrike" dirty="0">
                          <a:solidFill>
                            <a:srgbClr val="000000"/>
                          </a:solidFill>
                          <a:effectLst/>
                          <a:latin typeface="Calibri" panose="020F0502020204030204" pitchFamily="34" charset="0"/>
                        </a:rPr>
                        <a:t>Vaccine</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400" b="1" i="0" u="none" strike="noStrike">
                          <a:solidFill>
                            <a:srgbClr val="000000"/>
                          </a:solidFill>
                          <a:effectLst/>
                          <a:latin typeface="Calibri" panose="020F0502020204030204" pitchFamily="34" charset="0"/>
                        </a:rPr>
                        <a:t>Efficacy</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400" b="1" i="0" u="none" strike="noStrike">
                          <a:solidFill>
                            <a:srgbClr val="000000"/>
                          </a:solidFill>
                          <a:effectLst/>
                          <a:latin typeface="Calibri" panose="020F0502020204030204" pitchFamily="34" charset="0"/>
                        </a:rPr>
                        <a:t>Efficacy against severe disease</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1" i="0" u="none" strike="noStrike" dirty="0">
                          <a:solidFill>
                            <a:srgbClr val="000000"/>
                          </a:solidFill>
                          <a:effectLst/>
                          <a:latin typeface="Calibri" panose="020F0502020204030204" pitchFamily="34" charset="0"/>
                        </a:rPr>
                        <a:t>Efficacy in high- risk groups</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1" i="0" u="none" strike="noStrike" dirty="0">
                          <a:solidFill>
                            <a:srgbClr val="000000"/>
                          </a:solidFill>
                          <a:effectLst/>
                          <a:latin typeface="Calibri" panose="020F0502020204030204" pitchFamily="34" charset="0"/>
                        </a:rPr>
                        <a:t>Dose regimen</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1" i="0" u="none" strike="noStrike" dirty="0">
                          <a:solidFill>
                            <a:srgbClr val="000000"/>
                          </a:solidFill>
                          <a:effectLst/>
                          <a:latin typeface="Calibri" panose="020F0502020204030204" pitchFamily="34" charset="0"/>
                        </a:rPr>
                        <a:t>Comments</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437623">
                <a:tc>
                  <a:txBody>
                    <a:bodyPr/>
                    <a:lstStyle/>
                    <a:p>
                      <a:pPr algn="l" fontAlgn="t"/>
                      <a:r>
                        <a:rPr lang="en-US" sz="1400" b="0" i="0" u="none" strike="noStrike" dirty="0" err="1">
                          <a:solidFill>
                            <a:srgbClr val="000000"/>
                          </a:solidFill>
                          <a:effectLst/>
                          <a:latin typeface="Calibri" panose="020F0502020204030204" pitchFamily="34" charset="0"/>
                        </a:rPr>
                        <a:t>Biontech</a:t>
                      </a:r>
                      <a:r>
                        <a:rPr lang="en-US" sz="1400" b="0" i="0" u="none" strike="noStrike" dirty="0">
                          <a:solidFill>
                            <a:srgbClr val="000000"/>
                          </a:solidFill>
                          <a:effectLst/>
                          <a:latin typeface="Calibri" panose="020F0502020204030204" pitchFamily="34" charset="0"/>
                        </a:rPr>
                        <a:t>/ Pfizer/ </a:t>
                      </a:r>
                      <a:r>
                        <a:rPr lang="en-US" sz="1400" b="0" i="0" u="none" strike="noStrike" dirty="0" err="1">
                          <a:solidFill>
                            <a:srgbClr val="000000"/>
                          </a:solidFill>
                          <a:effectLst/>
                          <a:latin typeface="Calibri" panose="020F0502020204030204" pitchFamily="34" charset="0"/>
                        </a:rPr>
                        <a:t>Cominarty</a:t>
                      </a:r>
                      <a:endParaRPr lang="en-US" sz="1400" b="0" i="0" u="none" strike="noStrike" dirty="0">
                        <a:solidFill>
                          <a:srgbClr val="000000"/>
                        </a:solidFill>
                        <a:effectLst/>
                        <a:latin typeface="Calibri" panose="020F0502020204030204" pitchFamily="34" charset="0"/>
                      </a:endParaRP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400" b="0" i="0" u="none" strike="noStrike">
                          <a:solidFill>
                            <a:srgbClr val="000000"/>
                          </a:solidFill>
                          <a:effectLst/>
                          <a:latin typeface="Calibri" panose="020F0502020204030204" pitchFamily="34" charset="0"/>
                        </a:rPr>
                        <a:t>95%</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400" b="0" i="0" u="none" strike="noStrike">
                          <a:solidFill>
                            <a:srgbClr val="000000"/>
                          </a:solidFill>
                          <a:effectLst/>
                          <a:latin typeface="Calibri" panose="020F0502020204030204" pitchFamily="34" charset="0"/>
                        </a:rPr>
                        <a:t>90%</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Yes, older age groups</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2 doses</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NEJM published</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437623">
                <a:tc>
                  <a:txBody>
                    <a:bodyPr/>
                    <a:lstStyle/>
                    <a:p>
                      <a:pPr algn="l" fontAlgn="t"/>
                      <a:r>
                        <a:rPr lang="en-US" sz="1400" b="0" i="0" u="none" strike="noStrike" dirty="0" err="1">
                          <a:solidFill>
                            <a:srgbClr val="000000"/>
                          </a:solidFill>
                          <a:effectLst/>
                          <a:latin typeface="Calibri" panose="020F0502020204030204" pitchFamily="34" charset="0"/>
                        </a:rPr>
                        <a:t>Moderna</a:t>
                      </a:r>
                      <a:endParaRPr lang="en-US" sz="1400" b="0" i="0" u="none" strike="noStrike" dirty="0">
                        <a:solidFill>
                          <a:srgbClr val="000000"/>
                        </a:solidFill>
                        <a:effectLst/>
                        <a:latin typeface="Calibri" panose="020F0502020204030204" pitchFamily="34" charset="0"/>
                      </a:endParaRP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400" b="0" i="0" u="none" strike="noStrike">
                          <a:solidFill>
                            <a:srgbClr val="000000"/>
                          </a:solidFill>
                          <a:effectLst/>
                          <a:latin typeface="Calibri" panose="020F0502020204030204" pitchFamily="34" charset="0"/>
                        </a:rPr>
                        <a:t>94%</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400" b="0" i="0" u="none" strike="noStrike">
                          <a:solidFill>
                            <a:srgbClr val="000000"/>
                          </a:solidFill>
                          <a:effectLst/>
                          <a:latin typeface="Calibri" panose="020F0502020204030204" pitchFamily="34" charset="0"/>
                        </a:rPr>
                        <a:t>100%</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Yes, older age groups</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2 doses</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NEJM published</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875247">
                <a:tc>
                  <a:txBody>
                    <a:bodyPr/>
                    <a:lstStyle/>
                    <a:p>
                      <a:pPr algn="l" fontAlgn="t"/>
                      <a:r>
                        <a:rPr lang="en-US" sz="1400" b="0" i="0" u="none" strike="noStrike" dirty="0">
                          <a:solidFill>
                            <a:srgbClr val="000000"/>
                          </a:solidFill>
                          <a:effectLst/>
                          <a:latin typeface="Calibri" panose="020F0502020204030204" pitchFamily="34" charset="0"/>
                        </a:rPr>
                        <a:t>Oxford/ </a:t>
                      </a:r>
                      <a:r>
                        <a:rPr lang="en-US" sz="1400" b="0" i="0" u="none" strike="noStrike" dirty="0" err="1">
                          <a:solidFill>
                            <a:srgbClr val="000000"/>
                          </a:solidFill>
                          <a:effectLst/>
                          <a:latin typeface="Calibri" panose="020F0502020204030204" pitchFamily="34" charset="0"/>
                        </a:rPr>
                        <a:t>Astrazeneca</a:t>
                      </a:r>
                      <a:r>
                        <a:rPr lang="en-US" sz="1400" b="0" i="0" u="none" strike="noStrike" dirty="0">
                          <a:solidFill>
                            <a:srgbClr val="000000"/>
                          </a:solidFill>
                          <a:effectLst/>
                          <a:latin typeface="Calibri" panose="020F0502020204030204" pitchFamily="34" charset="0"/>
                        </a:rPr>
                        <a:t>/ </a:t>
                      </a:r>
                      <a:r>
                        <a:rPr lang="en-US" sz="1400" b="0" i="0" u="none" strike="noStrike" dirty="0" err="1">
                          <a:solidFill>
                            <a:srgbClr val="000000"/>
                          </a:solidFill>
                          <a:effectLst/>
                          <a:latin typeface="Calibri" panose="020F0502020204030204" pitchFamily="34" charset="0"/>
                        </a:rPr>
                        <a:t>Covishield</a:t>
                      </a:r>
                      <a:endParaRPr lang="en-US" sz="1400" b="0" i="0" u="none" strike="noStrike" dirty="0">
                        <a:solidFill>
                          <a:srgbClr val="000000"/>
                        </a:solidFill>
                        <a:effectLst/>
                        <a:latin typeface="Calibri" panose="020F0502020204030204" pitchFamily="34" charset="0"/>
                      </a:endParaRP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400" b="0" i="0" u="none" strike="noStrike">
                          <a:solidFill>
                            <a:srgbClr val="000000"/>
                          </a:solidFill>
                          <a:effectLst/>
                          <a:latin typeface="Calibri" panose="020F0502020204030204" pitchFamily="34" charset="0"/>
                        </a:rPr>
                        <a:t>62.1-90%</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400" b="0" i="0" u="none" strike="noStrike">
                          <a:solidFill>
                            <a:srgbClr val="000000"/>
                          </a:solidFill>
                          <a:effectLst/>
                          <a:latin typeface="Calibri" panose="020F0502020204030204" pitchFamily="34" charset="0"/>
                        </a:rPr>
                        <a:t>100%</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Older age groups &gt;55, HIV not known</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2 standard doses or Low/high dose</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Lancet published</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218812">
                <a:tc>
                  <a:txBody>
                    <a:bodyPr/>
                    <a:lstStyle/>
                    <a:p>
                      <a:pPr algn="l" fontAlgn="t"/>
                      <a:r>
                        <a:rPr lang="en-US" sz="1400" b="0" i="0" u="none" strike="noStrike">
                          <a:solidFill>
                            <a:srgbClr val="000000"/>
                          </a:solidFill>
                          <a:effectLst/>
                          <a:latin typeface="Calibri" panose="020F0502020204030204" pitchFamily="34" charset="0"/>
                        </a:rPr>
                        <a:t>Sinopharm (Beijing Strain)</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400" b="0" i="0" u="none" strike="noStrike">
                          <a:solidFill>
                            <a:srgbClr val="000000"/>
                          </a:solidFill>
                          <a:effectLst/>
                          <a:latin typeface="Calibri" panose="020F0502020204030204" pitchFamily="34" charset="0"/>
                        </a:rPr>
                        <a:t>86%</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400" b="0" i="0" u="none" strike="noStrike">
                          <a:solidFill>
                            <a:srgbClr val="000000"/>
                          </a:solidFill>
                          <a:effectLst/>
                          <a:latin typeface="Calibri" panose="020F0502020204030204" pitchFamily="34" charset="0"/>
                        </a:rPr>
                        <a:t>100%</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 </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2 doses</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News reports</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218812">
                <a:tc>
                  <a:txBody>
                    <a:bodyPr/>
                    <a:lstStyle/>
                    <a:p>
                      <a:pPr algn="l" fontAlgn="t"/>
                      <a:r>
                        <a:rPr lang="en-US" sz="1400" b="0" i="0" u="none" strike="noStrike" dirty="0" err="1">
                          <a:solidFill>
                            <a:srgbClr val="000000"/>
                          </a:solidFill>
                          <a:effectLst/>
                          <a:latin typeface="Calibri" panose="020F0502020204030204" pitchFamily="34" charset="0"/>
                        </a:rPr>
                        <a:t>Sinovac</a:t>
                      </a:r>
                      <a:r>
                        <a:rPr lang="en-US" sz="1400" b="0" i="0" u="none" strike="noStrike" dirty="0">
                          <a:solidFill>
                            <a:srgbClr val="000000"/>
                          </a:solidFill>
                          <a:effectLst/>
                          <a:latin typeface="Calibri" panose="020F0502020204030204" pitchFamily="34" charset="0"/>
                        </a:rPr>
                        <a:t> (</a:t>
                      </a:r>
                      <a:r>
                        <a:rPr lang="en-US" sz="1400" b="0" i="0" u="none" strike="noStrike" dirty="0" err="1">
                          <a:solidFill>
                            <a:srgbClr val="000000"/>
                          </a:solidFill>
                          <a:effectLst/>
                          <a:latin typeface="Calibri" panose="020F0502020204030204" pitchFamily="34" charset="0"/>
                        </a:rPr>
                        <a:t>coronavac</a:t>
                      </a:r>
                      <a:r>
                        <a:rPr lang="en-US" sz="1400" b="0" i="0" u="none" strike="noStrike" dirty="0">
                          <a:solidFill>
                            <a:srgbClr val="000000"/>
                          </a:solidFill>
                          <a:effectLst/>
                          <a:latin typeface="Calibri" panose="020F0502020204030204" pitchFamily="34" charset="0"/>
                        </a:rPr>
                        <a:t>)</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400" b="0" i="0" u="none" strike="noStrike">
                          <a:solidFill>
                            <a:srgbClr val="000000"/>
                          </a:solidFill>
                          <a:effectLst/>
                          <a:latin typeface="Calibri" panose="020F0502020204030204" pitchFamily="34" charset="0"/>
                        </a:rPr>
                        <a:t>50.4 - 91.2%</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400" b="0" i="0" u="none" strike="noStrike">
                          <a:solidFill>
                            <a:srgbClr val="000000"/>
                          </a:solidFill>
                          <a:effectLst/>
                          <a:latin typeface="Calibri" panose="020F0502020204030204" pitchFamily="34" charset="0"/>
                        </a:rPr>
                        <a:t>100%</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 </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2 doses</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News reports</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419323">
                <a:tc>
                  <a:txBody>
                    <a:bodyPr/>
                    <a:lstStyle/>
                    <a:p>
                      <a:pPr algn="l" fontAlgn="t"/>
                      <a:r>
                        <a:rPr lang="en-US" sz="1400" b="0" i="0" u="none" strike="noStrike">
                          <a:solidFill>
                            <a:srgbClr val="000000"/>
                          </a:solidFill>
                          <a:effectLst/>
                          <a:latin typeface="Calibri" panose="020F0502020204030204" pitchFamily="34" charset="0"/>
                        </a:rPr>
                        <a:t>Sputnik V</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400" b="0" i="0" u="none" strike="noStrike">
                          <a:solidFill>
                            <a:srgbClr val="000000"/>
                          </a:solidFill>
                          <a:effectLst/>
                          <a:latin typeface="Calibri" panose="020F0502020204030204" pitchFamily="34" charset="0"/>
                        </a:rPr>
                        <a:t>91.40%</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400" b="0" i="0" u="none" strike="noStrike">
                          <a:solidFill>
                            <a:srgbClr val="000000"/>
                          </a:solidFill>
                          <a:effectLst/>
                          <a:latin typeface="Calibri" panose="020F0502020204030204" pitchFamily="34" charset="0"/>
                        </a:rPr>
                        <a:t>100%</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 </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2 doses</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Sputnik V website</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831289">
                <a:tc>
                  <a:txBody>
                    <a:bodyPr/>
                    <a:lstStyle/>
                    <a:p>
                      <a:pPr algn="l" fontAlgn="t"/>
                      <a:r>
                        <a:rPr lang="en-US" sz="1400" b="0" i="0" u="none" strike="noStrike">
                          <a:solidFill>
                            <a:srgbClr val="000000"/>
                          </a:solidFill>
                          <a:effectLst/>
                          <a:latin typeface="Calibri" panose="020F0502020204030204" pitchFamily="34" charset="0"/>
                        </a:rPr>
                        <a:t>Novavax</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400" b="0" i="0" u="none" strike="noStrike">
                          <a:solidFill>
                            <a:srgbClr val="000000"/>
                          </a:solidFill>
                          <a:effectLst/>
                          <a:latin typeface="Calibri" panose="020F0502020204030204" pitchFamily="34" charset="0"/>
                        </a:rPr>
                        <a:t>49-89%</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400" b="0" i="0" u="none" strike="noStrike">
                          <a:solidFill>
                            <a:srgbClr val="000000"/>
                          </a:solidFill>
                          <a:effectLst/>
                          <a:latin typeface="Calibri" panose="020F0502020204030204" pitchFamily="34" charset="0"/>
                        </a:rPr>
                        <a:t>(yes but small numbers)</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rgbClr val="000000"/>
                          </a:solidFill>
                          <a:effectLst/>
                          <a:latin typeface="Calibri" panose="020F0502020204030204" pitchFamily="34" charset="0"/>
                        </a:rPr>
                        <a:t> ? HIV persons</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2 doses</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News reports/ 66% in HIV negative persons</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437623">
                <a:tc>
                  <a:txBody>
                    <a:bodyPr/>
                    <a:lstStyle/>
                    <a:p>
                      <a:pPr algn="l" fontAlgn="t"/>
                      <a:r>
                        <a:rPr lang="en-US" sz="1400" b="0" i="0" u="none" strike="noStrike" dirty="0">
                          <a:solidFill>
                            <a:srgbClr val="000000"/>
                          </a:solidFill>
                          <a:effectLst/>
                          <a:latin typeface="Calibri" panose="020F0502020204030204" pitchFamily="34" charset="0"/>
                        </a:rPr>
                        <a:t>Johnson and Johnson</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400" b="0" i="0" u="none" strike="noStrike" dirty="0">
                          <a:solidFill>
                            <a:srgbClr val="000000"/>
                          </a:solidFill>
                          <a:effectLst/>
                          <a:latin typeface="Calibri" panose="020F0502020204030204" pitchFamily="34" charset="0"/>
                        </a:rPr>
                        <a:t>66% (57 - 72%)</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400" b="0" i="0" u="none" strike="noStrike" dirty="0">
                          <a:solidFill>
                            <a:srgbClr val="000000"/>
                          </a:solidFill>
                          <a:effectLst/>
                          <a:latin typeface="Calibri" panose="020F0502020204030204" pitchFamily="34" charset="0"/>
                        </a:rPr>
                        <a:t>85%</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en-US" sz="1400" b="0" i="0" u="none" strike="noStrike" dirty="0">
                        <a:solidFill>
                          <a:srgbClr val="000000"/>
                        </a:solidFill>
                        <a:effectLst/>
                        <a:latin typeface="Calibri" panose="020F0502020204030204" pitchFamily="34" charset="0"/>
                      </a:endParaRP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a:solidFill>
                            <a:srgbClr val="000000"/>
                          </a:solidFill>
                          <a:effectLst/>
                          <a:latin typeface="Calibri" panose="020F0502020204030204" pitchFamily="34" charset="0"/>
                        </a:rPr>
                        <a:t>1 dose</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dirty="0">
                          <a:solidFill>
                            <a:srgbClr val="000000"/>
                          </a:solidFill>
                          <a:effectLst/>
                          <a:latin typeface="Calibri" panose="020F0502020204030204" pitchFamily="34" charset="0"/>
                        </a:rPr>
                        <a:t>News reports</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xmlns="" val="6825644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FF2C7D5-EFAD-4D7F-91E1-2A709CC9D43B}"/>
              </a:ext>
            </a:extLst>
          </p:cNvPr>
          <p:cNvSpPr>
            <a:spLocks noGrp="1"/>
          </p:cNvSpPr>
          <p:nvPr>
            <p:ph type="title"/>
          </p:nvPr>
        </p:nvSpPr>
        <p:spPr>
          <a:xfrm>
            <a:off x="638303" y="440821"/>
            <a:ext cx="7886700" cy="408559"/>
          </a:xfrm>
        </p:spPr>
        <p:txBody>
          <a:bodyPr>
            <a:normAutofit fontScale="90000"/>
          </a:bodyPr>
          <a:lstStyle/>
          <a:p>
            <a:pPr algn="ctr"/>
            <a:r>
              <a:rPr lang="en-US" altLang="en-US" dirty="0">
                <a:solidFill>
                  <a:srgbClr val="121217"/>
                </a:solidFill>
                <a:latin typeface="Sofia pro"/>
              </a:rPr>
              <a:t>How does a viral vector vaccine (Oxford/ AstraZeneca, J&amp;J, Sputnik 5) work?</a:t>
            </a:r>
            <a:endParaRPr lang="en-ZA" dirty="0"/>
          </a:p>
        </p:txBody>
      </p:sp>
      <p:pic>
        <p:nvPicPr>
          <p:cNvPr id="4" name="Picture 2">
            <a:extLst>
              <a:ext uri="{FF2B5EF4-FFF2-40B4-BE49-F238E27FC236}">
                <a16:creationId xmlns:a16="http://schemas.microsoft.com/office/drawing/2014/main" xmlns="" id="{4788F614-EA93-4789-9B81-742CA4937283}"/>
              </a:ext>
            </a:extLst>
          </p:cNvPr>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bwMode="auto">
          <a:xfrm>
            <a:off x="381999" y="1425058"/>
            <a:ext cx="3560966" cy="2280632"/>
          </a:xfrm>
          <a:prstGeom prst="rect">
            <a:avLst/>
          </a:prstGeom>
          <a:noFill/>
          <a:ln>
            <a:solidFill>
              <a:schemeClr val="accent1"/>
            </a:solidFill>
          </a:ln>
          <a:extLst>
            <a:ext uri="{909E8E84-426E-40DD-AFC4-6F175D3DCCD1}">
              <a14:hiddenFill xmlns:a14="http://schemas.microsoft.com/office/drawing/2010/main" xmlns="">
                <a:solidFill>
                  <a:srgbClr val="FFFFFF"/>
                </a:solidFill>
              </a14:hiddenFill>
            </a:ext>
          </a:extLst>
        </p:spPr>
      </p:pic>
      <p:sp>
        <p:nvSpPr>
          <p:cNvPr id="58" name="TextBox 57">
            <a:extLst>
              <a:ext uri="{FF2B5EF4-FFF2-40B4-BE49-F238E27FC236}">
                <a16:creationId xmlns:a16="http://schemas.microsoft.com/office/drawing/2014/main" xmlns="" id="{975CDC09-45D3-4833-88F0-057EF8C1F297}"/>
              </a:ext>
            </a:extLst>
          </p:cNvPr>
          <p:cNvSpPr txBox="1"/>
          <p:nvPr/>
        </p:nvSpPr>
        <p:spPr>
          <a:xfrm>
            <a:off x="381999" y="1425058"/>
            <a:ext cx="1109282" cy="253916"/>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050" b="1" i="0" u="none" strike="noStrike" kern="1200" cap="none" spc="0" normalizeH="0" baseline="0" noProof="0" dirty="0">
                <a:ln>
                  <a:noFill/>
                </a:ln>
                <a:solidFill>
                  <a:prstClr val="white"/>
                </a:solidFill>
                <a:effectLst/>
                <a:uLnTx/>
                <a:uFillTx/>
                <a:latin typeface="Selawik Light" panose="020B0604020202020204" pitchFamily="34" charset="0"/>
                <a:ea typeface="+mn-ea"/>
                <a:cs typeface="+mn-cs"/>
              </a:rPr>
              <a:t>SARS-CoV-2</a:t>
            </a:r>
            <a:endParaRPr kumimoji="0" lang="en-ZA" sz="1050" b="1" i="0" u="none" strike="noStrike" kern="1200" cap="none" spc="0" normalizeH="0" baseline="0" noProof="0" dirty="0">
              <a:ln>
                <a:noFill/>
              </a:ln>
              <a:solidFill>
                <a:prstClr val="white"/>
              </a:solidFill>
              <a:effectLst/>
              <a:uLnTx/>
              <a:uFillTx/>
              <a:latin typeface="Selawik Light" panose="020B0604020202020204" pitchFamily="34" charset="0"/>
              <a:ea typeface="+mn-ea"/>
              <a:cs typeface="+mn-cs"/>
            </a:endParaRPr>
          </a:p>
        </p:txBody>
      </p:sp>
      <p:sp>
        <p:nvSpPr>
          <p:cNvPr id="59" name="Freeform: Shape 58">
            <a:extLst>
              <a:ext uri="{FF2B5EF4-FFF2-40B4-BE49-F238E27FC236}">
                <a16:creationId xmlns:a16="http://schemas.microsoft.com/office/drawing/2014/main" xmlns="" id="{FAE242EB-41D5-4AC9-AE84-F62AB5A4166B}"/>
              </a:ext>
            </a:extLst>
          </p:cNvPr>
          <p:cNvSpPr/>
          <p:nvPr/>
        </p:nvSpPr>
        <p:spPr>
          <a:xfrm>
            <a:off x="4211026" y="2093180"/>
            <a:ext cx="364375" cy="250220"/>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cxnSp>
        <p:nvCxnSpPr>
          <p:cNvPr id="63" name="Straight Arrow Connector 62">
            <a:extLst>
              <a:ext uri="{FF2B5EF4-FFF2-40B4-BE49-F238E27FC236}">
                <a16:creationId xmlns:a16="http://schemas.microsoft.com/office/drawing/2014/main" xmlns="" id="{80967AD8-46E0-401E-A0A3-F0DDA18FD605}"/>
              </a:ext>
            </a:extLst>
          </p:cNvPr>
          <p:cNvCxnSpPr>
            <a:cxnSpLocks/>
          </p:cNvCxnSpPr>
          <p:nvPr/>
        </p:nvCxnSpPr>
        <p:spPr>
          <a:xfrm flipV="1">
            <a:off x="2490370" y="2215969"/>
            <a:ext cx="1611406" cy="27302"/>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sp>
        <p:nvSpPr>
          <p:cNvPr id="9" name="Rectangle 8">
            <a:extLst>
              <a:ext uri="{FF2B5EF4-FFF2-40B4-BE49-F238E27FC236}">
                <a16:creationId xmlns:a16="http://schemas.microsoft.com/office/drawing/2014/main" xmlns="" id="{41C625BB-E851-4206-B909-8AA2A6AE66F4}"/>
              </a:ext>
            </a:extLst>
          </p:cNvPr>
          <p:cNvSpPr/>
          <p:nvPr/>
        </p:nvSpPr>
        <p:spPr>
          <a:xfrm>
            <a:off x="5050772" y="1425058"/>
            <a:ext cx="3491982" cy="2280632"/>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90" name="Group 189">
            <a:extLst>
              <a:ext uri="{FF2B5EF4-FFF2-40B4-BE49-F238E27FC236}">
                <a16:creationId xmlns:a16="http://schemas.microsoft.com/office/drawing/2014/main" xmlns="" id="{DE9B0167-50D5-4A3F-ACB6-85820722DCDE}"/>
              </a:ext>
            </a:extLst>
          </p:cNvPr>
          <p:cNvGrpSpPr/>
          <p:nvPr/>
        </p:nvGrpSpPr>
        <p:grpSpPr>
          <a:xfrm>
            <a:off x="5641676" y="1564796"/>
            <a:ext cx="2206014" cy="2022401"/>
            <a:chOff x="7522234" y="943395"/>
            <a:chExt cx="2941352" cy="2696534"/>
          </a:xfrm>
        </p:grpSpPr>
        <p:grpSp>
          <p:nvGrpSpPr>
            <p:cNvPr id="47" name="Group 46">
              <a:extLst>
                <a:ext uri="{FF2B5EF4-FFF2-40B4-BE49-F238E27FC236}">
                  <a16:creationId xmlns:a16="http://schemas.microsoft.com/office/drawing/2014/main" xmlns="" id="{CAA73890-FCAD-440A-956C-6DC156377DB4}"/>
                </a:ext>
              </a:extLst>
            </p:cNvPr>
            <p:cNvGrpSpPr/>
            <p:nvPr/>
          </p:nvGrpSpPr>
          <p:grpSpPr>
            <a:xfrm rot="7704984">
              <a:off x="10100867" y="2061051"/>
              <a:ext cx="332736" cy="392702"/>
              <a:chOff x="6989202" y="1415383"/>
              <a:chExt cx="336734" cy="392702"/>
            </a:xfrm>
          </p:grpSpPr>
          <p:sp>
            <p:nvSpPr>
              <p:cNvPr id="48" name="Diamond 47">
                <a:extLst>
                  <a:ext uri="{FF2B5EF4-FFF2-40B4-BE49-F238E27FC236}">
                    <a16:creationId xmlns:a16="http://schemas.microsoft.com/office/drawing/2014/main" xmlns="" id="{81602248-9228-4BBD-8440-C4523BF400FF}"/>
                  </a:ext>
                </a:extLst>
              </p:cNvPr>
              <p:cNvSpPr/>
              <p:nvPr/>
            </p:nvSpPr>
            <p:spPr>
              <a:xfrm rot="3032390">
                <a:off x="6996410" y="1408175"/>
                <a:ext cx="181527" cy="195943"/>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9" name="Straight Connector 48">
                <a:extLst>
                  <a:ext uri="{FF2B5EF4-FFF2-40B4-BE49-F238E27FC236}">
                    <a16:creationId xmlns:a16="http://schemas.microsoft.com/office/drawing/2014/main" xmlns="" id="{E62015AF-FCDF-4538-A35C-D3BCD1D83AA4}"/>
                  </a:ext>
                </a:extLst>
              </p:cNvPr>
              <p:cNvCxnSpPr>
                <a:cxnSpLocks/>
              </p:cNvCxnSpPr>
              <p:nvPr/>
            </p:nvCxnSpPr>
            <p:spPr>
              <a:xfrm flipH="1" flipV="1">
                <a:off x="7109928" y="1529253"/>
                <a:ext cx="216008" cy="278832"/>
              </a:xfrm>
              <a:prstGeom prst="line">
                <a:avLst/>
              </a:prstGeom>
              <a:ln w="76200"/>
            </p:spPr>
            <p:style>
              <a:lnRef idx="1">
                <a:schemeClr val="accent1"/>
              </a:lnRef>
              <a:fillRef idx="0">
                <a:schemeClr val="accent1"/>
              </a:fillRef>
              <a:effectRef idx="0">
                <a:schemeClr val="accent1"/>
              </a:effectRef>
              <a:fontRef idx="minor">
                <a:schemeClr val="tx1"/>
              </a:fontRef>
            </p:style>
          </p:cxnSp>
        </p:grpSp>
        <p:sp>
          <p:nvSpPr>
            <p:cNvPr id="6" name="Hexagon 5">
              <a:extLst>
                <a:ext uri="{FF2B5EF4-FFF2-40B4-BE49-F238E27FC236}">
                  <a16:creationId xmlns:a16="http://schemas.microsoft.com/office/drawing/2014/main" xmlns="" id="{5B34A2E1-FBDA-4107-808F-BAC096CA83B6}"/>
                </a:ext>
              </a:extLst>
            </p:cNvPr>
            <p:cNvSpPr/>
            <p:nvPr/>
          </p:nvSpPr>
          <p:spPr>
            <a:xfrm>
              <a:off x="7950080" y="1304805"/>
              <a:ext cx="2080726" cy="1945385"/>
            </a:xfrm>
            <a:prstGeom prst="hexagon">
              <a:avLst/>
            </a:prstGeom>
            <a:solidFill>
              <a:schemeClr val="accent1">
                <a:lumMod val="60000"/>
                <a:lumOff val="4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Star: 32 Points 7">
              <a:extLst>
                <a:ext uri="{FF2B5EF4-FFF2-40B4-BE49-F238E27FC236}">
                  <a16:creationId xmlns:a16="http://schemas.microsoft.com/office/drawing/2014/main" xmlns="" id="{EDAE3EEC-7A8C-401E-AF6C-544C05CF8BEA}"/>
                </a:ext>
              </a:extLst>
            </p:cNvPr>
            <p:cNvSpPr/>
            <p:nvPr/>
          </p:nvSpPr>
          <p:spPr>
            <a:xfrm>
              <a:off x="8234245" y="1618582"/>
              <a:ext cx="1539550" cy="1314524"/>
            </a:xfrm>
            <a:prstGeom prst="star32">
              <a:avLst/>
            </a:prstGeom>
            <a:solidFill>
              <a:schemeClr val="accent1">
                <a:lumMod val="60000"/>
                <a:lumOff val="4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w="38100">
                  <a:solidFill>
                    <a:prstClr val="black"/>
                  </a:solidFill>
                </a:ln>
                <a:solidFill>
                  <a:prstClr val="white"/>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xmlns="" id="{E3EFE197-03CD-41B4-B43B-CC028658EA24}"/>
                </a:ext>
              </a:extLst>
            </p:cNvPr>
            <p:cNvSpPr/>
            <p:nvPr/>
          </p:nvSpPr>
          <p:spPr>
            <a:xfrm>
              <a:off x="8975549" y="1618709"/>
              <a:ext cx="485833" cy="329666"/>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grpSp>
          <p:nvGrpSpPr>
            <p:cNvPr id="25" name="Group 24">
              <a:extLst>
                <a:ext uri="{FF2B5EF4-FFF2-40B4-BE49-F238E27FC236}">
                  <a16:creationId xmlns:a16="http://schemas.microsoft.com/office/drawing/2014/main" xmlns="" id="{4C2467F4-E257-4C73-8A93-4450AFC35EE2}"/>
                </a:ext>
              </a:extLst>
            </p:cNvPr>
            <p:cNvGrpSpPr/>
            <p:nvPr/>
          </p:nvGrpSpPr>
          <p:grpSpPr>
            <a:xfrm>
              <a:off x="8113519" y="943395"/>
              <a:ext cx="336734" cy="388040"/>
              <a:chOff x="6989202" y="1415383"/>
              <a:chExt cx="336734" cy="392702"/>
            </a:xfrm>
          </p:grpSpPr>
          <p:sp>
            <p:nvSpPr>
              <p:cNvPr id="13" name="Diamond 12">
                <a:extLst>
                  <a:ext uri="{FF2B5EF4-FFF2-40B4-BE49-F238E27FC236}">
                    <a16:creationId xmlns:a16="http://schemas.microsoft.com/office/drawing/2014/main" xmlns="" id="{0DD5FADA-81FD-4DB3-BC40-9BEED8F82C47}"/>
                  </a:ext>
                </a:extLst>
              </p:cNvPr>
              <p:cNvSpPr/>
              <p:nvPr/>
            </p:nvSpPr>
            <p:spPr>
              <a:xfrm rot="3032390">
                <a:off x="6996410" y="1408175"/>
                <a:ext cx="181527" cy="195943"/>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0" name="Straight Connector 19">
                <a:extLst>
                  <a:ext uri="{FF2B5EF4-FFF2-40B4-BE49-F238E27FC236}">
                    <a16:creationId xmlns:a16="http://schemas.microsoft.com/office/drawing/2014/main" xmlns="" id="{28EC4690-072F-470D-8486-85FABC7B79A1}"/>
                  </a:ext>
                </a:extLst>
              </p:cNvPr>
              <p:cNvCxnSpPr>
                <a:cxnSpLocks/>
              </p:cNvCxnSpPr>
              <p:nvPr/>
            </p:nvCxnSpPr>
            <p:spPr>
              <a:xfrm flipH="1" flipV="1">
                <a:off x="7109928" y="1529253"/>
                <a:ext cx="216008" cy="278832"/>
              </a:xfrm>
              <a:prstGeom prst="line">
                <a:avLst/>
              </a:prstGeom>
              <a:ln w="76200"/>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xmlns="" id="{0BEC65D6-0BB6-417A-B89A-29FED19822F4}"/>
                </a:ext>
              </a:extLst>
            </p:cNvPr>
            <p:cNvGrpSpPr/>
            <p:nvPr/>
          </p:nvGrpSpPr>
          <p:grpSpPr>
            <a:xfrm rot="18441751">
              <a:off x="7552217" y="2097933"/>
              <a:ext cx="332736" cy="392702"/>
              <a:chOff x="6989202" y="1415383"/>
              <a:chExt cx="336734" cy="392702"/>
            </a:xfrm>
          </p:grpSpPr>
          <p:sp>
            <p:nvSpPr>
              <p:cNvPr id="42" name="Diamond 41">
                <a:extLst>
                  <a:ext uri="{FF2B5EF4-FFF2-40B4-BE49-F238E27FC236}">
                    <a16:creationId xmlns:a16="http://schemas.microsoft.com/office/drawing/2014/main" xmlns="" id="{9B059311-194A-4751-8986-0BF6218D4CBC}"/>
                  </a:ext>
                </a:extLst>
              </p:cNvPr>
              <p:cNvSpPr/>
              <p:nvPr/>
            </p:nvSpPr>
            <p:spPr>
              <a:xfrm rot="3032390">
                <a:off x="6996410" y="1408175"/>
                <a:ext cx="181527" cy="195943"/>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3" name="Straight Connector 42">
                <a:extLst>
                  <a:ext uri="{FF2B5EF4-FFF2-40B4-BE49-F238E27FC236}">
                    <a16:creationId xmlns:a16="http://schemas.microsoft.com/office/drawing/2014/main" xmlns="" id="{D0B06BE1-8DEB-4C08-A47C-36779CC8E7A0}"/>
                  </a:ext>
                </a:extLst>
              </p:cNvPr>
              <p:cNvCxnSpPr>
                <a:cxnSpLocks/>
              </p:cNvCxnSpPr>
              <p:nvPr/>
            </p:nvCxnSpPr>
            <p:spPr>
              <a:xfrm flipH="1" flipV="1">
                <a:off x="7109928" y="1529253"/>
                <a:ext cx="216008" cy="278832"/>
              </a:xfrm>
              <a:prstGeom prst="line">
                <a:avLst/>
              </a:prstGeom>
              <a:ln w="76200"/>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xmlns="" id="{82D0D8EB-874E-4744-97F3-D9BB3718BC78}"/>
                </a:ext>
              </a:extLst>
            </p:cNvPr>
            <p:cNvGrpSpPr/>
            <p:nvPr/>
          </p:nvGrpSpPr>
          <p:grpSpPr>
            <a:xfrm rot="10976378">
              <a:off x="9513381" y="3251889"/>
              <a:ext cx="336734" cy="388040"/>
              <a:chOff x="6989202" y="1415383"/>
              <a:chExt cx="336734" cy="392702"/>
            </a:xfrm>
          </p:grpSpPr>
          <p:sp>
            <p:nvSpPr>
              <p:cNvPr id="45" name="Diamond 44">
                <a:extLst>
                  <a:ext uri="{FF2B5EF4-FFF2-40B4-BE49-F238E27FC236}">
                    <a16:creationId xmlns:a16="http://schemas.microsoft.com/office/drawing/2014/main" xmlns="" id="{BD3002B5-B8D9-49FC-A9AD-879189A53467}"/>
                  </a:ext>
                </a:extLst>
              </p:cNvPr>
              <p:cNvSpPr/>
              <p:nvPr/>
            </p:nvSpPr>
            <p:spPr>
              <a:xfrm rot="3032390">
                <a:off x="6996410" y="1408175"/>
                <a:ext cx="181527" cy="195943"/>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6" name="Straight Connector 45">
                <a:extLst>
                  <a:ext uri="{FF2B5EF4-FFF2-40B4-BE49-F238E27FC236}">
                    <a16:creationId xmlns:a16="http://schemas.microsoft.com/office/drawing/2014/main" xmlns="" id="{B20F0B9A-9BFB-45A1-A3C7-DE528B5F3181}"/>
                  </a:ext>
                </a:extLst>
              </p:cNvPr>
              <p:cNvCxnSpPr>
                <a:cxnSpLocks/>
              </p:cNvCxnSpPr>
              <p:nvPr/>
            </p:nvCxnSpPr>
            <p:spPr>
              <a:xfrm flipH="1" flipV="1">
                <a:off x="7109928" y="1529253"/>
                <a:ext cx="216008" cy="278832"/>
              </a:xfrm>
              <a:prstGeom prst="line">
                <a:avLst/>
              </a:prstGeom>
              <a:ln w="76200"/>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xmlns="" id="{CF8E82B0-A90E-40CA-891D-77905D4976A1}"/>
                </a:ext>
              </a:extLst>
            </p:cNvPr>
            <p:cNvGrpSpPr/>
            <p:nvPr/>
          </p:nvGrpSpPr>
          <p:grpSpPr>
            <a:xfrm rot="15707571">
              <a:off x="8126609" y="3246200"/>
              <a:ext cx="332736" cy="392702"/>
              <a:chOff x="6989202" y="1415383"/>
              <a:chExt cx="336734" cy="392702"/>
            </a:xfrm>
          </p:grpSpPr>
          <p:sp>
            <p:nvSpPr>
              <p:cNvPr id="51" name="Diamond 50">
                <a:extLst>
                  <a:ext uri="{FF2B5EF4-FFF2-40B4-BE49-F238E27FC236}">
                    <a16:creationId xmlns:a16="http://schemas.microsoft.com/office/drawing/2014/main" xmlns="" id="{0DD5AFB4-23D7-4777-8E1C-1A4282E414DE}"/>
                  </a:ext>
                </a:extLst>
              </p:cNvPr>
              <p:cNvSpPr/>
              <p:nvPr/>
            </p:nvSpPr>
            <p:spPr>
              <a:xfrm rot="3032390">
                <a:off x="6996410" y="1408175"/>
                <a:ext cx="181527" cy="195943"/>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2" name="Straight Connector 51">
                <a:extLst>
                  <a:ext uri="{FF2B5EF4-FFF2-40B4-BE49-F238E27FC236}">
                    <a16:creationId xmlns:a16="http://schemas.microsoft.com/office/drawing/2014/main" xmlns="" id="{AC9AAA9A-14E3-4CA4-9DAA-FABF7FE4D1A6}"/>
                  </a:ext>
                </a:extLst>
              </p:cNvPr>
              <p:cNvCxnSpPr>
                <a:cxnSpLocks/>
              </p:cNvCxnSpPr>
              <p:nvPr/>
            </p:nvCxnSpPr>
            <p:spPr>
              <a:xfrm flipH="1" flipV="1">
                <a:off x="7109928" y="1529253"/>
                <a:ext cx="216008" cy="278832"/>
              </a:xfrm>
              <a:prstGeom prst="line">
                <a:avLst/>
              </a:prstGeom>
              <a:ln w="76200"/>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xmlns="" id="{9850DB26-7E73-4C5B-9B66-B640EB90B171}"/>
                </a:ext>
              </a:extLst>
            </p:cNvPr>
            <p:cNvGrpSpPr/>
            <p:nvPr/>
          </p:nvGrpSpPr>
          <p:grpSpPr>
            <a:xfrm rot="4788091">
              <a:off x="9538628" y="915960"/>
              <a:ext cx="332736" cy="392702"/>
              <a:chOff x="6989202" y="1415383"/>
              <a:chExt cx="336734" cy="392702"/>
            </a:xfrm>
          </p:grpSpPr>
          <p:sp>
            <p:nvSpPr>
              <p:cNvPr id="54" name="Diamond 53">
                <a:extLst>
                  <a:ext uri="{FF2B5EF4-FFF2-40B4-BE49-F238E27FC236}">
                    <a16:creationId xmlns:a16="http://schemas.microsoft.com/office/drawing/2014/main" xmlns="" id="{F42DA428-B35D-400F-BACD-4A207D90FC09}"/>
                  </a:ext>
                </a:extLst>
              </p:cNvPr>
              <p:cNvSpPr/>
              <p:nvPr/>
            </p:nvSpPr>
            <p:spPr>
              <a:xfrm rot="3032390">
                <a:off x="6996410" y="1408175"/>
                <a:ext cx="181527" cy="195943"/>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5" name="Straight Connector 54">
                <a:extLst>
                  <a:ext uri="{FF2B5EF4-FFF2-40B4-BE49-F238E27FC236}">
                    <a16:creationId xmlns:a16="http://schemas.microsoft.com/office/drawing/2014/main" xmlns="" id="{6B6E8445-F304-41A9-BF47-F636FEEAF2CE}"/>
                  </a:ext>
                </a:extLst>
              </p:cNvPr>
              <p:cNvCxnSpPr>
                <a:cxnSpLocks/>
              </p:cNvCxnSpPr>
              <p:nvPr/>
            </p:nvCxnSpPr>
            <p:spPr>
              <a:xfrm flipH="1" flipV="1">
                <a:off x="7109928" y="1529253"/>
                <a:ext cx="216008" cy="278832"/>
              </a:xfrm>
              <a:prstGeom prst="line">
                <a:avLst/>
              </a:prstGeom>
              <a:ln w="76200"/>
            </p:spPr>
            <p:style>
              <a:lnRef idx="1">
                <a:schemeClr val="accent1"/>
              </a:lnRef>
              <a:fillRef idx="0">
                <a:schemeClr val="accent1"/>
              </a:fillRef>
              <a:effectRef idx="0">
                <a:schemeClr val="accent1"/>
              </a:effectRef>
              <a:fontRef idx="minor">
                <a:schemeClr val="tx1"/>
              </a:fontRef>
            </p:style>
          </p:cxnSp>
        </p:grpSp>
      </p:grpSp>
      <p:sp>
        <p:nvSpPr>
          <p:cNvPr id="56" name="TextBox 55">
            <a:extLst>
              <a:ext uri="{FF2B5EF4-FFF2-40B4-BE49-F238E27FC236}">
                <a16:creationId xmlns:a16="http://schemas.microsoft.com/office/drawing/2014/main" xmlns="" id="{3F846A6C-1D23-4ECC-83DC-F70E90E33C31}"/>
              </a:ext>
            </a:extLst>
          </p:cNvPr>
          <p:cNvSpPr txBox="1"/>
          <p:nvPr/>
        </p:nvSpPr>
        <p:spPr>
          <a:xfrm>
            <a:off x="7450972" y="1645912"/>
            <a:ext cx="1109282" cy="415498"/>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050" b="0" i="0" u="none" strike="noStrike" kern="1200" cap="none" spc="0" normalizeH="0" baseline="0" noProof="0" dirty="0">
                <a:ln>
                  <a:noFill/>
                </a:ln>
                <a:solidFill>
                  <a:prstClr val="white"/>
                </a:solidFill>
                <a:effectLst/>
                <a:uLnTx/>
                <a:uFillTx/>
                <a:latin typeface="Selawik Light" panose="020B0604020202020204" pitchFamily="34" charset="0"/>
                <a:ea typeface="+mn-ea"/>
                <a:cs typeface="+mn-cs"/>
              </a:rPr>
              <a:t>Spike protein gene</a:t>
            </a:r>
            <a:endParaRPr kumimoji="0" lang="en-ZA" sz="1050" b="0" i="0" u="none" strike="noStrike" kern="1200" cap="none" spc="0" normalizeH="0" baseline="0" noProof="0" dirty="0">
              <a:ln>
                <a:noFill/>
              </a:ln>
              <a:solidFill>
                <a:prstClr val="white"/>
              </a:solidFill>
              <a:effectLst/>
              <a:uLnTx/>
              <a:uFillTx/>
              <a:latin typeface="Selawik Light" panose="020B0604020202020204" pitchFamily="34" charset="0"/>
              <a:ea typeface="+mn-ea"/>
              <a:cs typeface="+mn-cs"/>
            </a:endParaRPr>
          </a:p>
        </p:txBody>
      </p:sp>
      <p:sp>
        <p:nvSpPr>
          <p:cNvPr id="57" name="TextBox 56">
            <a:extLst>
              <a:ext uri="{FF2B5EF4-FFF2-40B4-BE49-F238E27FC236}">
                <a16:creationId xmlns:a16="http://schemas.microsoft.com/office/drawing/2014/main" xmlns="" id="{474BCAED-1162-41F3-AB3E-77080DD978B1}"/>
              </a:ext>
            </a:extLst>
          </p:cNvPr>
          <p:cNvSpPr txBox="1"/>
          <p:nvPr/>
        </p:nvSpPr>
        <p:spPr>
          <a:xfrm>
            <a:off x="5054593" y="1426670"/>
            <a:ext cx="1109282" cy="253916"/>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050" b="1" i="0" u="none" strike="noStrike" kern="1200" cap="none" spc="0" normalizeH="0" baseline="0" noProof="0" dirty="0">
                <a:ln>
                  <a:noFill/>
                </a:ln>
                <a:solidFill>
                  <a:prstClr val="white"/>
                </a:solidFill>
                <a:effectLst/>
                <a:uLnTx/>
                <a:uFillTx/>
                <a:latin typeface="Selawik Light" panose="020B0604020202020204" pitchFamily="34" charset="0"/>
                <a:ea typeface="+mn-ea"/>
                <a:cs typeface="+mn-cs"/>
              </a:rPr>
              <a:t>Adenovirus</a:t>
            </a:r>
            <a:endParaRPr kumimoji="0" lang="en-ZA" sz="1050" b="1" i="0" u="none" strike="noStrike" kern="1200" cap="none" spc="0" normalizeH="0" baseline="0" noProof="0" dirty="0">
              <a:ln>
                <a:noFill/>
              </a:ln>
              <a:solidFill>
                <a:prstClr val="white"/>
              </a:solidFill>
              <a:effectLst/>
              <a:uLnTx/>
              <a:uFillTx/>
              <a:latin typeface="Selawik Light" panose="020B0604020202020204" pitchFamily="34" charset="0"/>
              <a:ea typeface="+mn-ea"/>
              <a:cs typeface="+mn-cs"/>
            </a:endParaRPr>
          </a:p>
        </p:txBody>
      </p:sp>
      <p:cxnSp>
        <p:nvCxnSpPr>
          <p:cNvPr id="64" name="Straight Arrow Connector 63">
            <a:extLst>
              <a:ext uri="{FF2B5EF4-FFF2-40B4-BE49-F238E27FC236}">
                <a16:creationId xmlns:a16="http://schemas.microsoft.com/office/drawing/2014/main" xmlns="" id="{2EE2D3F3-EC50-466C-974D-09CDF35D56F9}"/>
              </a:ext>
            </a:extLst>
          </p:cNvPr>
          <p:cNvCxnSpPr>
            <a:cxnSpLocks/>
          </p:cNvCxnSpPr>
          <p:nvPr/>
        </p:nvCxnSpPr>
        <p:spPr>
          <a:xfrm flipV="1">
            <a:off x="4696426" y="2218840"/>
            <a:ext cx="2026130" cy="10275"/>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grpSp>
        <p:nvGrpSpPr>
          <p:cNvPr id="137" name="Group 136">
            <a:extLst>
              <a:ext uri="{FF2B5EF4-FFF2-40B4-BE49-F238E27FC236}">
                <a16:creationId xmlns:a16="http://schemas.microsoft.com/office/drawing/2014/main" xmlns="" id="{A767DA6B-72BC-4C24-B015-312669930375}"/>
              </a:ext>
            </a:extLst>
          </p:cNvPr>
          <p:cNvGrpSpPr/>
          <p:nvPr/>
        </p:nvGrpSpPr>
        <p:grpSpPr>
          <a:xfrm>
            <a:off x="2014764" y="2102437"/>
            <a:ext cx="462154" cy="406547"/>
            <a:chOff x="2695683" y="2098682"/>
            <a:chExt cx="616205" cy="542062"/>
          </a:xfrm>
        </p:grpSpPr>
        <p:sp>
          <p:nvSpPr>
            <p:cNvPr id="3" name="Freeform: Shape 2">
              <a:extLst>
                <a:ext uri="{FF2B5EF4-FFF2-40B4-BE49-F238E27FC236}">
                  <a16:creationId xmlns:a16="http://schemas.microsoft.com/office/drawing/2014/main" xmlns="" id="{4A57855E-D8A6-4729-84D6-4402F1243346}"/>
                </a:ext>
              </a:extLst>
            </p:cNvPr>
            <p:cNvSpPr/>
            <p:nvPr/>
          </p:nvSpPr>
          <p:spPr>
            <a:xfrm>
              <a:off x="2826055" y="2098682"/>
              <a:ext cx="485833" cy="333627"/>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pic>
          <p:nvPicPr>
            <p:cNvPr id="69" name="Graphic 68" descr="Cut with solid fill">
              <a:extLst>
                <a:ext uri="{FF2B5EF4-FFF2-40B4-BE49-F238E27FC236}">
                  <a16:creationId xmlns:a16="http://schemas.microsoft.com/office/drawing/2014/main" xmlns="" id="{D0002327-6B33-4C44-830F-2471E432A51B}"/>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asvg="http://schemas.microsoft.com/office/drawing/2016/SVG/main" xmlns="" r:embed="rId4"/>
                </a:ext>
              </a:extLst>
            </a:blip>
            <a:stretch>
              <a:fillRect/>
            </a:stretch>
          </p:blipFill>
          <p:spPr>
            <a:xfrm rot="19760225">
              <a:off x="2695683" y="2098909"/>
              <a:ext cx="541835" cy="541835"/>
            </a:xfrm>
            <a:prstGeom prst="rect">
              <a:avLst/>
            </a:prstGeom>
          </p:spPr>
        </p:pic>
      </p:grpSp>
      <p:sp>
        <p:nvSpPr>
          <p:cNvPr id="141" name="TextBox 140">
            <a:extLst>
              <a:ext uri="{FF2B5EF4-FFF2-40B4-BE49-F238E27FC236}">
                <a16:creationId xmlns:a16="http://schemas.microsoft.com/office/drawing/2014/main" xmlns="" id="{57A538F0-756E-48B4-8DA6-2F594FA6680C}"/>
              </a:ext>
            </a:extLst>
          </p:cNvPr>
          <p:cNvSpPr txBox="1"/>
          <p:nvPr/>
        </p:nvSpPr>
        <p:spPr>
          <a:xfrm>
            <a:off x="3053749" y="2944514"/>
            <a:ext cx="1109282" cy="415498"/>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050" b="0" i="0" u="none" strike="noStrike" kern="1200" cap="none" spc="0" normalizeH="0" baseline="0" noProof="0" dirty="0">
                <a:ln>
                  <a:noFill/>
                </a:ln>
                <a:solidFill>
                  <a:prstClr val="white"/>
                </a:solidFill>
                <a:effectLst/>
                <a:uLnTx/>
                <a:uFillTx/>
                <a:latin typeface="Selawik Light" panose="020B0604020202020204" pitchFamily="34" charset="0"/>
                <a:ea typeface="+mn-ea"/>
                <a:cs typeface="+mn-cs"/>
              </a:rPr>
              <a:t>Spike protein gene</a:t>
            </a:r>
            <a:endParaRPr kumimoji="0" lang="en-ZA" sz="1050" b="0" i="0" u="none" strike="noStrike" kern="1200" cap="none" spc="0" normalizeH="0" baseline="0" noProof="0" dirty="0">
              <a:ln>
                <a:noFill/>
              </a:ln>
              <a:solidFill>
                <a:prstClr val="white"/>
              </a:solidFill>
              <a:effectLst/>
              <a:uLnTx/>
              <a:uFillTx/>
              <a:latin typeface="Selawik Light" panose="020B0604020202020204" pitchFamily="34" charset="0"/>
              <a:ea typeface="+mn-ea"/>
              <a:cs typeface="+mn-cs"/>
            </a:endParaRPr>
          </a:p>
        </p:txBody>
      </p:sp>
      <p:cxnSp>
        <p:nvCxnSpPr>
          <p:cNvPr id="289" name="Connector: Curved 288">
            <a:extLst>
              <a:ext uri="{FF2B5EF4-FFF2-40B4-BE49-F238E27FC236}">
                <a16:creationId xmlns:a16="http://schemas.microsoft.com/office/drawing/2014/main" xmlns="" id="{120835D6-BEAF-41F4-8A32-F4A6A25DAC82}"/>
              </a:ext>
            </a:extLst>
          </p:cNvPr>
          <p:cNvCxnSpPr>
            <a:cxnSpLocks/>
            <a:stCxn id="9" idx="2"/>
            <a:endCxn id="71" idx="3"/>
          </p:cNvCxnSpPr>
          <p:nvPr/>
        </p:nvCxnSpPr>
        <p:spPr>
          <a:xfrm rot="5400000">
            <a:off x="5753861" y="3799595"/>
            <a:ext cx="1136809" cy="948996"/>
          </a:xfrm>
          <a:prstGeom prst="curvedConnector2">
            <a:avLst/>
          </a:prstGeom>
          <a:ln w="28575">
            <a:tailEnd type="triangle"/>
          </a:ln>
        </p:spPr>
        <p:style>
          <a:lnRef idx="1">
            <a:schemeClr val="accent2"/>
          </a:lnRef>
          <a:fillRef idx="0">
            <a:schemeClr val="accent2"/>
          </a:fillRef>
          <a:effectRef idx="0">
            <a:schemeClr val="accent2"/>
          </a:effectRef>
          <a:fontRef idx="minor">
            <a:schemeClr val="tx1"/>
          </a:fontRef>
        </p:style>
      </p:cxnSp>
      <p:grpSp>
        <p:nvGrpSpPr>
          <p:cNvPr id="299" name="Group 298">
            <a:extLst>
              <a:ext uri="{FF2B5EF4-FFF2-40B4-BE49-F238E27FC236}">
                <a16:creationId xmlns:a16="http://schemas.microsoft.com/office/drawing/2014/main" xmlns="" id="{C3F4296D-7B08-47B5-B943-6172991FF633}"/>
              </a:ext>
            </a:extLst>
          </p:cNvPr>
          <p:cNvGrpSpPr/>
          <p:nvPr/>
        </p:nvGrpSpPr>
        <p:grpSpPr>
          <a:xfrm>
            <a:off x="2355785" y="3733091"/>
            <a:ext cx="3491982" cy="2218814"/>
            <a:chOff x="3141046" y="3834454"/>
            <a:chExt cx="4655976" cy="2958419"/>
          </a:xfrm>
        </p:grpSpPr>
        <p:grpSp>
          <p:nvGrpSpPr>
            <p:cNvPr id="136" name="Group 135">
              <a:extLst>
                <a:ext uri="{FF2B5EF4-FFF2-40B4-BE49-F238E27FC236}">
                  <a16:creationId xmlns:a16="http://schemas.microsoft.com/office/drawing/2014/main" xmlns="" id="{733A311E-8AB7-48FC-9549-8D8291146E12}"/>
                </a:ext>
              </a:extLst>
            </p:cNvPr>
            <p:cNvGrpSpPr/>
            <p:nvPr/>
          </p:nvGrpSpPr>
          <p:grpSpPr>
            <a:xfrm>
              <a:off x="3141046" y="3834454"/>
              <a:ext cx="4655976" cy="2958419"/>
              <a:chOff x="3419201" y="3671373"/>
              <a:chExt cx="4655976" cy="3077378"/>
            </a:xfrm>
          </p:grpSpPr>
          <p:sp>
            <p:nvSpPr>
              <p:cNvPr id="71" name="Rectangle 70">
                <a:extLst>
                  <a:ext uri="{FF2B5EF4-FFF2-40B4-BE49-F238E27FC236}">
                    <a16:creationId xmlns:a16="http://schemas.microsoft.com/office/drawing/2014/main" xmlns="" id="{CA09C024-C31C-457C-A180-E36B710C5CA6}"/>
                  </a:ext>
                </a:extLst>
              </p:cNvPr>
              <p:cNvSpPr/>
              <p:nvPr/>
            </p:nvSpPr>
            <p:spPr>
              <a:xfrm>
                <a:off x="3419201" y="3671373"/>
                <a:ext cx="4655976" cy="3077378"/>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TextBox 81">
                <a:extLst>
                  <a:ext uri="{FF2B5EF4-FFF2-40B4-BE49-F238E27FC236}">
                    <a16:creationId xmlns:a16="http://schemas.microsoft.com/office/drawing/2014/main" xmlns="" id="{C70A35BA-2258-454B-850A-2835CF5DB6DE}"/>
                  </a:ext>
                </a:extLst>
              </p:cNvPr>
              <p:cNvSpPr txBox="1"/>
              <p:nvPr/>
            </p:nvSpPr>
            <p:spPr>
              <a:xfrm>
                <a:off x="3484412" y="3718022"/>
                <a:ext cx="1479043" cy="352168"/>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050" b="1" i="0" u="none" strike="noStrike" kern="1200" cap="none" spc="0" normalizeH="0" baseline="0" noProof="0" dirty="0">
                    <a:ln>
                      <a:noFill/>
                    </a:ln>
                    <a:solidFill>
                      <a:prstClr val="white"/>
                    </a:solidFill>
                    <a:effectLst/>
                    <a:uLnTx/>
                    <a:uFillTx/>
                    <a:latin typeface="Selawik Light" panose="020B0604020202020204" pitchFamily="34" charset="0"/>
                    <a:ea typeface="+mn-ea"/>
                    <a:cs typeface="+mn-cs"/>
                  </a:rPr>
                  <a:t>Human cell</a:t>
                </a:r>
                <a:endParaRPr kumimoji="0" lang="en-ZA" sz="1050" b="1" i="0" u="none" strike="noStrike" kern="1200" cap="none" spc="0" normalizeH="0" baseline="0" noProof="0" dirty="0">
                  <a:ln>
                    <a:noFill/>
                  </a:ln>
                  <a:solidFill>
                    <a:prstClr val="white"/>
                  </a:solidFill>
                  <a:effectLst/>
                  <a:uLnTx/>
                  <a:uFillTx/>
                  <a:latin typeface="Selawik Light" panose="020B0604020202020204" pitchFamily="34" charset="0"/>
                  <a:ea typeface="+mn-ea"/>
                  <a:cs typeface="+mn-cs"/>
                </a:endParaRPr>
              </a:p>
            </p:txBody>
          </p:sp>
        </p:grpSp>
        <p:grpSp>
          <p:nvGrpSpPr>
            <p:cNvPr id="235" name="Group 234">
              <a:extLst>
                <a:ext uri="{FF2B5EF4-FFF2-40B4-BE49-F238E27FC236}">
                  <a16:creationId xmlns:a16="http://schemas.microsoft.com/office/drawing/2014/main" xmlns="" id="{ABD3CD3E-BFA1-46ED-B64E-FC03825FA0A9}"/>
                </a:ext>
              </a:extLst>
            </p:cNvPr>
            <p:cNvGrpSpPr/>
            <p:nvPr/>
          </p:nvGrpSpPr>
          <p:grpSpPr>
            <a:xfrm>
              <a:off x="5791934" y="4064528"/>
              <a:ext cx="1681805" cy="1705914"/>
              <a:chOff x="5791934" y="4064528"/>
              <a:chExt cx="1681805" cy="1705914"/>
            </a:xfrm>
          </p:grpSpPr>
          <p:sp>
            <p:nvSpPr>
              <p:cNvPr id="134" name="Oval 133">
                <a:extLst>
                  <a:ext uri="{FF2B5EF4-FFF2-40B4-BE49-F238E27FC236}">
                    <a16:creationId xmlns:a16="http://schemas.microsoft.com/office/drawing/2014/main" xmlns="" id="{55EA3BE4-90EF-4695-89B3-590C141E9D02}"/>
                  </a:ext>
                </a:extLst>
              </p:cNvPr>
              <p:cNvSpPr/>
              <p:nvPr/>
            </p:nvSpPr>
            <p:spPr>
              <a:xfrm>
                <a:off x="5791934" y="4064528"/>
                <a:ext cx="1681805" cy="1705914"/>
              </a:xfrm>
              <a:prstGeom prst="ellipse">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9" name="Oval 138">
                <a:extLst>
                  <a:ext uri="{FF2B5EF4-FFF2-40B4-BE49-F238E27FC236}">
                    <a16:creationId xmlns:a16="http://schemas.microsoft.com/office/drawing/2014/main" xmlns="" id="{CE40F3CC-FE0A-4C4F-8C18-6DC93DF1D574}"/>
                  </a:ext>
                </a:extLst>
              </p:cNvPr>
              <p:cNvSpPr/>
              <p:nvPr/>
            </p:nvSpPr>
            <p:spPr>
              <a:xfrm>
                <a:off x="6317233" y="5178673"/>
                <a:ext cx="469727" cy="504660"/>
              </a:xfrm>
              <a:prstGeom prst="ellipse">
                <a:avLst/>
              </a:prstGeom>
              <a:solidFill>
                <a:srgbClr val="E7A603"/>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91" name="Group 190">
                <a:extLst>
                  <a:ext uri="{FF2B5EF4-FFF2-40B4-BE49-F238E27FC236}">
                    <a16:creationId xmlns:a16="http://schemas.microsoft.com/office/drawing/2014/main" xmlns="" id="{77B51542-E2C7-4548-ABB1-D917ED71FFE4}"/>
                  </a:ext>
                </a:extLst>
              </p:cNvPr>
              <p:cNvGrpSpPr/>
              <p:nvPr/>
            </p:nvGrpSpPr>
            <p:grpSpPr>
              <a:xfrm>
                <a:off x="6113439" y="4320671"/>
                <a:ext cx="519397" cy="495310"/>
                <a:chOff x="7522234" y="943395"/>
                <a:chExt cx="2941352" cy="2696534"/>
              </a:xfrm>
            </p:grpSpPr>
            <p:grpSp>
              <p:nvGrpSpPr>
                <p:cNvPr id="192" name="Group 191">
                  <a:extLst>
                    <a:ext uri="{FF2B5EF4-FFF2-40B4-BE49-F238E27FC236}">
                      <a16:creationId xmlns:a16="http://schemas.microsoft.com/office/drawing/2014/main" xmlns="" id="{B9370695-F902-40BF-B9BE-902BE1B50CDD}"/>
                    </a:ext>
                  </a:extLst>
                </p:cNvPr>
                <p:cNvGrpSpPr/>
                <p:nvPr/>
              </p:nvGrpSpPr>
              <p:grpSpPr>
                <a:xfrm rot="7704984">
                  <a:off x="10100867" y="2061051"/>
                  <a:ext cx="332736" cy="392702"/>
                  <a:chOff x="6989202" y="1415383"/>
                  <a:chExt cx="336734" cy="392702"/>
                </a:xfrm>
              </p:grpSpPr>
              <p:sp>
                <p:nvSpPr>
                  <p:cNvPr id="211" name="Diamond 210">
                    <a:extLst>
                      <a:ext uri="{FF2B5EF4-FFF2-40B4-BE49-F238E27FC236}">
                        <a16:creationId xmlns:a16="http://schemas.microsoft.com/office/drawing/2014/main" xmlns="" id="{43531885-F913-4A6F-BC86-568FD505117C}"/>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12" name="Straight Connector 211">
                    <a:extLst>
                      <a:ext uri="{FF2B5EF4-FFF2-40B4-BE49-F238E27FC236}">
                        <a16:creationId xmlns:a16="http://schemas.microsoft.com/office/drawing/2014/main" xmlns="" id="{91CF8D54-7CB3-4DB1-B999-075C862474CB}"/>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193" name="Hexagon 192">
                  <a:extLst>
                    <a:ext uri="{FF2B5EF4-FFF2-40B4-BE49-F238E27FC236}">
                      <a16:creationId xmlns:a16="http://schemas.microsoft.com/office/drawing/2014/main" xmlns="" id="{5A49ABB2-0EDC-4A17-85FA-311264CCFAF1}"/>
                    </a:ext>
                  </a:extLst>
                </p:cNvPr>
                <p:cNvSpPr/>
                <p:nvPr/>
              </p:nvSpPr>
              <p:spPr>
                <a:xfrm>
                  <a:off x="7950080" y="1304805"/>
                  <a:ext cx="2080726" cy="1945385"/>
                </a:xfrm>
                <a:prstGeom prst="hexagon">
                  <a:avLst/>
                </a:prstGeom>
                <a:solidFill>
                  <a:schemeClr val="accent1">
                    <a:lumMod val="60000"/>
                    <a:lumOff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4" name="Star: 32 Points 193">
                  <a:extLst>
                    <a:ext uri="{FF2B5EF4-FFF2-40B4-BE49-F238E27FC236}">
                      <a16:creationId xmlns:a16="http://schemas.microsoft.com/office/drawing/2014/main" xmlns="" id="{F0A1AE21-84F3-4E7B-AEF8-46D14CDE8378}"/>
                    </a:ext>
                  </a:extLst>
                </p:cNvPr>
                <p:cNvSpPr/>
                <p:nvPr/>
              </p:nvSpPr>
              <p:spPr>
                <a:xfrm>
                  <a:off x="8234245" y="1618582"/>
                  <a:ext cx="1539550" cy="1314524"/>
                </a:xfrm>
                <a:prstGeom prst="star32">
                  <a:avLst/>
                </a:prstGeom>
                <a:solidFill>
                  <a:schemeClr val="accent1">
                    <a:lumMod val="60000"/>
                    <a:lumOff val="40000"/>
                  </a:schemeClr>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w="38100">
                      <a:solidFill>
                        <a:prstClr val="black"/>
                      </a:solidFill>
                    </a:ln>
                    <a:solidFill>
                      <a:prstClr val="white"/>
                    </a:solidFill>
                    <a:effectLst/>
                    <a:uLnTx/>
                    <a:uFillTx/>
                    <a:latin typeface="Calibri" panose="020F0502020204030204"/>
                    <a:ea typeface="+mn-ea"/>
                    <a:cs typeface="+mn-cs"/>
                  </a:endParaRPr>
                </a:p>
              </p:txBody>
            </p:sp>
            <p:sp>
              <p:nvSpPr>
                <p:cNvPr id="195" name="Freeform: Shape 194">
                  <a:extLst>
                    <a:ext uri="{FF2B5EF4-FFF2-40B4-BE49-F238E27FC236}">
                      <a16:creationId xmlns:a16="http://schemas.microsoft.com/office/drawing/2014/main" xmlns="" id="{D8EF3CFD-AA94-44C4-9269-03338BF59502}"/>
                    </a:ext>
                  </a:extLst>
                </p:cNvPr>
                <p:cNvSpPr/>
                <p:nvPr/>
              </p:nvSpPr>
              <p:spPr>
                <a:xfrm>
                  <a:off x="8975549" y="1618709"/>
                  <a:ext cx="485833" cy="329666"/>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grpSp>
              <p:nvGrpSpPr>
                <p:cNvPr id="196" name="Group 195">
                  <a:extLst>
                    <a:ext uri="{FF2B5EF4-FFF2-40B4-BE49-F238E27FC236}">
                      <a16:creationId xmlns:a16="http://schemas.microsoft.com/office/drawing/2014/main" xmlns="" id="{EA321849-C5EC-46D9-A3A6-1E9A28B2EE9E}"/>
                    </a:ext>
                  </a:extLst>
                </p:cNvPr>
                <p:cNvGrpSpPr/>
                <p:nvPr/>
              </p:nvGrpSpPr>
              <p:grpSpPr>
                <a:xfrm>
                  <a:off x="8113519" y="943395"/>
                  <a:ext cx="336734" cy="388040"/>
                  <a:chOff x="6989202" y="1415383"/>
                  <a:chExt cx="336734" cy="392702"/>
                </a:xfrm>
              </p:grpSpPr>
              <p:sp>
                <p:nvSpPr>
                  <p:cNvPr id="209" name="Diamond 208">
                    <a:extLst>
                      <a:ext uri="{FF2B5EF4-FFF2-40B4-BE49-F238E27FC236}">
                        <a16:creationId xmlns:a16="http://schemas.microsoft.com/office/drawing/2014/main" xmlns="" id="{404375E0-E147-4D64-8EEF-208267D38AE9}"/>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10" name="Straight Connector 209">
                    <a:extLst>
                      <a:ext uri="{FF2B5EF4-FFF2-40B4-BE49-F238E27FC236}">
                        <a16:creationId xmlns:a16="http://schemas.microsoft.com/office/drawing/2014/main" xmlns="" id="{4249FA1B-485F-4A10-BC9E-AA802B3C91FC}"/>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197" name="Group 196">
                  <a:extLst>
                    <a:ext uri="{FF2B5EF4-FFF2-40B4-BE49-F238E27FC236}">
                      <a16:creationId xmlns:a16="http://schemas.microsoft.com/office/drawing/2014/main" xmlns="" id="{0877D899-2C34-44A0-BFDC-BBC7E5046389}"/>
                    </a:ext>
                  </a:extLst>
                </p:cNvPr>
                <p:cNvGrpSpPr/>
                <p:nvPr/>
              </p:nvGrpSpPr>
              <p:grpSpPr>
                <a:xfrm rot="18441751">
                  <a:off x="7552217" y="2097933"/>
                  <a:ext cx="332736" cy="392702"/>
                  <a:chOff x="6989202" y="1415383"/>
                  <a:chExt cx="336734" cy="392702"/>
                </a:xfrm>
              </p:grpSpPr>
              <p:sp>
                <p:nvSpPr>
                  <p:cNvPr id="207" name="Diamond 206">
                    <a:extLst>
                      <a:ext uri="{FF2B5EF4-FFF2-40B4-BE49-F238E27FC236}">
                        <a16:creationId xmlns:a16="http://schemas.microsoft.com/office/drawing/2014/main" xmlns="" id="{ACBBC69B-FF9C-4196-A200-C4B0B1CF1479}"/>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08" name="Straight Connector 207">
                    <a:extLst>
                      <a:ext uri="{FF2B5EF4-FFF2-40B4-BE49-F238E27FC236}">
                        <a16:creationId xmlns:a16="http://schemas.microsoft.com/office/drawing/2014/main" xmlns="" id="{1B0AB5E9-DB78-4738-9635-4000A1B683D3}"/>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198" name="Group 197">
                  <a:extLst>
                    <a:ext uri="{FF2B5EF4-FFF2-40B4-BE49-F238E27FC236}">
                      <a16:creationId xmlns:a16="http://schemas.microsoft.com/office/drawing/2014/main" xmlns="" id="{70A7146C-D005-4350-A525-0323077DB95C}"/>
                    </a:ext>
                  </a:extLst>
                </p:cNvPr>
                <p:cNvGrpSpPr/>
                <p:nvPr/>
              </p:nvGrpSpPr>
              <p:grpSpPr>
                <a:xfrm rot="10976378">
                  <a:off x="9513381" y="3251889"/>
                  <a:ext cx="336734" cy="388040"/>
                  <a:chOff x="6989202" y="1415383"/>
                  <a:chExt cx="336734" cy="392702"/>
                </a:xfrm>
              </p:grpSpPr>
              <p:sp>
                <p:nvSpPr>
                  <p:cNvPr id="205" name="Diamond 204">
                    <a:extLst>
                      <a:ext uri="{FF2B5EF4-FFF2-40B4-BE49-F238E27FC236}">
                        <a16:creationId xmlns:a16="http://schemas.microsoft.com/office/drawing/2014/main" xmlns="" id="{CD0D24CC-7D48-4FBF-A18D-DBB3CD92A5A8}"/>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06" name="Straight Connector 205">
                    <a:extLst>
                      <a:ext uri="{FF2B5EF4-FFF2-40B4-BE49-F238E27FC236}">
                        <a16:creationId xmlns:a16="http://schemas.microsoft.com/office/drawing/2014/main" xmlns="" id="{5B9F1922-E1E9-4C49-A515-7073B8C26A41}"/>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199" name="Group 198">
                  <a:extLst>
                    <a:ext uri="{FF2B5EF4-FFF2-40B4-BE49-F238E27FC236}">
                      <a16:creationId xmlns:a16="http://schemas.microsoft.com/office/drawing/2014/main" xmlns="" id="{867445B7-B268-4DBC-AA22-C03117B46E0B}"/>
                    </a:ext>
                  </a:extLst>
                </p:cNvPr>
                <p:cNvGrpSpPr/>
                <p:nvPr/>
              </p:nvGrpSpPr>
              <p:grpSpPr>
                <a:xfrm rot="15707571">
                  <a:off x="8126609" y="3246200"/>
                  <a:ext cx="332736" cy="392702"/>
                  <a:chOff x="6989202" y="1415383"/>
                  <a:chExt cx="336734" cy="392702"/>
                </a:xfrm>
              </p:grpSpPr>
              <p:sp>
                <p:nvSpPr>
                  <p:cNvPr id="203" name="Diamond 202">
                    <a:extLst>
                      <a:ext uri="{FF2B5EF4-FFF2-40B4-BE49-F238E27FC236}">
                        <a16:creationId xmlns:a16="http://schemas.microsoft.com/office/drawing/2014/main" xmlns="" id="{3CB44D56-A4BE-4980-BB0F-F0DFD806EFD9}"/>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04" name="Straight Connector 203">
                    <a:extLst>
                      <a:ext uri="{FF2B5EF4-FFF2-40B4-BE49-F238E27FC236}">
                        <a16:creationId xmlns:a16="http://schemas.microsoft.com/office/drawing/2014/main" xmlns="" id="{4CA25C8E-106B-4A2E-8D1F-2269887BF85B}"/>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200" name="Group 199">
                  <a:extLst>
                    <a:ext uri="{FF2B5EF4-FFF2-40B4-BE49-F238E27FC236}">
                      <a16:creationId xmlns:a16="http://schemas.microsoft.com/office/drawing/2014/main" xmlns="" id="{70AC4469-368D-421F-A797-D55639ADDCEC}"/>
                    </a:ext>
                  </a:extLst>
                </p:cNvPr>
                <p:cNvGrpSpPr/>
                <p:nvPr/>
              </p:nvGrpSpPr>
              <p:grpSpPr>
                <a:xfrm rot="4788091">
                  <a:off x="9538628" y="915960"/>
                  <a:ext cx="332736" cy="392702"/>
                  <a:chOff x="6989202" y="1415383"/>
                  <a:chExt cx="336734" cy="392702"/>
                </a:xfrm>
              </p:grpSpPr>
              <p:sp>
                <p:nvSpPr>
                  <p:cNvPr id="201" name="Diamond 200">
                    <a:extLst>
                      <a:ext uri="{FF2B5EF4-FFF2-40B4-BE49-F238E27FC236}">
                        <a16:creationId xmlns:a16="http://schemas.microsoft.com/office/drawing/2014/main" xmlns="" id="{3BC91C56-7732-4C21-A038-DCDAB50FF810}"/>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02" name="Straight Connector 201">
                    <a:extLst>
                      <a:ext uri="{FF2B5EF4-FFF2-40B4-BE49-F238E27FC236}">
                        <a16:creationId xmlns:a16="http://schemas.microsoft.com/office/drawing/2014/main" xmlns="" id="{F3D809AD-A0E1-4D61-BA38-F06EB29C4848}"/>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grpSp>
            <p:nvGrpSpPr>
              <p:cNvPr id="213" name="Group 212">
                <a:extLst>
                  <a:ext uri="{FF2B5EF4-FFF2-40B4-BE49-F238E27FC236}">
                    <a16:creationId xmlns:a16="http://schemas.microsoft.com/office/drawing/2014/main" xmlns="" id="{21011624-A52A-4EB9-81B8-393A76B22DEE}"/>
                  </a:ext>
                </a:extLst>
              </p:cNvPr>
              <p:cNvGrpSpPr/>
              <p:nvPr/>
            </p:nvGrpSpPr>
            <p:grpSpPr>
              <a:xfrm>
                <a:off x="6647206" y="4593502"/>
                <a:ext cx="519397" cy="495310"/>
                <a:chOff x="7522234" y="943395"/>
                <a:chExt cx="2941352" cy="2696534"/>
              </a:xfrm>
            </p:grpSpPr>
            <p:grpSp>
              <p:nvGrpSpPr>
                <p:cNvPr id="214" name="Group 213">
                  <a:extLst>
                    <a:ext uri="{FF2B5EF4-FFF2-40B4-BE49-F238E27FC236}">
                      <a16:creationId xmlns:a16="http://schemas.microsoft.com/office/drawing/2014/main" xmlns="" id="{2C20FD2B-D733-43AD-BB5E-757162C62FED}"/>
                    </a:ext>
                  </a:extLst>
                </p:cNvPr>
                <p:cNvGrpSpPr/>
                <p:nvPr/>
              </p:nvGrpSpPr>
              <p:grpSpPr>
                <a:xfrm rot="7704984">
                  <a:off x="10100867" y="2061051"/>
                  <a:ext cx="332736" cy="392702"/>
                  <a:chOff x="6989202" y="1415383"/>
                  <a:chExt cx="336734" cy="392702"/>
                </a:xfrm>
              </p:grpSpPr>
              <p:sp>
                <p:nvSpPr>
                  <p:cNvPr id="233" name="Diamond 232">
                    <a:extLst>
                      <a:ext uri="{FF2B5EF4-FFF2-40B4-BE49-F238E27FC236}">
                        <a16:creationId xmlns:a16="http://schemas.microsoft.com/office/drawing/2014/main" xmlns="" id="{8E4A58F4-7E26-4C83-A05C-0503DEAC70D6}"/>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34" name="Straight Connector 233">
                    <a:extLst>
                      <a:ext uri="{FF2B5EF4-FFF2-40B4-BE49-F238E27FC236}">
                        <a16:creationId xmlns:a16="http://schemas.microsoft.com/office/drawing/2014/main" xmlns="" id="{9C5746F4-2088-49DC-8912-7DAB2F499743}"/>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215" name="Hexagon 214">
                  <a:extLst>
                    <a:ext uri="{FF2B5EF4-FFF2-40B4-BE49-F238E27FC236}">
                      <a16:creationId xmlns:a16="http://schemas.microsoft.com/office/drawing/2014/main" xmlns="" id="{3702DADD-0927-4C38-8A94-DCEA01301170}"/>
                    </a:ext>
                  </a:extLst>
                </p:cNvPr>
                <p:cNvSpPr/>
                <p:nvPr/>
              </p:nvSpPr>
              <p:spPr>
                <a:xfrm>
                  <a:off x="7950080" y="1304805"/>
                  <a:ext cx="2080726" cy="1945385"/>
                </a:xfrm>
                <a:prstGeom prst="hexagon">
                  <a:avLst/>
                </a:prstGeom>
                <a:solidFill>
                  <a:schemeClr val="accent1">
                    <a:lumMod val="60000"/>
                    <a:lumOff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6" name="Star: 32 Points 215">
                  <a:extLst>
                    <a:ext uri="{FF2B5EF4-FFF2-40B4-BE49-F238E27FC236}">
                      <a16:creationId xmlns:a16="http://schemas.microsoft.com/office/drawing/2014/main" xmlns="" id="{DB1CD15C-F2F5-48F7-816E-300A5E994B5A}"/>
                    </a:ext>
                  </a:extLst>
                </p:cNvPr>
                <p:cNvSpPr/>
                <p:nvPr/>
              </p:nvSpPr>
              <p:spPr>
                <a:xfrm>
                  <a:off x="8234245" y="1618582"/>
                  <a:ext cx="1539550" cy="1314524"/>
                </a:xfrm>
                <a:prstGeom prst="star32">
                  <a:avLst/>
                </a:prstGeom>
                <a:solidFill>
                  <a:schemeClr val="accent1">
                    <a:lumMod val="60000"/>
                    <a:lumOff val="40000"/>
                  </a:schemeClr>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w="38100">
                      <a:solidFill>
                        <a:prstClr val="black"/>
                      </a:solidFill>
                    </a:ln>
                    <a:solidFill>
                      <a:prstClr val="white"/>
                    </a:solidFill>
                    <a:effectLst/>
                    <a:uLnTx/>
                    <a:uFillTx/>
                    <a:latin typeface="Calibri" panose="020F0502020204030204"/>
                    <a:ea typeface="+mn-ea"/>
                    <a:cs typeface="+mn-cs"/>
                  </a:endParaRPr>
                </a:p>
              </p:txBody>
            </p:sp>
            <p:sp>
              <p:nvSpPr>
                <p:cNvPr id="217" name="Freeform: Shape 216">
                  <a:extLst>
                    <a:ext uri="{FF2B5EF4-FFF2-40B4-BE49-F238E27FC236}">
                      <a16:creationId xmlns:a16="http://schemas.microsoft.com/office/drawing/2014/main" xmlns="" id="{CD5D3413-0B73-4D4C-944A-8C0788E1910F}"/>
                    </a:ext>
                  </a:extLst>
                </p:cNvPr>
                <p:cNvSpPr/>
                <p:nvPr/>
              </p:nvSpPr>
              <p:spPr>
                <a:xfrm>
                  <a:off x="8975549" y="1618709"/>
                  <a:ext cx="485833" cy="329666"/>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grpSp>
              <p:nvGrpSpPr>
                <p:cNvPr id="218" name="Group 217">
                  <a:extLst>
                    <a:ext uri="{FF2B5EF4-FFF2-40B4-BE49-F238E27FC236}">
                      <a16:creationId xmlns:a16="http://schemas.microsoft.com/office/drawing/2014/main" xmlns="" id="{7DA9DBB2-FCD1-431A-9DE9-A9908C5B0DF7}"/>
                    </a:ext>
                  </a:extLst>
                </p:cNvPr>
                <p:cNvGrpSpPr/>
                <p:nvPr/>
              </p:nvGrpSpPr>
              <p:grpSpPr>
                <a:xfrm>
                  <a:off x="8113519" y="943395"/>
                  <a:ext cx="336734" cy="388040"/>
                  <a:chOff x="6989202" y="1415383"/>
                  <a:chExt cx="336734" cy="392702"/>
                </a:xfrm>
              </p:grpSpPr>
              <p:sp>
                <p:nvSpPr>
                  <p:cNvPr id="231" name="Diamond 230">
                    <a:extLst>
                      <a:ext uri="{FF2B5EF4-FFF2-40B4-BE49-F238E27FC236}">
                        <a16:creationId xmlns:a16="http://schemas.microsoft.com/office/drawing/2014/main" xmlns="" id="{B95FA3BE-DB0B-4250-9679-D81D66BFC9AF}"/>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32" name="Straight Connector 231">
                    <a:extLst>
                      <a:ext uri="{FF2B5EF4-FFF2-40B4-BE49-F238E27FC236}">
                        <a16:creationId xmlns:a16="http://schemas.microsoft.com/office/drawing/2014/main" xmlns="" id="{4FA3E2A5-9433-48D2-A70B-0F382095B3E2}"/>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219" name="Group 218">
                  <a:extLst>
                    <a:ext uri="{FF2B5EF4-FFF2-40B4-BE49-F238E27FC236}">
                      <a16:creationId xmlns:a16="http://schemas.microsoft.com/office/drawing/2014/main" xmlns="" id="{BDD1AB04-5F8D-4AC8-821A-E48F1ACCCFEE}"/>
                    </a:ext>
                  </a:extLst>
                </p:cNvPr>
                <p:cNvGrpSpPr/>
                <p:nvPr/>
              </p:nvGrpSpPr>
              <p:grpSpPr>
                <a:xfrm rot="18441751">
                  <a:off x="7552217" y="2097933"/>
                  <a:ext cx="332736" cy="392702"/>
                  <a:chOff x="6989202" y="1415383"/>
                  <a:chExt cx="336734" cy="392702"/>
                </a:xfrm>
              </p:grpSpPr>
              <p:sp>
                <p:nvSpPr>
                  <p:cNvPr id="229" name="Diamond 228">
                    <a:extLst>
                      <a:ext uri="{FF2B5EF4-FFF2-40B4-BE49-F238E27FC236}">
                        <a16:creationId xmlns:a16="http://schemas.microsoft.com/office/drawing/2014/main" xmlns="" id="{5D44AFB6-A912-4EA0-BA54-935C7019EED8}"/>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30" name="Straight Connector 229">
                    <a:extLst>
                      <a:ext uri="{FF2B5EF4-FFF2-40B4-BE49-F238E27FC236}">
                        <a16:creationId xmlns:a16="http://schemas.microsoft.com/office/drawing/2014/main" xmlns="" id="{31914822-B615-4208-B32B-92B01A4D90B2}"/>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220" name="Group 219">
                  <a:extLst>
                    <a:ext uri="{FF2B5EF4-FFF2-40B4-BE49-F238E27FC236}">
                      <a16:creationId xmlns:a16="http://schemas.microsoft.com/office/drawing/2014/main" xmlns="" id="{68FB72B4-5A2B-483A-B70A-228F66EEA674}"/>
                    </a:ext>
                  </a:extLst>
                </p:cNvPr>
                <p:cNvGrpSpPr/>
                <p:nvPr/>
              </p:nvGrpSpPr>
              <p:grpSpPr>
                <a:xfrm rot="10976378">
                  <a:off x="9513381" y="3251889"/>
                  <a:ext cx="336734" cy="388040"/>
                  <a:chOff x="6989202" y="1415383"/>
                  <a:chExt cx="336734" cy="392702"/>
                </a:xfrm>
              </p:grpSpPr>
              <p:sp>
                <p:nvSpPr>
                  <p:cNvPr id="227" name="Diamond 226">
                    <a:extLst>
                      <a:ext uri="{FF2B5EF4-FFF2-40B4-BE49-F238E27FC236}">
                        <a16:creationId xmlns:a16="http://schemas.microsoft.com/office/drawing/2014/main" xmlns="" id="{0653A9BE-B28C-4E24-B4B2-C53E139D4E92}"/>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28" name="Straight Connector 227">
                    <a:extLst>
                      <a:ext uri="{FF2B5EF4-FFF2-40B4-BE49-F238E27FC236}">
                        <a16:creationId xmlns:a16="http://schemas.microsoft.com/office/drawing/2014/main" xmlns="" id="{0FEDE545-2D3A-4B9D-8608-D88B89226FB9}"/>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221" name="Group 220">
                  <a:extLst>
                    <a:ext uri="{FF2B5EF4-FFF2-40B4-BE49-F238E27FC236}">
                      <a16:creationId xmlns:a16="http://schemas.microsoft.com/office/drawing/2014/main" xmlns="" id="{903C0B5A-5065-42BD-9307-029F7ECC0AA8}"/>
                    </a:ext>
                  </a:extLst>
                </p:cNvPr>
                <p:cNvGrpSpPr/>
                <p:nvPr/>
              </p:nvGrpSpPr>
              <p:grpSpPr>
                <a:xfrm rot="15707571">
                  <a:off x="8126609" y="3246200"/>
                  <a:ext cx="332736" cy="392702"/>
                  <a:chOff x="6989202" y="1415383"/>
                  <a:chExt cx="336734" cy="392702"/>
                </a:xfrm>
              </p:grpSpPr>
              <p:sp>
                <p:nvSpPr>
                  <p:cNvPr id="225" name="Diamond 224">
                    <a:extLst>
                      <a:ext uri="{FF2B5EF4-FFF2-40B4-BE49-F238E27FC236}">
                        <a16:creationId xmlns:a16="http://schemas.microsoft.com/office/drawing/2014/main" xmlns="" id="{CB88DE1F-264A-46B1-96BA-684585FF5A8E}"/>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26" name="Straight Connector 225">
                    <a:extLst>
                      <a:ext uri="{FF2B5EF4-FFF2-40B4-BE49-F238E27FC236}">
                        <a16:creationId xmlns:a16="http://schemas.microsoft.com/office/drawing/2014/main" xmlns="" id="{24C05B92-331D-4F91-B935-ED2136B5DB70}"/>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222" name="Group 221">
                  <a:extLst>
                    <a:ext uri="{FF2B5EF4-FFF2-40B4-BE49-F238E27FC236}">
                      <a16:creationId xmlns:a16="http://schemas.microsoft.com/office/drawing/2014/main" xmlns="" id="{CE9DB130-D142-4F5E-AD73-95040BCC30A5}"/>
                    </a:ext>
                  </a:extLst>
                </p:cNvPr>
                <p:cNvGrpSpPr/>
                <p:nvPr/>
              </p:nvGrpSpPr>
              <p:grpSpPr>
                <a:xfrm rot="4788091">
                  <a:off x="9538628" y="915960"/>
                  <a:ext cx="332736" cy="392702"/>
                  <a:chOff x="6989202" y="1415383"/>
                  <a:chExt cx="336734" cy="392702"/>
                </a:xfrm>
              </p:grpSpPr>
              <p:sp>
                <p:nvSpPr>
                  <p:cNvPr id="223" name="Diamond 222">
                    <a:extLst>
                      <a:ext uri="{FF2B5EF4-FFF2-40B4-BE49-F238E27FC236}">
                        <a16:creationId xmlns:a16="http://schemas.microsoft.com/office/drawing/2014/main" xmlns="" id="{CE9A022F-5450-4780-AD62-5F6E7F9BC879}"/>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24" name="Straight Connector 223">
                    <a:extLst>
                      <a:ext uri="{FF2B5EF4-FFF2-40B4-BE49-F238E27FC236}">
                        <a16:creationId xmlns:a16="http://schemas.microsoft.com/office/drawing/2014/main" xmlns="" id="{C3847285-9784-47E1-B059-AAC687599A06}"/>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grpSp>
        <p:grpSp>
          <p:nvGrpSpPr>
            <p:cNvPr id="298" name="Group 297">
              <a:extLst>
                <a:ext uri="{FF2B5EF4-FFF2-40B4-BE49-F238E27FC236}">
                  <a16:creationId xmlns:a16="http://schemas.microsoft.com/office/drawing/2014/main" xmlns="" id="{70F50BBA-3B20-4258-BF35-01E71D9CB4AD}"/>
                </a:ext>
              </a:extLst>
            </p:cNvPr>
            <p:cNvGrpSpPr/>
            <p:nvPr/>
          </p:nvGrpSpPr>
          <p:grpSpPr>
            <a:xfrm>
              <a:off x="3230657" y="4543753"/>
              <a:ext cx="2040990" cy="1960044"/>
              <a:chOff x="3230657" y="4543753"/>
              <a:chExt cx="2040990" cy="1960044"/>
            </a:xfrm>
          </p:grpSpPr>
          <p:grpSp>
            <p:nvGrpSpPr>
              <p:cNvPr id="236" name="Group 235">
                <a:extLst>
                  <a:ext uri="{FF2B5EF4-FFF2-40B4-BE49-F238E27FC236}">
                    <a16:creationId xmlns:a16="http://schemas.microsoft.com/office/drawing/2014/main" xmlns="" id="{1CAF9ECC-FBA2-4209-B35F-DE0B6140A755}"/>
                  </a:ext>
                </a:extLst>
              </p:cNvPr>
              <p:cNvGrpSpPr/>
              <p:nvPr/>
            </p:nvGrpSpPr>
            <p:grpSpPr>
              <a:xfrm>
                <a:off x="3589842" y="4797883"/>
                <a:ext cx="1681805" cy="1705914"/>
                <a:chOff x="5791934" y="4064528"/>
                <a:chExt cx="1681805" cy="1705914"/>
              </a:xfrm>
            </p:grpSpPr>
            <p:sp>
              <p:nvSpPr>
                <p:cNvPr id="237" name="Oval 236">
                  <a:extLst>
                    <a:ext uri="{FF2B5EF4-FFF2-40B4-BE49-F238E27FC236}">
                      <a16:creationId xmlns:a16="http://schemas.microsoft.com/office/drawing/2014/main" xmlns="" id="{416775FF-3161-48E0-B0CD-EA90DC2E0517}"/>
                    </a:ext>
                  </a:extLst>
                </p:cNvPr>
                <p:cNvSpPr/>
                <p:nvPr/>
              </p:nvSpPr>
              <p:spPr>
                <a:xfrm>
                  <a:off x="5791934" y="4064528"/>
                  <a:ext cx="1681805" cy="1705914"/>
                </a:xfrm>
                <a:prstGeom prst="ellipse">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8" name="Oval 237">
                  <a:extLst>
                    <a:ext uri="{FF2B5EF4-FFF2-40B4-BE49-F238E27FC236}">
                      <a16:creationId xmlns:a16="http://schemas.microsoft.com/office/drawing/2014/main" xmlns="" id="{38646E83-3A86-4E8D-8AFC-870960A22215}"/>
                    </a:ext>
                  </a:extLst>
                </p:cNvPr>
                <p:cNvSpPr/>
                <p:nvPr/>
              </p:nvSpPr>
              <p:spPr>
                <a:xfrm>
                  <a:off x="6317233" y="5178673"/>
                  <a:ext cx="469727" cy="504660"/>
                </a:xfrm>
                <a:prstGeom prst="ellipse">
                  <a:avLst/>
                </a:prstGeom>
                <a:solidFill>
                  <a:srgbClr val="E7A603"/>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39" name="Group 238">
                  <a:extLst>
                    <a:ext uri="{FF2B5EF4-FFF2-40B4-BE49-F238E27FC236}">
                      <a16:creationId xmlns:a16="http://schemas.microsoft.com/office/drawing/2014/main" xmlns="" id="{EFD0D195-8B9D-4433-874D-C41DC7CE8E1F}"/>
                    </a:ext>
                  </a:extLst>
                </p:cNvPr>
                <p:cNvGrpSpPr/>
                <p:nvPr/>
              </p:nvGrpSpPr>
              <p:grpSpPr>
                <a:xfrm>
                  <a:off x="6113439" y="4320671"/>
                  <a:ext cx="519397" cy="495310"/>
                  <a:chOff x="7522234" y="943395"/>
                  <a:chExt cx="2941352" cy="2696534"/>
                </a:xfrm>
              </p:grpSpPr>
              <p:grpSp>
                <p:nvGrpSpPr>
                  <p:cNvPr id="262" name="Group 261">
                    <a:extLst>
                      <a:ext uri="{FF2B5EF4-FFF2-40B4-BE49-F238E27FC236}">
                        <a16:creationId xmlns:a16="http://schemas.microsoft.com/office/drawing/2014/main" xmlns="" id="{0679667A-1816-4113-8760-A5B0FC8F0DF6}"/>
                      </a:ext>
                    </a:extLst>
                  </p:cNvPr>
                  <p:cNvGrpSpPr/>
                  <p:nvPr/>
                </p:nvGrpSpPr>
                <p:grpSpPr>
                  <a:xfrm rot="7704984">
                    <a:off x="10100867" y="2061051"/>
                    <a:ext cx="332736" cy="392702"/>
                    <a:chOff x="6989202" y="1415383"/>
                    <a:chExt cx="336734" cy="392702"/>
                  </a:xfrm>
                </p:grpSpPr>
                <p:sp>
                  <p:nvSpPr>
                    <p:cNvPr id="281" name="Diamond 280">
                      <a:extLst>
                        <a:ext uri="{FF2B5EF4-FFF2-40B4-BE49-F238E27FC236}">
                          <a16:creationId xmlns:a16="http://schemas.microsoft.com/office/drawing/2014/main" xmlns="" id="{085D4BFD-930F-4B80-8BC0-E95756A1E459}"/>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82" name="Straight Connector 281">
                      <a:extLst>
                        <a:ext uri="{FF2B5EF4-FFF2-40B4-BE49-F238E27FC236}">
                          <a16:creationId xmlns:a16="http://schemas.microsoft.com/office/drawing/2014/main" xmlns="" id="{C56DC3C6-111E-4EC2-B24B-8DE0AAF141C6}"/>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263" name="Hexagon 262">
                    <a:extLst>
                      <a:ext uri="{FF2B5EF4-FFF2-40B4-BE49-F238E27FC236}">
                        <a16:creationId xmlns:a16="http://schemas.microsoft.com/office/drawing/2014/main" xmlns="" id="{CFAEED0C-8980-49E8-89B5-84E056C87371}"/>
                      </a:ext>
                    </a:extLst>
                  </p:cNvPr>
                  <p:cNvSpPr/>
                  <p:nvPr/>
                </p:nvSpPr>
                <p:spPr>
                  <a:xfrm>
                    <a:off x="7950080" y="1304805"/>
                    <a:ext cx="2080726" cy="1945385"/>
                  </a:xfrm>
                  <a:prstGeom prst="hexagon">
                    <a:avLst/>
                  </a:prstGeom>
                  <a:solidFill>
                    <a:schemeClr val="accent1">
                      <a:lumMod val="60000"/>
                      <a:lumOff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4" name="Star: 32 Points 263">
                    <a:extLst>
                      <a:ext uri="{FF2B5EF4-FFF2-40B4-BE49-F238E27FC236}">
                        <a16:creationId xmlns:a16="http://schemas.microsoft.com/office/drawing/2014/main" xmlns="" id="{974B42BE-D019-4AFE-8240-EE2A330BC97D}"/>
                      </a:ext>
                    </a:extLst>
                  </p:cNvPr>
                  <p:cNvSpPr/>
                  <p:nvPr/>
                </p:nvSpPr>
                <p:spPr>
                  <a:xfrm>
                    <a:off x="8234245" y="1618582"/>
                    <a:ext cx="1539550" cy="1314524"/>
                  </a:xfrm>
                  <a:prstGeom prst="star32">
                    <a:avLst/>
                  </a:prstGeom>
                  <a:solidFill>
                    <a:schemeClr val="accent1">
                      <a:lumMod val="60000"/>
                      <a:lumOff val="40000"/>
                    </a:schemeClr>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w="38100">
                        <a:solidFill>
                          <a:prstClr val="black"/>
                        </a:solidFill>
                      </a:ln>
                      <a:solidFill>
                        <a:prstClr val="white"/>
                      </a:solidFill>
                      <a:effectLst/>
                      <a:uLnTx/>
                      <a:uFillTx/>
                      <a:latin typeface="Calibri" panose="020F0502020204030204"/>
                      <a:ea typeface="+mn-ea"/>
                      <a:cs typeface="+mn-cs"/>
                    </a:endParaRPr>
                  </a:p>
                </p:txBody>
              </p:sp>
              <p:sp>
                <p:nvSpPr>
                  <p:cNvPr id="265" name="Freeform: Shape 264">
                    <a:extLst>
                      <a:ext uri="{FF2B5EF4-FFF2-40B4-BE49-F238E27FC236}">
                        <a16:creationId xmlns:a16="http://schemas.microsoft.com/office/drawing/2014/main" xmlns="" id="{5C7CE0F8-1517-4E50-A268-4C52E47E9DD8}"/>
                      </a:ext>
                    </a:extLst>
                  </p:cNvPr>
                  <p:cNvSpPr/>
                  <p:nvPr/>
                </p:nvSpPr>
                <p:spPr>
                  <a:xfrm>
                    <a:off x="8975549" y="1618709"/>
                    <a:ext cx="485833" cy="329666"/>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grpSp>
                <p:nvGrpSpPr>
                  <p:cNvPr id="266" name="Group 265">
                    <a:extLst>
                      <a:ext uri="{FF2B5EF4-FFF2-40B4-BE49-F238E27FC236}">
                        <a16:creationId xmlns:a16="http://schemas.microsoft.com/office/drawing/2014/main" xmlns="" id="{1457FDD2-1125-48C1-889C-2557E0572912}"/>
                      </a:ext>
                    </a:extLst>
                  </p:cNvPr>
                  <p:cNvGrpSpPr/>
                  <p:nvPr/>
                </p:nvGrpSpPr>
                <p:grpSpPr>
                  <a:xfrm>
                    <a:off x="8113519" y="943395"/>
                    <a:ext cx="336734" cy="388040"/>
                    <a:chOff x="6989202" y="1415383"/>
                    <a:chExt cx="336734" cy="392702"/>
                  </a:xfrm>
                </p:grpSpPr>
                <p:sp>
                  <p:nvSpPr>
                    <p:cNvPr id="279" name="Diamond 278">
                      <a:extLst>
                        <a:ext uri="{FF2B5EF4-FFF2-40B4-BE49-F238E27FC236}">
                          <a16:creationId xmlns:a16="http://schemas.microsoft.com/office/drawing/2014/main" xmlns="" id="{30524A84-FB07-4502-8A24-226E4E36FDD0}"/>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80" name="Straight Connector 279">
                      <a:extLst>
                        <a:ext uri="{FF2B5EF4-FFF2-40B4-BE49-F238E27FC236}">
                          <a16:creationId xmlns:a16="http://schemas.microsoft.com/office/drawing/2014/main" xmlns="" id="{FC0B2D00-937E-487C-82A1-E5B5251C6D6D}"/>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267" name="Group 266">
                    <a:extLst>
                      <a:ext uri="{FF2B5EF4-FFF2-40B4-BE49-F238E27FC236}">
                        <a16:creationId xmlns:a16="http://schemas.microsoft.com/office/drawing/2014/main" xmlns="" id="{76E9AC04-AF26-4314-BCC6-F87B65DB6D9E}"/>
                      </a:ext>
                    </a:extLst>
                  </p:cNvPr>
                  <p:cNvGrpSpPr/>
                  <p:nvPr/>
                </p:nvGrpSpPr>
                <p:grpSpPr>
                  <a:xfrm rot="18441751">
                    <a:off x="7552217" y="2097933"/>
                    <a:ext cx="332736" cy="392702"/>
                    <a:chOff x="6989202" y="1415383"/>
                    <a:chExt cx="336734" cy="392702"/>
                  </a:xfrm>
                </p:grpSpPr>
                <p:sp>
                  <p:nvSpPr>
                    <p:cNvPr id="277" name="Diamond 276">
                      <a:extLst>
                        <a:ext uri="{FF2B5EF4-FFF2-40B4-BE49-F238E27FC236}">
                          <a16:creationId xmlns:a16="http://schemas.microsoft.com/office/drawing/2014/main" xmlns="" id="{85E46D09-2753-456B-AB67-56F045B61D5C}"/>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78" name="Straight Connector 277">
                      <a:extLst>
                        <a:ext uri="{FF2B5EF4-FFF2-40B4-BE49-F238E27FC236}">
                          <a16:creationId xmlns:a16="http://schemas.microsoft.com/office/drawing/2014/main" xmlns="" id="{1EA79526-F644-474E-9E5C-0EB47A35EC24}"/>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268" name="Group 267">
                    <a:extLst>
                      <a:ext uri="{FF2B5EF4-FFF2-40B4-BE49-F238E27FC236}">
                        <a16:creationId xmlns:a16="http://schemas.microsoft.com/office/drawing/2014/main" xmlns="" id="{1BFEA4CD-4B80-4608-A5DE-55586A51E034}"/>
                      </a:ext>
                    </a:extLst>
                  </p:cNvPr>
                  <p:cNvGrpSpPr/>
                  <p:nvPr/>
                </p:nvGrpSpPr>
                <p:grpSpPr>
                  <a:xfrm rot="10976378">
                    <a:off x="9513381" y="3251889"/>
                    <a:ext cx="336734" cy="388040"/>
                    <a:chOff x="6989202" y="1415383"/>
                    <a:chExt cx="336734" cy="392702"/>
                  </a:xfrm>
                </p:grpSpPr>
                <p:sp>
                  <p:nvSpPr>
                    <p:cNvPr id="275" name="Diamond 274">
                      <a:extLst>
                        <a:ext uri="{FF2B5EF4-FFF2-40B4-BE49-F238E27FC236}">
                          <a16:creationId xmlns:a16="http://schemas.microsoft.com/office/drawing/2014/main" xmlns="" id="{CF8CDB14-3EC5-42D2-AA7A-13CD64C91A31}"/>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76" name="Straight Connector 275">
                      <a:extLst>
                        <a:ext uri="{FF2B5EF4-FFF2-40B4-BE49-F238E27FC236}">
                          <a16:creationId xmlns:a16="http://schemas.microsoft.com/office/drawing/2014/main" xmlns="" id="{EF0E63BE-F94C-46D4-AA0D-D719E37D7C17}"/>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269" name="Group 268">
                    <a:extLst>
                      <a:ext uri="{FF2B5EF4-FFF2-40B4-BE49-F238E27FC236}">
                        <a16:creationId xmlns:a16="http://schemas.microsoft.com/office/drawing/2014/main" xmlns="" id="{52472A0C-672E-4DE1-83AA-451F7C1A3616}"/>
                      </a:ext>
                    </a:extLst>
                  </p:cNvPr>
                  <p:cNvGrpSpPr/>
                  <p:nvPr/>
                </p:nvGrpSpPr>
                <p:grpSpPr>
                  <a:xfrm rot="15707571">
                    <a:off x="8126609" y="3246200"/>
                    <a:ext cx="332736" cy="392702"/>
                    <a:chOff x="6989202" y="1415383"/>
                    <a:chExt cx="336734" cy="392702"/>
                  </a:xfrm>
                </p:grpSpPr>
                <p:sp>
                  <p:nvSpPr>
                    <p:cNvPr id="273" name="Diamond 272">
                      <a:extLst>
                        <a:ext uri="{FF2B5EF4-FFF2-40B4-BE49-F238E27FC236}">
                          <a16:creationId xmlns:a16="http://schemas.microsoft.com/office/drawing/2014/main" xmlns="" id="{02E5DBF2-437B-4913-9FA4-8444A73AEE89}"/>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74" name="Straight Connector 273">
                      <a:extLst>
                        <a:ext uri="{FF2B5EF4-FFF2-40B4-BE49-F238E27FC236}">
                          <a16:creationId xmlns:a16="http://schemas.microsoft.com/office/drawing/2014/main" xmlns="" id="{BAAB859F-8107-4225-AFEE-413FDA4F50D3}"/>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270" name="Group 269">
                    <a:extLst>
                      <a:ext uri="{FF2B5EF4-FFF2-40B4-BE49-F238E27FC236}">
                        <a16:creationId xmlns:a16="http://schemas.microsoft.com/office/drawing/2014/main" xmlns="" id="{ACE16515-41CB-4A2D-93E2-4C1C73A2047F}"/>
                      </a:ext>
                    </a:extLst>
                  </p:cNvPr>
                  <p:cNvGrpSpPr/>
                  <p:nvPr/>
                </p:nvGrpSpPr>
                <p:grpSpPr>
                  <a:xfrm rot="4788091">
                    <a:off x="9538628" y="915960"/>
                    <a:ext cx="332736" cy="392702"/>
                    <a:chOff x="6989202" y="1415383"/>
                    <a:chExt cx="336734" cy="392702"/>
                  </a:xfrm>
                </p:grpSpPr>
                <p:sp>
                  <p:nvSpPr>
                    <p:cNvPr id="271" name="Diamond 270">
                      <a:extLst>
                        <a:ext uri="{FF2B5EF4-FFF2-40B4-BE49-F238E27FC236}">
                          <a16:creationId xmlns:a16="http://schemas.microsoft.com/office/drawing/2014/main" xmlns="" id="{7639598E-A539-4156-A906-965CF93BDDF4}"/>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72" name="Straight Connector 271">
                      <a:extLst>
                        <a:ext uri="{FF2B5EF4-FFF2-40B4-BE49-F238E27FC236}">
                          <a16:creationId xmlns:a16="http://schemas.microsoft.com/office/drawing/2014/main" xmlns="" id="{D6EDB37E-A8C3-4B75-A4A9-F2854B0E44F4}"/>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grpSp>
              <p:nvGrpSpPr>
                <p:cNvPr id="240" name="Group 239">
                  <a:extLst>
                    <a:ext uri="{FF2B5EF4-FFF2-40B4-BE49-F238E27FC236}">
                      <a16:creationId xmlns:a16="http://schemas.microsoft.com/office/drawing/2014/main" xmlns="" id="{804FBE88-4FA8-4188-902A-FF5A07EACB75}"/>
                    </a:ext>
                  </a:extLst>
                </p:cNvPr>
                <p:cNvGrpSpPr/>
                <p:nvPr/>
              </p:nvGrpSpPr>
              <p:grpSpPr>
                <a:xfrm>
                  <a:off x="6647206" y="4593502"/>
                  <a:ext cx="519397" cy="495310"/>
                  <a:chOff x="7522234" y="943395"/>
                  <a:chExt cx="2941352" cy="2696534"/>
                </a:xfrm>
              </p:grpSpPr>
              <p:grpSp>
                <p:nvGrpSpPr>
                  <p:cNvPr id="241" name="Group 240">
                    <a:extLst>
                      <a:ext uri="{FF2B5EF4-FFF2-40B4-BE49-F238E27FC236}">
                        <a16:creationId xmlns:a16="http://schemas.microsoft.com/office/drawing/2014/main" xmlns="" id="{3A148AC8-E720-4C21-84AA-8EE8C3C4B29A}"/>
                      </a:ext>
                    </a:extLst>
                  </p:cNvPr>
                  <p:cNvGrpSpPr/>
                  <p:nvPr/>
                </p:nvGrpSpPr>
                <p:grpSpPr>
                  <a:xfrm rot="7704984">
                    <a:off x="10100867" y="2061051"/>
                    <a:ext cx="332736" cy="392702"/>
                    <a:chOff x="6989202" y="1415383"/>
                    <a:chExt cx="336734" cy="392702"/>
                  </a:xfrm>
                </p:grpSpPr>
                <p:sp>
                  <p:nvSpPr>
                    <p:cNvPr id="260" name="Diamond 259">
                      <a:extLst>
                        <a:ext uri="{FF2B5EF4-FFF2-40B4-BE49-F238E27FC236}">
                          <a16:creationId xmlns:a16="http://schemas.microsoft.com/office/drawing/2014/main" xmlns="" id="{86C083B0-0F1B-4918-9992-E06628B4B627}"/>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61" name="Straight Connector 260">
                      <a:extLst>
                        <a:ext uri="{FF2B5EF4-FFF2-40B4-BE49-F238E27FC236}">
                          <a16:creationId xmlns:a16="http://schemas.microsoft.com/office/drawing/2014/main" xmlns="" id="{2A7740B0-B718-4AEF-8978-D6C739586D4C}"/>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242" name="Hexagon 241">
                    <a:extLst>
                      <a:ext uri="{FF2B5EF4-FFF2-40B4-BE49-F238E27FC236}">
                        <a16:creationId xmlns:a16="http://schemas.microsoft.com/office/drawing/2014/main" xmlns="" id="{918D8972-0961-428B-AF0B-67337DD86645}"/>
                      </a:ext>
                    </a:extLst>
                  </p:cNvPr>
                  <p:cNvSpPr/>
                  <p:nvPr/>
                </p:nvSpPr>
                <p:spPr>
                  <a:xfrm>
                    <a:off x="7950080" y="1304805"/>
                    <a:ext cx="2080726" cy="1945385"/>
                  </a:xfrm>
                  <a:prstGeom prst="hexagon">
                    <a:avLst/>
                  </a:prstGeom>
                  <a:solidFill>
                    <a:schemeClr val="accent1">
                      <a:lumMod val="60000"/>
                      <a:lumOff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3" name="Star: 32 Points 242">
                    <a:extLst>
                      <a:ext uri="{FF2B5EF4-FFF2-40B4-BE49-F238E27FC236}">
                        <a16:creationId xmlns:a16="http://schemas.microsoft.com/office/drawing/2014/main" xmlns="" id="{EF162437-9B98-4154-B6CB-6A87E4081504}"/>
                      </a:ext>
                    </a:extLst>
                  </p:cNvPr>
                  <p:cNvSpPr/>
                  <p:nvPr/>
                </p:nvSpPr>
                <p:spPr>
                  <a:xfrm>
                    <a:off x="8234245" y="1618582"/>
                    <a:ext cx="1539550" cy="1314524"/>
                  </a:xfrm>
                  <a:prstGeom prst="star32">
                    <a:avLst/>
                  </a:prstGeom>
                  <a:solidFill>
                    <a:schemeClr val="accent1">
                      <a:lumMod val="60000"/>
                      <a:lumOff val="40000"/>
                    </a:schemeClr>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w="38100">
                        <a:solidFill>
                          <a:prstClr val="black"/>
                        </a:solidFill>
                      </a:ln>
                      <a:solidFill>
                        <a:prstClr val="white"/>
                      </a:solidFill>
                      <a:effectLst/>
                      <a:uLnTx/>
                      <a:uFillTx/>
                      <a:latin typeface="Calibri" panose="020F0502020204030204"/>
                      <a:ea typeface="+mn-ea"/>
                      <a:cs typeface="+mn-cs"/>
                    </a:endParaRPr>
                  </a:p>
                </p:txBody>
              </p:sp>
              <p:sp>
                <p:nvSpPr>
                  <p:cNvPr id="244" name="Freeform: Shape 243">
                    <a:extLst>
                      <a:ext uri="{FF2B5EF4-FFF2-40B4-BE49-F238E27FC236}">
                        <a16:creationId xmlns:a16="http://schemas.microsoft.com/office/drawing/2014/main" xmlns="" id="{265C83E3-EB61-44D1-95DF-F5D80AD62F23}"/>
                      </a:ext>
                    </a:extLst>
                  </p:cNvPr>
                  <p:cNvSpPr/>
                  <p:nvPr/>
                </p:nvSpPr>
                <p:spPr>
                  <a:xfrm>
                    <a:off x="8975549" y="1618709"/>
                    <a:ext cx="485833" cy="329666"/>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grpSp>
                <p:nvGrpSpPr>
                  <p:cNvPr id="245" name="Group 244">
                    <a:extLst>
                      <a:ext uri="{FF2B5EF4-FFF2-40B4-BE49-F238E27FC236}">
                        <a16:creationId xmlns:a16="http://schemas.microsoft.com/office/drawing/2014/main" xmlns="" id="{5809F5C8-D954-4EED-A8A9-64D0D4FAAF89}"/>
                      </a:ext>
                    </a:extLst>
                  </p:cNvPr>
                  <p:cNvGrpSpPr/>
                  <p:nvPr/>
                </p:nvGrpSpPr>
                <p:grpSpPr>
                  <a:xfrm>
                    <a:off x="8113519" y="943395"/>
                    <a:ext cx="336734" cy="388040"/>
                    <a:chOff x="6989202" y="1415383"/>
                    <a:chExt cx="336734" cy="392702"/>
                  </a:xfrm>
                </p:grpSpPr>
                <p:sp>
                  <p:nvSpPr>
                    <p:cNvPr id="258" name="Diamond 257">
                      <a:extLst>
                        <a:ext uri="{FF2B5EF4-FFF2-40B4-BE49-F238E27FC236}">
                          <a16:creationId xmlns:a16="http://schemas.microsoft.com/office/drawing/2014/main" xmlns="" id="{18D70B24-7B4B-4598-BFCE-385834A273AC}"/>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59" name="Straight Connector 258">
                      <a:extLst>
                        <a:ext uri="{FF2B5EF4-FFF2-40B4-BE49-F238E27FC236}">
                          <a16:creationId xmlns:a16="http://schemas.microsoft.com/office/drawing/2014/main" xmlns="" id="{D58F2A56-4EAD-4573-89A3-603C0503365A}"/>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246" name="Group 245">
                    <a:extLst>
                      <a:ext uri="{FF2B5EF4-FFF2-40B4-BE49-F238E27FC236}">
                        <a16:creationId xmlns:a16="http://schemas.microsoft.com/office/drawing/2014/main" xmlns="" id="{02DD31F1-4848-40DD-A632-FF67D8A7814C}"/>
                      </a:ext>
                    </a:extLst>
                  </p:cNvPr>
                  <p:cNvGrpSpPr/>
                  <p:nvPr/>
                </p:nvGrpSpPr>
                <p:grpSpPr>
                  <a:xfrm rot="18441751">
                    <a:off x="7552217" y="2097933"/>
                    <a:ext cx="332736" cy="392702"/>
                    <a:chOff x="6989202" y="1415383"/>
                    <a:chExt cx="336734" cy="392702"/>
                  </a:xfrm>
                </p:grpSpPr>
                <p:sp>
                  <p:nvSpPr>
                    <p:cNvPr id="256" name="Diamond 255">
                      <a:extLst>
                        <a:ext uri="{FF2B5EF4-FFF2-40B4-BE49-F238E27FC236}">
                          <a16:creationId xmlns:a16="http://schemas.microsoft.com/office/drawing/2014/main" xmlns="" id="{5D90D1EE-23C6-428C-8813-44056AA313B7}"/>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57" name="Straight Connector 256">
                      <a:extLst>
                        <a:ext uri="{FF2B5EF4-FFF2-40B4-BE49-F238E27FC236}">
                          <a16:creationId xmlns:a16="http://schemas.microsoft.com/office/drawing/2014/main" xmlns="" id="{7763720B-7338-4620-AEFC-CAE9511A4EFB}"/>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247" name="Group 246">
                    <a:extLst>
                      <a:ext uri="{FF2B5EF4-FFF2-40B4-BE49-F238E27FC236}">
                        <a16:creationId xmlns:a16="http://schemas.microsoft.com/office/drawing/2014/main" xmlns="" id="{90456A0B-D79F-4FE0-80ED-D8B698A80DB7}"/>
                      </a:ext>
                    </a:extLst>
                  </p:cNvPr>
                  <p:cNvGrpSpPr/>
                  <p:nvPr/>
                </p:nvGrpSpPr>
                <p:grpSpPr>
                  <a:xfrm rot="10976378">
                    <a:off x="9513381" y="3251889"/>
                    <a:ext cx="336734" cy="388040"/>
                    <a:chOff x="6989202" y="1415383"/>
                    <a:chExt cx="336734" cy="392702"/>
                  </a:xfrm>
                </p:grpSpPr>
                <p:sp>
                  <p:nvSpPr>
                    <p:cNvPr id="254" name="Diamond 253">
                      <a:extLst>
                        <a:ext uri="{FF2B5EF4-FFF2-40B4-BE49-F238E27FC236}">
                          <a16:creationId xmlns:a16="http://schemas.microsoft.com/office/drawing/2014/main" xmlns="" id="{655E48E0-B9ED-47D1-81BC-44DF8249C281}"/>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55" name="Straight Connector 254">
                      <a:extLst>
                        <a:ext uri="{FF2B5EF4-FFF2-40B4-BE49-F238E27FC236}">
                          <a16:creationId xmlns:a16="http://schemas.microsoft.com/office/drawing/2014/main" xmlns="" id="{895F2212-C16D-441E-90BE-331D380610B2}"/>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248" name="Group 247">
                    <a:extLst>
                      <a:ext uri="{FF2B5EF4-FFF2-40B4-BE49-F238E27FC236}">
                        <a16:creationId xmlns:a16="http://schemas.microsoft.com/office/drawing/2014/main" xmlns="" id="{9A334819-9786-44A7-BA22-0FFAE4D29ADF}"/>
                      </a:ext>
                    </a:extLst>
                  </p:cNvPr>
                  <p:cNvGrpSpPr/>
                  <p:nvPr/>
                </p:nvGrpSpPr>
                <p:grpSpPr>
                  <a:xfrm rot="15707571">
                    <a:off x="8126609" y="3246200"/>
                    <a:ext cx="332736" cy="392702"/>
                    <a:chOff x="6989202" y="1415383"/>
                    <a:chExt cx="336734" cy="392702"/>
                  </a:xfrm>
                </p:grpSpPr>
                <p:sp>
                  <p:nvSpPr>
                    <p:cNvPr id="252" name="Diamond 251">
                      <a:extLst>
                        <a:ext uri="{FF2B5EF4-FFF2-40B4-BE49-F238E27FC236}">
                          <a16:creationId xmlns:a16="http://schemas.microsoft.com/office/drawing/2014/main" xmlns="" id="{F8009102-B62C-493F-899D-5C79E6909C2B}"/>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53" name="Straight Connector 252">
                      <a:extLst>
                        <a:ext uri="{FF2B5EF4-FFF2-40B4-BE49-F238E27FC236}">
                          <a16:creationId xmlns:a16="http://schemas.microsoft.com/office/drawing/2014/main" xmlns="" id="{E6E42DBB-0B33-40AC-AA17-AC4ACE30FC7B}"/>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249" name="Group 248">
                    <a:extLst>
                      <a:ext uri="{FF2B5EF4-FFF2-40B4-BE49-F238E27FC236}">
                        <a16:creationId xmlns:a16="http://schemas.microsoft.com/office/drawing/2014/main" xmlns="" id="{DD41B6D2-AB75-445A-BCE8-87C9FFE749DC}"/>
                      </a:ext>
                    </a:extLst>
                  </p:cNvPr>
                  <p:cNvGrpSpPr/>
                  <p:nvPr/>
                </p:nvGrpSpPr>
                <p:grpSpPr>
                  <a:xfrm rot="4788091">
                    <a:off x="9538628" y="915960"/>
                    <a:ext cx="332736" cy="392702"/>
                    <a:chOff x="6989202" y="1415383"/>
                    <a:chExt cx="336734" cy="392702"/>
                  </a:xfrm>
                </p:grpSpPr>
                <p:sp>
                  <p:nvSpPr>
                    <p:cNvPr id="250" name="Diamond 249">
                      <a:extLst>
                        <a:ext uri="{FF2B5EF4-FFF2-40B4-BE49-F238E27FC236}">
                          <a16:creationId xmlns:a16="http://schemas.microsoft.com/office/drawing/2014/main" xmlns="" id="{A4673A18-6142-4F07-90B4-28D9FB26DA79}"/>
                        </a:ext>
                      </a:extLst>
                    </p:cNvPr>
                    <p:cNvSpPr/>
                    <p:nvPr/>
                  </p:nvSpPr>
                  <p:spPr>
                    <a:xfrm rot="3032390">
                      <a:off x="6996410" y="1408175"/>
                      <a:ext cx="181527" cy="195943"/>
                    </a:xfrm>
                    <a:prstGeom prst="diamond">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51" name="Straight Connector 250">
                      <a:extLst>
                        <a:ext uri="{FF2B5EF4-FFF2-40B4-BE49-F238E27FC236}">
                          <a16:creationId xmlns:a16="http://schemas.microsoft.com/office/drawing/2014/main" xmlns="" id="{2DE868D1-DB5D-4CAD-A527-A02434D66724}"/>
                        </a:ext>
                      </a:extLst>
                    </p:cNvPr>
                    <p:cNvCxnSpPr>
                      <a:cxnSpLocks/>
                    </p:cNvCxnSpPr>
                    <p:nvPr/>
                  </p:nvCxnSpPr>
                  <p:spPr>
                    <a:xfrm flipH="1" flipV="1">
                      <a:off x="7109928" y="1529253"/>
                      <a:ext cx="216008" cy="278832"/>
                    </a:xfrm>
                    <a:prstGeom prst="line">
                      <a:avLst/>
                    </a:prstGeom>
                    <a:ln w="19050"/>
                  </p:spPr>
                  <p:style>
                    <a:lnRef idx="1">
                      <a:schemeClr val="accent1"/>
                    </a:lnRef>
                    <a:fillRef idx="0">
                      <a:schemeClr val="accent1"/>
                    </a:fillRef>
                    <a:effectRef idx="0">
                      <a:schemeClr val="accent1"/>
                    </a:effectRef>
                    <a:fontRef idx="minor">
                      <a:schemeClr val="tx1"/>
                    </a:fontRef>
                  </p:style>
                </p:cxnSp>
              </p:grpSp>
            </p:grpSp>
          </p:grpSp>
          <p:sp>
            <p:nvSpPr>
              <p:cNvPr id="283" name="Freeform: Shape 282">
                <a:extLst>
                  <a:ext uri="{FF2B5EF4-FFF2-40B4-BE49-F238E27FC236}">
                    <a16:creationId xmlns:a16="http://schemas.microsoft.com/office/drawing/2014/main" xmlns="" id="{6A82413A-CC75-4CAB-8C86-4BD2B9DC4E83}"/>
                  </a:ext>
                </a:extLst>
              </p:cNvPr>
              <p:cNvSpPr/>
              <p:nvPr/>
            </p:nvSpPr>
            <p:spPr>
              <a:xfrm>
                <a:off x="3669391" y="4791251"/>
                <a:ext cx="215558" cy="252467"/>
              </a:xfrm>
              <a:custGeom>
                <a:avLst/>
                <a:gdLst>
                  <a:gd name="connsiteX0" fmla="*/ 205273 w 681135"/>
                  <a:gd name="connsiteY0" fmla="*/ 0 h 802432"/>
                  <a:gd name="connsiteX1" fmla="*/ 205273 w 681135"/>
                  <a:gd name="connsiteY1" fmla="*/ 0 h 802432"/>
                  <a:gd name="connsiteX2" fmla="*/ 130629 w 681135"/>
                  <a:gd name="connsiteY2" fmla="*/ 27991 h 802432"/>
                  <a:gd name="connsiteX3" fmla="*/ 111967 w 681135"/>
                  <a:gd name="connsiteY3" fmla="*/ 55983 h 802432"/>
                  <a:gd name="connsiteX4" fmla="*/ 37322 w 681135"/>
                  <a:gd name="connsiteY4" fmla="*/ 121298 h 802432"/>
                  <a:gd name="connsiteX5" fmla="*/ 0 w 681135"/>
                  <a:gd name="connsiteY5" fmla="*/ 186612 h 802432"/>
                  <a:gd name="connsiteX6" fmla="*/ 18661 w 681135"/>
                  <a:gd name="connsiteY6" fmla="*/ 214604 h 802432"/>
                  <a:gd name="connsiteX7" fmla="*/ 46653 w 681135"/>
                  <a:gd name="connsiteY7" fmla="*/ 223934 h 802432"/>
                  <a:gd name="connsiteX8" fmla="*/ 55984 w 681135"/>
                  <a:gd name="connsiteY8" fmla="*/ 251926 h 802432"/>
                  <a:gd name="connsiteX9" fmla="*/ 111967 w 681135"/>
                  <a:gd name="connsiteY9" fmla="*/ 279918 h 802432"/>
                  <a:gd name="connsiteX10" fmla="*/ 121298 w 681135"/>
                  <a:gd name="connsiteY10" fmla="*/ 363893 h 802432"/>
                  <a:gd name="connsiteX11" fmla="*/ 139959 w 681135"/>
                  <a:gd name="connsiteY11" fmla="*/ 382555 h 802432"/>
                  <a:gd name="connsiteX12" fmla="*/ 158620 w 681135"/>
                  <a:gd name="connsiteY12" fmla="*/ 410547 h 802432"/>
                  <a:gd name="connsiteX13" fmla="*/ 205273 w 681135"/>
                  <a:gd name="connsiteY13" fmla="*/ 447869 h 802432"/>
                  <a:gd name="connsiteX14" fmla="*/ 223935 w 681135"/>
                  <a:gd name="connsiteY14" fmla="*/ 466530 h 802432"/>
                  <a:gd name="connsiteX15" fmla="*/ 279918 w 681135"/>
                  <a:gd name="connsiteY15" fmla="*/ 503853 h 802432"/>
                  <a:gd name="connsiteX16" fmla="*/ 326571 w 681135"/>
                  <a:gd name="connsiteY16" fmla="*/ 541175 h 802432"/>
                  <a:gd name="connsiteX17" fmla="*/ 363894 w 681135"/>
                  <a:gd name="connsiteY17" fmla="*/ 578498 h 802432"/>
                  <a:gd name="connsiteX18" fmla="*/ 391886 w 681135"/>
                  <a:gd name="connsiteY18" fmla="*/ 606489 h 802432"/>
                  <a:gd name="connsiteX19" fmla="*/ 419878 w 681135"/>
                  <a:gd name="connsiteY19" fmla="*/ 662473 h 802432"/>
                  <a:gd name="connsiteX20" fmla="*/ 466531 w 681135"/>
                  <a:gd name="connsiteY20" fmla="*/ 709126 h 802432"/>
                  <a:gd name="connsiteX21" fmla="*/ 494522 w 681135"/>
                  <a:gd name="connsiteY21" fmla="*/ 737118 h 802432"/>
                  <a:gd name="connsiteX22" fmla="*/ 550506 w 681135"/>
                  <a:gd name="connsiteY22" fmla="*/ 802432 h 802432"/>
                  <a:gd name="connsiteX23" fmla="*/ 550506 w 681135"/>
                  <a:gd name="connsiteY23" fmla="*/ 802432 h 802432"/>
                  <a:gd name="connsiteX24" fmla="*/ 615820 w 681135"/>
                  <a:gd name="connsiteY24" fmla="*/ 746449 h 802432"/>
                  <a:gd name="connsiteX25" fmla="*/ 653143 w 681135"/>
                  <a:gd name="connsiteY25" fmla="*/ 737118 h 802432"/>
                  <a:gd name="connsiteX26" fmla="*/ 671804 w 681135"/>
                  <a:gd name="connsiteY26" fmla="*/ 709126 h 802432"/>
                  <a:gd name="connsiteX27" fmla="*/ 681135 w 681135"/>
                  <a:gd name="connsiteY27" fmla="*/ 699795 h 802432"/>
                  <a:gd name="connsiteX28" fmla="*/ 681135 w 681135"/>
                  <a:gd name="connsiteY28" fmla="*/ 699795 h 802432"/>
                  <a:gd name="connsiteX29" fmla="*/ 634482 w 681135"/>
                  <a:gd name="connsiteY29" fmla="*/ 634481 h 802432"/>
                  <a:gd name="connsiteX30" fmla="*/ 606490 w 681135"/>
                  <a:gd name="connsiteY30" fmla="*/ 615820 h 802432"/>
                  <a:gd name="connsiteX31" fmla="*/ 597159 w 681135"/>
                  <a:gd name="connsiteY31" fmla="*/ 587828 h 802432"/>
                  <a:gd name="connsiteX32" fmla="*/ 569167 w 681135"/>
                  <a:gd name="connsiteY32" fmla="*/ 559836 h 802432"/>
                  <a:gd name="connsiteX33" fmla="*/ 541176 w 681135"/>
                  <a:gd name="connsiteY33" fmla="*/ 503853 h 802432"/>
                  <a:gd name="connsiteX34" fmla="*/ 531845 w 681135"/>
                  <a:gd name="connsiteY34" fmla="*/ 475861 h 802432"/>
                  <a:gd name="connsiteX35" fmla="*/ 513184 w 681135"/>
                  <a:gd name="connsiteY35" fmla="*/ 447869 h 802432"/>
                  <a:gd name="connsiteX36" fmla="*/ 494522 w 681135"/>
                  <a:gd name="connsiteY36" fmla="*/ 391885 h 802432"/>
                  <a:gd name="connsiteX37" fmla="*/ 485192 w 681135"/>
                  <a:gd name="connsiteY37" fmla="*/ 354563 h 802432"/>
                  <a:gd name="connsiteX38" fmla="*/ 466531 w 681135"/>
                  <a:gd name="connsiteY38" fmla="*/ 326571 h 802432"/>
                  <a:gd name="connsiteX39" fmla="*/ 447869 w 681135"/>
                  <a:gd name="connsiteY39" fmla="*/ 270587 h 802432"/>
                  <a:gd name="connsiteX40" fmla="*/ 410547 w 681135"/>
                  <a:gd name="connsiteY40" fmla="*/ 214604 h 802432"/>
                  <a:gd name="connsiteX41" fmla="*/ 391886 w 681135"/>
                  <a:gd name="connsiteY41" fmla="*/ 195942 h 802432"/>
                  <a:gd name="connsiteX42" fmla="*/ 354563 w 681135"/>
                  <a:gd name="connsiteY42" fmla="*/ 149289 h 802432"/>
                  <a:gd name="connsiteX43" fmla="*/ 326571 w 681135"/>
                  <a:gd name="connsiteY43" fmla="*/ 102636 h 802432"/>
                  <a:gd name="connsiteX44" fmla="*/ 317241 w 681135"/>
                  <a:gd name="connsiteY44" fmla="*/ 74644 h 802432"/>
                  <a:gd name="connsiteX45" fmla="*/ 261257 w 681135"/>
                  <a:gd name="connsiteY45" fmla="*/ 37322 h 802432"/>
                  <a:gd name="connsiteX46" fmla="*/ 158620 w 681135"/>
                  <a:gd name="connsiteY46" fmla="*/ 46653 h 802432"/>
                  <a:gd name="connsiteX47" fmla="*/ 130629 w 681135"/>
                  <a:gd name="connsiteY47" fmla="*/ 55983 h 802432"/>
                  <a:gd name="connsiteX48" fmla="*/ 307910 w 681135"/>
                  <a:gd name="connsiteY48" fmla="*/ 233265 h 802432"/>
                  <a:gd name="connsiteX49" fmla="*/ 149290 w 681135"/>
                  <a:gd name="connsiteY49" fmla="*/ 65314 h 802432"/>
                  <a:gd name="connsiteX50" fmla="*/ 223935 w 681135"/>
                  <a:gd name="connsiteY50" fmla="*/ 298579 h 802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81135" h="802432">
                    <a:moveTo>
                      <a:pt x="205273" y="0"/>
                    </a:moveTo>
                    <a:lnTo>
                      <a:pt x="205273" y="0"/>
                    </a:lnTo>
                    <a:cubicBezTo>
                      <a:pt x="180392" y="9330"/>
                      <a:pt x="153415" y="14319"/>
                      <a:pt x="130629" y="27991"/>
                    </a:cubicBezTo>
                    <a:cubicBezTo>
                      <a:pt x="121013" y="33761"/>
                      <a:pt x="119897" y="48053"/>
                      <a:pt x="111967" y="55983"/>
                    </a:cubicBezTo>
                    <a:cubicBezTo>
                      <a:pt x="78078" y="89872"/>
                      <a:pt x="67583" y="60776"/>
                      <a:pt x="37322" y="121298"/>
                    </a:cubicBezTo>
                    <a:cubicBezTo>
                      <a:pt x="13646" y="168650"/>
                      <a:pt x="26376" y="147047"/>
                      <a:pt x="0" y="186612"/>
                    </a:cubicBezTo>
                    <a:cubicBezTo>
                      <a:pt x="6220" y="195943"/>
                      <a:pt x="9904" y="207599"/>
                      <a:pt x="18661" y="214604"/>
                    </a:cubicBezTo>
                    <a:cubicBezTo>
                      <a:pt x="26341" y="220748"/>
                      <a:pt x="39698" y="216979"/>
                      <a:pt x="46653" y="223934"/>
                    </a:cubicBezTo>
                    <a:cubicBezTo>
                      <a:pt x="53608" y="230889"/>
                      <a:pt x="49840" y="244246"/>
                      <a:pt x="55984" y="251926"/>
                    </a:cubicBezTo>
                    <a:cubicBezTo>
                      <a:pt x="69138" y="268368"/>
                      <a:pt x="93528" y="273771"/>
                      <a:pt x="111967" y="279918"/>
                    </a:cubicBezTo>
                    <a:cubicBezTo>
                      <a:pt x="115077" y="307910"/>
                      <a:pt x="113888" y="336721"/>
                      <a:pt x="121298" y="363893"/>
                    </a:cubicBezTo>
                    <a:cubicBezTo>
                      <a:pt x="123613" y="372380"/>
                      <a:pt x="134464" y="375686"/>
                      <a:pt x="139959" y="382555"/>
                    </a:cubicBezTo>
                    <a:cubicBezTo>
                      <a:pt x="146964" y="391312"/>
                      <a:pt x="151615" y="401790"/>
                      <a:pt x="158620" y="410547"/>
                    </a:cubicBezTo>
                    <a:cubicBezTo>
                      <a:pt x="178643" y="435575"/>
                      <a:pt x="178336" y="426319"/>
                      <a:pt x="205273" y="447869"/>
                    </a:cubicBezTo>
                    <a:cubicBezTo>
                      <a:pt x="212142" y="453364"/>
                      <a:pt x="216897" y="461252"/>
                      <a:pt x="223935" y="466530"/>
                    </a:cubicBezTo>
                    <a:cubicBezTo>
                      <a:pt x="241877" y="479987"/>
                      <a:pt x="264059" y="487994"/>
                      <a:pt x="279918" y="503853"/>
                    </a:cubicBezTo>
                    <a:cubicBezTo>
                      <a:pt x="343460" y="567391"/>
                      <a:pt x="244160" y="470536"/>
                      <a:pt x="326571" y="541175"/>
                    </a:cubicBezTo>
                    <a:cubicBezTo>
                      <a:pt x="339929" y="552625"/>
                      <a:pt x="351453" y="566057"/>
                      <a:pt x="363894" y="578498"/>
                    </a:cubicBezTo>
                    <a:lnTo>
                      <a:pt x="391886" y="606489"/>
                    </a:lnTo>
                    <a:cubicBezTo>
                      <a:pt x="400695" y="632919"/>
                      <a:pt x="400397" y="640209"/>
                      <a:pt x="419878" y="662473"/>
                    </a:cubicBezTo>
                    <a:cubicBezTo>
                      <a:pt x="434360" y="679024"/>
                      <a:pt x="450980" y="693575"/>
                      <a:pt x="466531" y="709126"/>
                    </a:cubicBezTo>
                    <a:cubicBezTo>
                      <a:pt x="475861" y="718457"/>
                      <a:pt x="487203" y="726139"/>
                      <a:pt x="494522" y="737118"/>
                    </a:cubicBezTo>
                    <a:cubicBezTo>
                      <a:pt x="535703" y="798888"/>
                      <a:pt x="511784" y="783072"/>
                      <a:pt x="550506" y="802432"/>
                    </a:cubicBezTo>
                    <a:lnTo>
                      <a:pt x="550506" y="802432"/>
                    </a:lnTo>
                    <a:cubicBezTo>
                      <a:pt x="572277" y="783771"/>
                      <a:pt x="591628" y="761844"/>
                      <a:pt x="615820" y="746449"/>
                    </a:cubicBezTo>
                    <a:cubicBezTo>
                      <a:pt x="626639" y="739564"/>
                      <a:pt x="642473" y="744231"/>
                      <a:pt x="653143" y="737118"/>
                    </a:cubicBezTo>
                    <a:cubicBezTo>
                      <a:pt x="662474" y="730898"/>
                      <a:pt x="665076" y="718097"/>
                      <a:pt x="671804" y="709126"/>
                    </a:cubicBezTo>
                    <a:cubicBezTo>
                      <a:pt x="674443" y="705607"/>
                      <a:pt x="678025" y="702905"/>
                      <a:pt x="681135" y="699795"/>
                    </a:cubicBezTo>
                    <a:lnTo>
                      <a:pt x="681135" y="699795"/>
                    </a:lnTo>
                    <a:cubicBezTo>
                      <a:pt x="665584" y="678024"/>
                      <a:pt x="652257" y="654478"/>
                      <a:pt x="634482" y="634481"/>
                    </a:cubicBezTo>
                    <a:cubicBezTo>
                      <a:pt x="627032" y="626100"/>
                      <a:pt x="613495" y="624577"/>
                      <a:pt x="606490" y="615820"/>
                    </a:cubicBezTo>
                    <a:cubicBezTo>
                      <a:pt x="600346" y="608140"/>
                      <a:pt x="602615" y="596012"/>
                      <a:pt x="597159" y="587828"/>
                    </a:cubicBezTo>
                    <a:cubicBezTo>
                      <a:pt x="589839" y="576849"/>
                      <a:pt x="578498" y="569167"/>
                      <a:pt x="569167" y="559836"/>
                    </a:cubicBezTo>
                    <a:cubicBezTo>
                      <a:pt x="545718" y="489484"/>
                      <a:pt x="577348" y="576195"/>
                      <a:pt x="541176" y="503853"/>
                    </a:cubicBezTo>
                    <a:cubicBezTo>
                      <a:pt x="536777" y="495056"/>
                      <a:pt x="536244" y="484658"/>
                      <a:pt x="531845" y="475861"/>
                    </a:cubicBezTo>
                    <a:cubicBezTo>
                      <a:pt x="526830" y="465831"/>
                      <a:pt x="517738" y="458116"/>
                      <a:pt x="513184" y="447869"/>
                    </a:cubicBezTo>
                    <a:cubicBezTo>
                      <a:pt x="505195" y="429894"/>
                      <a:pt x="499293" y="410969"/>
                      <a:pt x="494522" y="391885"/>
                    </a:cubicBezTo>
                    <a:cubicBezTo>
                      <a:pt x="491412" y="379444"/>
                      <a:pt x="490243" y="366350"/>
                      <a:pt x="485192" y="354563"/>
                    </a:cubicBezTo>
                    <a:cubicBezTo>
                      <a:pt x="480775" y="344256"/>
                      <a:pt x="471085" y="336818"/>
                      <a:pt x="466531" y="326571"/>
                    </a:cubicBezTo>
                    <a:cubicBezTo>
                      <a:pt x="458542" y="308596"/>
                      <a:pt x="458780" y="286954"/>
                      <a:pt x="447869" y="270587"/>
                    </a:cubicBezTo>
                    <a:cubicBezTo>
                      <a:pt x="435428" y="251926"/>
                      <a:pt x="426405" y="230463"/>
                      <a:pt x="410547" y="214604"/>
                    </a:cubicBezTo>
                    <a:cubicBezTo>
                      <a:pt x="404327" y="208383"/>
                      <a:pt x="397381" y="202811"/>
                      <a:pt x="391886" y="195942"/>
                    </a:cubicBezTo>
                    <a:cubicBezTo>
                      <a:pt x="344809" y="137095"/>
                      <a:pt x="399619" y="194345"/>
                      <a:pt x="354563" y="149289"/>
                    </a:cubicBezTo>
                    <a:cubicBezTo>
                      <a:pt x="328133" y="69995"/>
                      <a:pt x="364995" y="166677"/>
                      <a:pt x="326571" y="102636"/>
                    </a:cubicBezTo>
                    <a:cubicBezTo>
                      <a:pt x="321511" y="94202"/>
                      <a:pt x="322697" y="82827"/>
                      <a:pt x="317241" y="74644"/>
                    </a:cubicBezTo>
                    <a:cubicBezTo>
                      <a:pt x="297273" y="44691"/>
                      <a:pt x="290603" y="47104"/>
                      <a:pt x="261257" y="37322"/>
                    </a:cubicBezTo>
                    <a:cubicBezTo>
                      <a:pt x="227045" y="40432"/>
                      <a:pt x="192628" y="41795"/>
                      <a:pt x="158620" y="46653"/>
                    </a:cubicBezTo>
                    <a:cubicBezTo>
                      <a:pt x="148884" y="48044"/>
                      <a:pt x="130629" y="55983"/>
                      <a:pt x="130629" y="55983"/>
                    </a:cubicBezTo>
                    <a:lnTo>
                      <a:pt x="307910" y="233265"/>
                    </a:lnTo>
                    <a:lnTo>
                      <a:pt x="149290" y="65314"/>
                    </a:lnTo>
                    <a:lnTo>
                      <a:pt x="223935" y="298579"/>
                    </a:lnTo>
                  </a:path>
                </a:pathLst>
              </a:custGeom>
              <a:solidFill>
                <a:srgbClr val="AB0D67"/>
              </a:solidFill>
              <a:ln>
                <a:solidFill>
                  <a:srgbClr val="AB0D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solidFill>
                      <a:srgbClr val="AB0D67"/>
                    </a:solidFill>
                  </a:ln>
                  <a:solidFill>
                    <a:prstClr val="white"/>
                  </a:solidFill>
                  <a:effectLst/>
                  <a:uLnTx/>
                  <a:uFillTx/>
                  <a:latin typeface="Calibri" panose="020F0502020204030204"/>
                  <a:ea typeface="+mn-ea"/>
                  <a:cs typeface="+mn-cs"/>
                </a:endParaRPr>
              </a:p>
            </p:txBody>
          </p:sp>
          <p:sp>
            <p:nvSpPr>
              <p:cNvPr id="284" name="Freeform: Shape 283">
                <a:extLst>
                  <a:ext uri="{FF2B5EF4-FFF2-40B4-BE49-F238E27FC236}">
                    <a16:creationId xmlns:a16="http://schemas.microsoft.com/office/drawing/2014/main" xmlns="" id="{9AA05F29-F631-4BE7-BEC5-A10B938C7D25}"/>
                  </a:ext>
                </a:extLst>
              </p:cNvPr>
              <p:cNvSpPr/>
              <p:nvPr/>
            </p:nvSpPr>
            <p:spPr>
              <a:xfrm rot="1989982">
                <a:off x="4347258" y="4543753"/>
                <a:ext cx="215558" cy="252467"/>
              </a:xfrm>
              <a:custGeom>
                <a:avLst/>
                <a:gdLst>
                  <a:gd name="connsiteX0" fmla="*/ 205273 w 681135"/>
                  <a:gd name="connsiteY0" fmla="*/ 0 h 802432"/>
                  <a:gd name="connsiteX1" fmla="*/ 205273 w 681135"/>
                  <a:gd name="connsiteY1" fmla="*/ 0 h 802432"/>
                  <a:gd name="connsiteX2" fmla="*/ 130629 w 681135"/>
                  <a:gd name="connsiteY2" fmla="*/ 27991 h 802432"/>
                  <a:gd name="connsiteX3" fmla="*/ 111967 w 681135"/>
                  <a:gd name="connsiteY3" fmla="*/ 55983 h 802432"/>
                  <a:gd name="connsiteX4" fmla="*/ 37322 w 681135"/>
                  <a:gd name="connsiteY4" fmla="*/ 121298 h 802432"/>
                  <a:gd name="connsiteX5" fmla="*/ 0 w 681135"/>
                  <a:gd name="connsiteY5" fmla="*/ 186612 h 802432"/>
                  <a:gd name="connsiteX6" fmla="*/ 18661 w 681135"/>
                  <a:gd name="connsiteY6" fmla="*/ 214604 h 802432"/>
                  <a:gd name="connsiteX7" fmla="*/ 46653 w 681135"/>
                  <a:gd name="connsiteY7" fmla="*/ 223934 h 802432"/>
                  <a:gd name="connsiteX8" fmla="*/ 55984 w 681135"/>
                  <a:gd name="connsiteY8" fmla="*/ 251926 h 802432"/>
                  <a:gd name="connsiteX9" fmla="*/ 111967 w 681135"/>
                  <a:gd name="connsiteY9" fmla="*/ 279918 h 802432"/>
                  <a:gd name="connsiteX10" fmla="*/ 121298 w 681135"/>
                  <a:gd name="connsiteY10" fmla="*/ 363893 h 802432"/>
                  <a:gd name="connsiteX11" fmla="*/ 139959 w 681135"/>
                  <a:gd name="connsiteY11" fmla="*/ 382555 h 802432"/>
                  <a:gd name="connsiteX12" fmla="*/ 158620 w 681135"/>
                  <a:gd name="connsiteY12" fmla="*/ 410547 h 802432"/>
                  <a:gd name="connsiteX13" fmla="*/ 205273 w 681135"/>
                  <a:gd name="connsiteY13" fmla="*/ 447869 h 802432"/>
                  <a:gd name="connsiteX14" fmla="*/ 223935 w 681135"/>
                  <a:gd name="connsiteY14" fmla="*/ 466530 h 802432"/>
                  <a:gd name="connsiteX15" fmla="*/ 279918 w 681135"/>
                  <a:gd name="connsiteY15" fmla="*/ 503853 h 802432"/>
                  <a:gd name="connsiteX16" fmla="*/ 326571 w 681135"/>
                  <a:gd name="connsiteY16" fmla="*/ 541175 h 802432"/>
                  <a:gd name="connsiteX17" fmla="*/ 363894 w 681135"/>
                  <a:gd name="connsiteY17" fmla="*/ 578498 h 802432"/>
                  <a:gd name="connsiteX18" fmla="*/ 391886 w 681135"/>
                  <a:gd name="connsiteY18" fmla="*/ 606489 h 802432"/>
                  <a:gd name="connsiteX19" fmla="*/ 419878 w 681135"/>
                  <a:gd name="connsiteY19" fmla="*/ 662473 h 802432"/>
                  <a:gd name="connsiteX20" fmla="*/ 466531 w 681135"/>
                  <a:gd name="connsiteY20" fmla="*/ 709126 h 802432"/>
                  <a:gd name="connsiteX21" fmla="*/ 494522 w 681135"/>
                  <a:gd name="connsiteY21" fmla="*/ 737118 h 802432"/>
                  <a:gd name="connsiteX22" fmla="*/ 550506 w 681135"/>
                  <a:gd name="connsiteY22" fmla="*/ 802432 h 802432"/>
                  <a:gd name="connsiteX23" fmla="*/ 550506 w 681135"/>
                  <a:gd name="connsiteY23" fmla="*/ 802432 h 802432"/>
                  <a:gd name="connsiteX24" fmla="*/ 615820 w 681135"/>
                  <a:gd name="connsiteY24" fmla="*/ 746449 h 802432"/>
                  <a:gd name="connsiteX25" fmla="*/ 653143 w 681135"/>
                  <a:gd name="connsiteY25" fmla="*/ 737118 h 802432"/>
                  <a:gd name="connsiteX26" fmla="*/ 671804 w 681135"/>
                  <a:gd name="connsiteY26" fmla="*/ 709126 h 802432"/>
                  <a:gd name="connsiteX27" fmla="*/ 681135 w 681135"/>
                  <a:gd name="connsiteY27" fmla="*/ 699795 h 802432"/>
                  <a:gd name="connsiteX28" fmla="*/ 681135 w 681135"/>
                  <a:gd name="connsiteY28" fmla="*/ 699795 h 802432"/>
                  <a:gd name="connsiteX29" fmla="*/ 634482 w 681135"/>
                  <a:gd name="connsiteY29" fmla="*/ 634481 h 802432"/>
                  <a:gd name="connsiteX30" fmla="*/ 606490 w 681135"/>
                  <a:gd name="connsiteY30" fmla="*/ 615820 h 802432"/>
                  <a:gd name="connsiteX31" fmla="*/ 597159 w 681135"/>
                  <a:gd name="connsiteY31" fmla="*/ 587828 h 802432"/>
                  <a:gd name="connsiteX32" fmla="*/ 569167 w 681135"/>
                  <a:gd name="connsiteY32" fmla="*/ 559836 h 802432"/>
                  <a:gd name="connsiteX33" fmla="*/ 541176 w 681135"/>
                  <a:gd name="connsiteY33" fmla="*/ 503853 h 802432"/>
                  <a:gd name="connsiteX34" fmla="*/ 531845 w 681135"/>
                  <a:gd name="connsiteY34" fmla="*/ 475861 h 802432"/>
                  <a:gd name="connsiteX35" fmla="*/ 513184 w 681135"/>
                  <a:gd name="connsiteY35" fmla="*/ 447869 h 802432"/>
                  <a:gd name="connsiteX36" fmla="*/ 494522 w 681135"/>
                  <a:gd name="connsiteY36" fmla="*/ 391885 h 802432"/>
                  <a:gd name="connsiteX37" fmla="*/ 485192 w 681135"/>
                  <a:gd name="connsiteY37" fmla="*/ 354563 h 802432"/>
                  <a:gd name="connsiteX38" fmla="*/ 466531 w 681135"/>
                  <a:gd name="connsiteY38" fmla="*/ 326571 h 802432"/>
                  <a:gd name="connsiteX39" fmla="*/ 447869 w 681135"/>
                  <a:gd name="connsiteY39" fmla="*/ 270587 h 802432"/>
                  <a:gd name="connsiteX40" fmla="*/ 410547 w 681135"/>
                  <a:gd name="connsiteY40" fmla="*/ 214604 h 802432"/>
                  <a:gd name="connsiteX41" fmla="*/ 391886 w 681135"/>
                  <a:gd name="connsiteY41" fmla="*/ 195942 h 802432"/>
                  <a:gd name="connsiteX42" fmla="*/ 354563 w 681135"/>
                  <a:gd name="connsiteY42" fmla="*/ 149289 h 802432"/>
                  <a:gd name="connsiteX43" fmla="*/ 326571 w 681135"/>
                  <a:gd name="connsiteY43" fmla="*/ 102636 h 802432"/>
                  <a:gd name="connsiteX44" fmla="*/ 317241 w 681135"/>
                  <a:gd name="connsiteY44" fmla="*/ 74644 h 802432"/>
                  <a:gd name="connsiteX45" fmla="*/ 261257 w 681135"/>
                  <a:gd name="connsiteY45" fmla="*/ 37322 h 802432"/>
                  <a:gd name="connsiteX46" fmla="*/ 158620 w 681135"/>
                  <a:gd name="connsiteY46" fmla="*/ 46653 h 802432"/>
                  <a:gd name="connsiteX47" fmla="*/ 130629 w 681135"/>
                  <a:gd name="connsiteY47" fmla="*/ 55983 h 802432"/>
                  <a:gd name="connsiteX48" fmla="*/ 307910 w 681135"/>
                  <a:gd name="connsiteY48" fmla="*/ 233265 h 802432"/>
                  <a:gd name="connsiteX49" fmla="*/ 149290 w 681135"/>
                  <a:gd name="connsiteY49" fmla="*/ 65314 h 802432"/>
                  <a:gd name="connsiteX50" fmla="*/ 223935 w 681135"/>
                  <a:gd name="connsiteY50" fmla="*/ 298579 h 802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81135" h="802432">
                    <a:moveTo>
                      <a:pt x="205273" y="0"/>
                    </a:moveTo>
                    <a:lnTo>
                      <a:pt x="205273" y="0"/>
                    </a:lnTo>
                    <a:cubicBezTo>
                      <a:pt x="180392" y="9330"/>
                      <a:pt x="153415" y="14319"/>
                      <a:pt x="130629" y="27991"/>
                    </a:cubicBezTo>
                    <a:cubicBezTo>
                      <a:pt x="121013" y="33761"/>
                      <a:pt x="119897" y="48053"/>
                      <a:pt x="111967" y="55983"/>
                    </a:cubicBezTo>
                    <a:cubicBezTo>
                      <a:pt x="78078" y="89872"/>
                      <a:pt x="67583" y="60776"/>
                      <a:pt x="37322" y="121298"/>
                    </a:cubicBezTo>
                    <a:cubicBezTo>
                      <a:pt x="13646" y="168650"/>
                      <a:pt x="26376" y="147047"/>
                      <a:pt x="0" y="186612"/>
                    </a:cubicBezTo>
                    <a:cubicBezTo>
                      <a:pt x="6220" y="195943"/>
                      <a:pt x="9904" y="207599"/>
                      <a:pt x="18661" y="214604"/>
                    </a:cubicBezTo>
                    <a:cubicBezTo>
                      <a:pt x="26341" y="220748"/>
                      <a:pt x="39698" y="216979"/>
                      <a:pt x="46653" y="223934"/>
                    </a:cubicBezTo>
                    <a:cubicBezTo>
                      <a:pt x="53608" y="230889"/>
                      <a:pt x="49840" y="244246"/>
                      <a:pt x="55984" y="251926"/>
                    </a:cubicBezTo>
                    <a:cubicBezTo>
                      <a:pt x="69138" y="268368"/>
                      <a:pt x="93528" y="273771"/>
                      <a:pt x="111967" y="279918"/>
                    </a:cubicBezTo>
                    <a:cubicBezTo>
                      <a:pt x="115077" y="307910"/>
                      <a:pt x="113888" y="336721"/>
                      <a:pt x="121298" y="363893"/>
                    </a:cubicBezTo>
                    <a:cubicBezTo>
                      <a:pt x="123613" y="372380"/>
                      <a:pt x="134464" y="375686"/>
                      <a:pt x="139959" y="382555"/>
                    </a:cubicBezTo>
                    <a:cubicBezTo>
                      <a:pt x="146964" y="391312"/>
                      <a:pt x="151615" y="401790"/>
                      <a:pt x="158620" y="410547"/>
                    </a:cubicBezTo>
                    <a:cubicBezTo>
                      <a:pt x="178643" y="435575"/>
                      <a:pt x="178336" y="426319"/>
                      <a:pt x="205273" y="447869"/>
                    </a:cubicBezTo>
                    <a:cubicBezTo>
                      <a:pt x="212142" y="453364"/>
                      <a:pt x="216897" y="461252"/>
                      <a:pt x="223935" y="466530"/>
                    </a:cubicBezTo>
                    <a:cubicBezTo>
                      <a:pt x="241877" y="479987"/>
                      <a:pt x="264059" y="487994"/>
                      <a:pt x="279918" y="503853"/>
                    </a:cubicBezTo>
                    <a:cubicBezTo>
                      <a:pt x="343460" y="567391"/>
                      <a:pt x="244160" y="470536"/>
                      <a:pt x="326571" y="541175"/>
                    </a:cubicBezTo>
                    <a:cubicBezTo>
                      <a:pt x="339929" y="552625"/>
                      <a:pt x="351453" y="566057"/>
                      <a:pt x="363894" y="578498"/>
                    </a:cubicBezTo>
                    <a:lnTo>
                      <a:pt x="391886" y="606489"/>
                    </a:lnTo>
                    <a:cubicBezTo>
                      <a:pt x="400695" y="632919"/>
                      <a:pt x="400397" y="640209"/>
                      <a:pt x="419878" y="662473"/>
                    </a:cubicBezTo>
                    <a:cubicBezTo>
                      <a:pt x="434360" y="679024"/>
                      <a:pt x="450980" y="693575"/>
                      <a:pt x="466531" y="709126"/>
                    </a:cubicBezTo>
                    <a:cubicBezTo>
                      <a:pt x="475861" y="718457"/>
                      <a:pt x="487203" y="726139"/>
                      <a:pt x="494522" y="737118"/>
                    </a:cubicBezTo>
                    <a:cubicBezTo>
                      <a:pt x="535703" y="798888"/>
                      <a:pt x="511784" y="783072"/>
                      <a:pt x="550506" y="802432"/>
                    </a:cubicBezTo>
                    <a:lnTo>
                      <a:pt x="550506" y="802432"/>
                    </a:lnTo>
                    <a:cubicBezTo>
                      <a:pt x="572277" y="783771"/>
                      <a:pt x="591628" y="761844"/>
                      <a:pt x="615820" y="746449"/>
                    </a:cubicBezTo>
                    <a:cubicBezTo>
                      <a:pt x="626639" y="739564"/>
                      <a:pt x="642473" y="744231"/>
                      <a:pt x="653143" y="737118"/>
                    </a:cubicBezTo>
                    <a:cubicBezTo>
                      <a:pt x="662474" y="730898"/>
                      <a:pt x="665076" y="718097"/>
                      <a:pt x="671804" y="709126"/>
                    </a:cubicBezTo>
                    <a:cubicBezTo>
                      <a:pt x="674443" y="705607"/>
                      <a:pt x="678025" y="702905"/>
                      <a:pt x="681135" y="699795"/>
                    </a:cubicBezTo>
                    <a:lnTo>
                      <a:pt x="681135" y="699795"/>
                    </a:lnTo>
                    <a:cubicBezTo>
                      <a:pt x="665584" y="678024"/>
                      <a:pt x="652257" y="654478"/>
                      <a:pt x="634482" y="634481"/>
                    </a:cubicBezTo>
                    <a:cubicBezTo>
                      <a:pt x="627032" y="626100"/>
                      <a:pt x="613495" y="624577"/>
                      <a:pt x="606490" y="615820"/>
                    </a:cubicBezTo>
                    <a:cubicBezTo>
                      <a:pt x="600346" y="608140"/>
                      <a:pt x="602615" y="596012"/>
                      <a:pt x="597159" y="587828"/>
                    </a:cubicBezTo>
                    <a:cubicBezTo>
                      <a:pt x="589839" y="576849"/>
                      <a:pt x="578498" y="569167"/>
                      <a:pt x="569167" y="559836"/>
                    </a:cubicBezTo>
                    <a:cubicBezTo>
                      <a:pt x="545718" y="489484"/>
                      <a:pt x="577348" y="576195"/>
                      <a:pt x="541176" y="503853"/>
                    </a:cubicBezTo>
                    <a:cubicBezTo>
                      <a:pt x="536777" y="495056"/>
                      <a:pt x="536244" y="484658"/>
                      <a:pt x="531845" y="475861"/>
                    </a:cubicBezTo>
                    <a:cubicBezTo>
                      <a:pt x="526830" y="465831"/>
                      <a:pt x="517738" y="458116"/>
                      <a:pt x="513184" y="447869"/>
                    </a:cubicBezTo>
                    <a:cubicBezTo>
                      <a:pt x="505195" y="429894"/>
                      <a:pt x="499293" y="410969"/>
                      <a:pt x="494522" y="391885"/>
                    </a:cubicBezTo>
                    <a:cubicBezTo>
                      <a:pt x="491412" y="379444"/>
                      <a:pt x="490243" y="366350"/>
                      <a:pt x="485192" y="354563"/>
                    </a:cubicBezTo>
                    <a:cubicBezTo>
                      <a:pt x="480775" y="344256"/>
                      <a:pt x="471085" y="336818"/>
                      <a:pt x="466531" y="326571"/>
                    </a:cubicBezTo>
                    <a:cubicBezTo>
                      <a:pt x="458542" y="308596"/>
                      <a:pt x="458780" y="286954"/>
                      <a:pt x="447869" y="270587"/>
                    </a:cubicBezTo>
                    <a:cubicBezTo>
                      <a:pt x="435428" y="251926"/>
                      <a:pt x="426405" y="230463"/>
                      <a:pt x="410547" y="214604"/>
                    </a:cubicBezTo>
                    <a:cubicBezTo>
                      <a:pt x="404327" y="208383"/>
                      <a:pt x="397381" y="202811"/>
                      <a:pt x="391886" y="195942"/>
                    </a:cubicBezTo>
                    <a:cubicBezTo>
                      <a:pt x="344809" y="137095"/>
                      <a:pt x="399619" y="194345"/>
                      <a:pt x="354563" y="149289"/>
                    </a:cubicBezTo>
                    <a:cubicBezTo>
                      <a:pt x="328133" y="69995"/>
                      <a:pt x="364995" y="166677"/>
                      <a:pt x="326571" y="102636"/>
                    </a:cubicBezTo>
                    <a:cubicBezTo>
                      <a:pt x="321511" y="94202"/>
                      <a:pt x="322697" y="82827"/>
                      <a:pt x="317241" y="74644"/>
                    </a:cubicBezTo>
                    <a:cubicBezTo>
                      <a:pt x="297273" y="44691"/>
                      <a:pt x="290603" y="47104"/>
                      <a:pt x="261257" y="37322"/>
                    </a:cubicBezTo>
                    <a:cubicBezTo>
                      <a:pt x="227045" y="40432"/>
                      <a:pt x="192628" y="41795"/>
                      <a:pt x="158620" y="46653"/>
                    </a:cubicBezTo>
                    <a:cubicBezTo>
                      <a:pt x="148884" y="48044"/>
                      <a:pt x="130629" y="55983"/>
                      <a:pt x="130629" y="55983"/>
                    </a:cubicBezTo>
                    <a:lnTo>
                      <a:pt x="307910" y="233265"/>
                    </a:lnTo>
                    <a:lnTo>
                      <a:pt x="149290" y="65314"/>
                    </a:lnTo>
                    <a:lnTo>
                      <a:pt x="223935" y="298579"/>
                    </a:lnTo>
                  </a:path>
                </a:pathLst>
              </a:custGeom>
              <a:solidFill>
                <a:srgbClr val="AB0D67"/>
              </a:solidFill>
              <a:ln>
                <a:solidFill>
                  <a:srgbClr val="AB0D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solidFill>
                      <a:srgbClr val="AB0D67"/>
                    </a:solidFill>
                  </a:ln>
                  <a:solidFill>
                    <a:prstClr val="white"/>
                  </a:solidFill>
                  <a:effectLst/>
                  <a:uLnTx/>
                  <a:uFillTx/>
                  <a:latin typeface="Calibri" panose="020F0502020204030204"/>
                  <a:ea typeface="+mn-ea"/>
                  <a:cs typeface="+mn-cs"/>
                </a:endParaRPr>
              </a:p>
            </p:txBody>
          </p:sp>
          <p:sp>
            <p:nvSpPr>
              <p:cNvPr id="286" name="TextBox 285">
                <a:extLst>
                  <a:ext uri="{FF2B5EF4-FFF2-40B4-BE49-F238E27FC236}">
                    <a16:creationId xmlns:a16="http://schemas.microsoft.com/office/drawing/2014/main" xmlns="" id="{66C44646-6A0A-4919-AA7D-E85AC414E976}"/>
                  </a:ext>
                </a:extLst>
              </p:cNvPr>
              <p:cNvSpPr txBox="1"/>
              <p:nvPr/>
            </p:nvSpPr>
            <p:spPr>
              <a:xfrm rot="4777677">
                <a:off x="3398586" y="4427962"/>
                <a:ext cx="279695" cy="615553"/>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2400" b="1" i="0" u="none" strike="noStrike" kern="1200" cap="none" spc="0" normalizeH="0" baseline="0" noProof="0" dirty="0">
                    <a:ln>
                      <a:noFill/>
                    </a:ln>
                    <a:solidFill>
                      <a:srgbClr val="5B9BD5">
                        <a:lumMod val="40000"/>
                        <a:lumOff val="60000"/>
                      </a:srgbClr>
                    </a:solidFill>
                    <a:effectLst/>
                    <a:uLnTx/>
                    <a:uFillTx/>
                    <a:latin typeface="Sofia pro"/>
                    <a:ea typeface="+mn-ea"/>
                    <a:cs typeface="+mn-cs"/>
                  </a:rPr>
                  <a:t>Y</a:t>
                </a:r>
                <a:endParaRPr kumimoji="0" lang="en-ZA" sz="2400" b="1" i="0" u="none" strike="noStrike" kern="1200" cap="none" spc="0" normalizeH="0" baseline="0" noProof="0" dirty="0">
                  <a:ln>
                    <a:noFill/>
                  </a:ln>
                  <a:solidFill>
                    <a:srgbClr val="5B9BD5">
                      <a:lumMod val="40000"/>
                      <a:lumOff val="60000"/>
                    </a:srgbClr>
                  </a:solidFill>
                  <a:effectLst/>
                  <a:uLnTx/>
                  <a:uFillTx/>
                  <a:latin typeface="Calibri" panose="020F0502020204030204"/>
                  <a:ea typeface="+mn-ea"/>
                  <a:cs typeface="+mn-cs"/>
                </a:endParaRPr>
              </a:p>
            </p:txBody>
          </p:sp>
        </p:grpSp>
        <p:sp>
          <p:nvSpPr>
            <p:cNvPr id="287" name="TextBox 286">
              <a:extLst>
                <a:ext uri="{FF2B5EF4-FFF2-40B4-BE49-F238E27FC236}">
                  <a16:creationId xmlns:a16="http://schemas.microsoft.com/office/drawing/2014/main" xmlns="" id="{F3705E2C-EA6B-4C00-AF3D-ED2AD6BB8637}"/>
                </a:ext>
              </a:extLst>
            </p:cNvPr>
            <p:cNvSpPr txBox="1"/>
            <p:nvPr/>
          </p:nvSpPr>
          <p:spPr>
            <a:xfrm rot="6557520">
              <a:off x="4201131" y="4086502"/>
              <a:ext cx="279695" cy="615553"/>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2400" b="1" i="0" u="none" strike="noStrike" kern="1200" cap="none" spc="0" normalizeH="0" baseline="0" noProof="0" dirty="0">
                  <a:ln>
                    <a:noFill/>
                  </a:ln>
                  <a:solidFill>
                    <a:srgbClr val="5B9BD5">
                      <a:lumMod val="40000"/>
                      <a:lumOff val="60000"/>
                    </a:srgbClr>
                  </a:solidFill>
                  <a:effectLst/>
                  <a:uLnTx/>
                  <a:uFillTx/>
                  <a:latin typeface="Sofia pro"/>
                  <a:ea typeface="+mn-ea"/>
                  <a:cs typeface="+mn-cs"/>
                </a:rPr>
                <a:t>Y</a:t>
              </a:r>
              <a:endParaRPr kumimoji="0" lang="en-ZA" sz="2400" b="1" i="0" u="none" strike="noStrike" kern="1200" cap="none" spc="0" normalizeH="0" baseline="0" noProof="0" dirty="0">
                <a:ln>
                  <a:noFill/>
                </a:ln>
                <a:solidFill>
                  <a:srgbClr val="5B9BD5">
                    <a:lumMod val="40000"/>
                    <a:lumOff val="60000"/>
                  </a:srgbClr>
                </a:solidFill>
                <a:effectLst/>
                <a:uLnTx/>
                <a:uFillTx/>
                <a:latin typeface="Calibri" panose="020F0502020204030204"/>
                <a:ea typeface="+mn-ea"/>
                <a:cs typeface="+mn-cs"/>
              </a:endParaRPr>
            </a:p>
          </p:txBody>
        </p:sp>
        <p:cxnSp>
          <p:nvCxnSpPr>
            <p:cNvPr id="292" name="Straight Arrow Connector 291">
              <a:extLst>
                <a:ext uri="{FF2B5EF4-FFF2-40B4-BE49-F238E27FC236}">
                  <a16:creationId xmlns:a16="http://schemas.microsoft.com/office/drawing/2014/main" xmlns="" id="{1E6B1FE2-0114-4CE1-AC85-2A252C7ADE54}"/>
                </a:ext>
              </a:extLst>
            </p:cNvPr>
            <p:cNvCxnSpPr>
              <a:cxnSpLocks/>
            </p:cNvCxnSpPr>
            <p:nvPr/>
          </p:nvCxnSpPr>
          <p:spPr>
            <a:xfrm flipH="1">
              <a:off x="5263186" y="5238624"/>
              <a:ext cx="533760" cy="162261"/>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grpSp>
      <p:pic>
        <p:nvPicPr>
          <p:cNvPr id="296" name="Graphic 295" descr="Needle outline">
            <a:extLst>
              <a:ext uri="{FF2B5EF4-FFF2-40B4-BE49-F238E27FC236}">
                <a16:creationId xmlns:a16="http://schemas.microsoft.com/office/drawing/2014/main" xmlns="" id="{9B4F7567-1BE0-4608-988D-0DD6386D8BA4}"/>
              </a:ext>
            </a:extLst>
          </p:cNvPr>
          <p:cNvPicPr>
            <a:picLocks noChangeAspect="1"/>
          </p:cNvPicPr>
          <p:nvPr/>
        </p:nvPicPr>
        <p:blipFill>
          <a:blip r:embed="rId5" cstate="print">
            <a:extLst>
              <a:ext uri="{28A0092B-C50C-407E-A947-70E740481C1C}">
                <a14:useLocalDpi xmlns:a14="http://schemas.microsoft.com/office/drawing/2010/main" xmlns="" val="0"/>
              </a:ext>
              <a:ext uri="{96DAC541-7B7A-43D3-8B79-37D633B846F1}">
                <asvg:svgBlip xmlns:asvg="http://schemas.microsoft.com/office/drawing/2016/SVG/main" xmlns="" r:embed="rId6"/>
              </a:ext>
            </a:extLst>
          </a:blip>
          <a:stretch>
            <a:fillRect/>
          </a:stretch>
        </p:blipFill>
        <p:spPr>
          <a:xfrm>
            <a:off x="6304122" y="3857893"/>
            <a:ext cx="1124956" cy="1124956"/>
          </a:xfrm>
          <a:prstGeom prst="rect">
            <a:avLst/>
          </a:prstGeom>
        </p:spPr>
      </p:pic>
      <p:cxnSp>
        <p:nvCxnSpPr>
          <p:cNvPr id="300" name="Straight Arrow Connector 299">
            <a:extLst>
              <a:ext uri="{FF2B5EF4-FFF2-40B4-BE49-F238E27FC236}">
                <a16:creationId xmlns:a16="http://schemas.microsoft.com/office/drawing/2014/main" xmlns="" id="{0B1A0915-C27E-4D05-BC84-7069D86A0779}"/>
              </a:ext>
            </a:extLst>
          </p:cNvPr>
          <p:cNvCxnSpPr>
            <a:cxnSpLocks/>
          </p:cNvCxnSpPr>
          <p:nvPr/>
        </p:nvCxnSpPr>
        <p:spPr>
          <a:xfrm>
            <a:off x="2452111" y="2347089"/>
            <a:ext cx="673874" cy="6349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02" name="Straight Arrow Connector 301">
            <a:extLst>
              <a:ext uri="{FF2B5EF4-FFF2-40B4-BE49-F238E27FC236}">
                <a16:creationId xmlns:a16="http://schemas.microsoft.com/office/drawing/2014/main" xmlns="" id="{9C7EC0D6-8F81-4A05-962B-02E67360F87C}"/>
              </a:ext>
            </a:extLst>
          </p:cNvPr>
          <p:cNvCxnSpPr>
            <a:cxnSpLocks/>
          </p:cNvCxnSpPr>
          <p:nvPr/>
        </p:nvCxnSpPr>
        <p:spPr>
          <a:xfrm flipV="1">
            <a:off x="7043056" y="1918983"/>
            <a:ext cx="403801" cy="26096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2839481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xmlns="" id="{209D1C85-C11C-4F16-80F3-43D9EFFE98F4}"/>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81999" y="1425058"/>
            <a:ext cx="3560966" cy="2280632"/>
          </a:xfrm>
          <a:prstGeom prst="rect">
            <a:avLst/>
          </a:prstGeom>
          <a:noFill/>
          <a:ln>
            <a:solidFill>
              <a:schemeClr val="accent1"/>
            </a:solidFill>
          </a:ln>
          <a:extLst>
            <a:ext uri="{909E8E84-426E-40DD-AFC4-6F175D3DCCD1}">
              <a14:hiddenFill xmlns:a14="http://schemas.microsoft.com/office/drawing/2010/main" xmlns="">
                <a:solidFill>
                  <a:srgbClr val="FFFFFF"/>
                </a:solidFill>
              </a14:hiddenFill>
            </a:ext>
          </a:extLst>
        </p:spPr>
      </p:pic>
      <p:sp>
        <p:nvSpPr>
          <p:cNvPr id="2" name="Title 1">
            <a:extLst>
              <a:ext uri="{FF2B5EF4-FFF2-40B4-BE49-F238E27FC236}">
                <a16:creationId xmlns:a16="http://schemas.microsoft.com/office/drawing/2014/main" xmlns="" id="{1FF2C7D5-EFAD-4D7F-91E1-2A709CC9D43B}"/>
              </a:ext>
            </a:extLst>
          </p:cNvPr>
          <p:cNvSpPr>
            <a:spLocks noGrp="1"/>
          </p:cNvSpPr>
          <p:nvPr>
            <p:ph type="title"/>
          </p:nvPr>
        </p:nvSpPr>
        <p:spPr>
          <a:xfrm>
            <a:off x="628650" y="561160"/>
            <a:ext cx="7886700" cy="474746"/>
          </a:xfrm>
        </p:spPr>
        <p:txBody>
          <a:bodyPr>
            <a:normAutofit fontScale="90000"/>
          </a:bodyPr>
          <a:lstStyle/>
          <a:p>
            <a:pPr algn="ctr"/>
            <a:r>
              <a:rPr lang="en-US" altLang="en-US" dirty="0">
                <a:solidFill>
                  <a:srgbClr val="121217"/>
                </a:solidFill>
                <a:latin typeface="Sofia pro"/>
              </a:rPr>
              <a:t>How does mRNA vaccines (Pfizer, </a:t>
            </a:r>
            <a:r>
              <a:rPr lang="en-US" altLang="en-US" dirty="0" err="1">
                <a:solidFill>
                  <a:srgbClr val="121217"/>
                </a:solidFill>
                <a:latin typeface="Sofia pro"/>
              </a:rPr>
              <a:t>Moderna</a:t>
            </a:r>
            <a:r>
              <a:rPr lang="en-US" altLang="en-US" dirty="0">
                <a:solidFill>
                  <a:srgbClr val="121217"/>
                </a:solidFill>
                <a:latin typeface="Sofia pro"/>
              </a:rPr>
              <a:t>) work?</a:t>
            </a:r>
            <a:endParaRPr lang="en-ZA" dirty="0"/>
          </a:p>
        </p:txBody>
      </p:sp>
      <p:sp>
        <p:nvSpPr>
          <p:cNvPr id="3" name="Freeform: Shape 2">
            <a:extLst>
              <a:ext uri="{FF2B5EF4-FFF2-40B4-BE49-F238E27FC236}">
                <a16:creationId xmlns:a16="http://schemas.microsoft.com/office/drawing/2014/main" xmlns="" id="{4A57855E-D8A6-4729-84D6-4402F1243346}"/>
              </a:ext>
            </a:extLst>
          </p:cNvPr>
          <p:cNvSpPr/>
          <p:nvPr/>
        </p:nvSpPr>
        <p:spPr>
          <a:xfrm>
            <a:off x="2122202" y="2087242"/>
            <a:ext cx="344714" cy="246305"/>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grpSp>
        <p:nvGrpSpPr>
          <p:cNvPr id="10" name="Group 9">
            <a:extLst>
              <a:ext uri="{FF2B5EF4-FFF2-40B4-BE49-F238E27FC236}">
                <a16:creationId xmlns:a16="http://schemas.microsoft.com/office/drawing/2014/main" xmlns="" id="{D211F176-7DAC-473A-B23B-DBA63975E8D5}"/>
              </a:ext>
            </a:extLst>
          </p:cNvPr>
          <p:cNvGrpSpPr/>
          <p:nvPr/>
        </p:nvGrpSpPr>
        <p:grpSpPr>
          <a:xfrm>
            <a:off x="4445632" y="3472071"/>
            <a:ext cx="1568834" cy="923907"/>
            <a:chOff x="5927509" y="3486428"/>
            <a:chExt cx="2091779" cy="1231876"/>
          </a:xfrm>
        </p:grpSpPr>
        <p:sp>
          <p:nvSpPr>
            <p:cNvPr id="5" name="Right Brace 4">
              <a:extLst>
                <a:ext uri="{FF2B5EF4-FFF2-40B4-BE49-F238E27FC236}">
                  <a16:creationId xmlns:a16="http://schemas.microsoft.com/office/drawing/2014/main" xmlns="" id="{52000767-27D4-40AA-928A-E015AE2A8FFB}"/>
                </a:ext>
              </a:extLst>
            </p:cNvPr>
            <p:cNvSpPr/>
            <p:nvPr/>
          </p:nvSpPr>
          <p:spPr>
            <a:xfrm rot="6524631">
              <a:off x="6228177" y="3185760"/>
              <a:ext cx="185020" cy="786355"/>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7" name="Straight Arrow Connector 6">
              <a:extLst>
                <a:ext uri="{FF2B5EF4-FFF2-40B4-BE49-F238E27FC236}">
                  <a16:creationId xmlns:a16="http://schemas.microsoft.com/office/drawing/2014/main" xmlns="" id="{260FD68E-2B06-4D61-95EF-0A79DBB2183A}"/>
                </a:ext>
              </a:extLst>
            </p:cNvPr>
            <p:cNvCxnSpPr>
              <a:cxnSpLocks/>
            </p:cNvCxnSpPr>
            <p:nvPr/>
          </p:nvCxnSpPr>
          <p:spPr>
            <a:xfrm>
              <a:off x="6281928" y="3703320"/>
              <a:ext cx="1737360" cy="101498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xmlns="" id="{E7EF9683-FC5D-4092-9087-FEC52145F576}"/>
              </a:ext>
            </a:extLst>
          </p:cNvPr>
          <p:cNvSpPr txBox="1"/>
          <p:nvPr/>
        </p:nvSpPr>
        <p:spPr>
          <a:xfrm>
            <a:off x="5899594" y="4412061"/>
            <a:ext cx="1109282" cy="750205"/>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425" b="0" i="0" u="none" strike="noStrike" kern="1200" cap="none" spc="0" normalizeH="0" baseline="0" noProof="0" dirty="0">
                <a:ln>
                  <a:noFill/>
                </a:ln>
                <a:solidFill>
                  <a:prstClr val="white"/>
                </a:solidFill>
                <a:effectLst/>
                <a:uLnTx/>
                <a:uFillTx/>
                <a:latin typeface="Selawik Light" panose="020B0604020202020204" pitchFamily="34" charset="0"/>
                <a:ea typeface="+mn-ea"/>
                <a:cs typeface="+mn-cs"/>
              </a:rPr>
              <a:t>Spike protein gene</a:t>
            </a:r>
            <a:endParaRPr kumimoji="0" lang="en-ZA" sz="1425" b="0" i="0" u="none" strike="noStrike" kern="1200" cap="none" spc="0" normalizeH="0" baseline="0" noProof="0" dirty="0">
              <a:ln>
                <a:noFill/>
              </a:ln>
              <a:solidFill>
                <a:prstClr val="white"/>
              </a:solidFill>
              <a:effectLst/>
              <a:uLnTx/>
              <a:uFillTx/>
              <a:latin typeface="Selawik Light" panose="020B0604020202020204" pitchFamily="34" charset="0"/>
              <a:ea typeface="+mn-ea"/>
              <a:cs typeface="+mn-cs"/>
            </a:endParaRPr>
          </a:p>
        </p:txBody>
      </p:sp>
      <p:grpSp>
        <p:nvGrpSpPr>
          <p:cNvPr id="27" name="Group 26">
            <a:extLst>
              <a:ext uri="{FF2B5EF4-FFF2-40B4-BE49-F238E27FC236}">
                <a16:creationId xmlns:a16="http://schemas.microsoft.com/office/drawing/2014/main" xmlns="" id="{DE42B2D9-5854-4C8D-898D-F3B04995C038}"/>
              </a:ext>
            </a:extLst>
          </p:cNvPr>
          <p:cNvGrpSpPr/>
          <p:nvPr/>
        </p:nvGrpSpPr>
        <p:grpSpPr>
          <a:xfrm>
            <a:off x="5153106" y="1764868"/>
            <a:ext cx="998919" cy="891053"/>
            <a:chOff x="6851599" y="1963689"/>
            <a:chExt cx="1331892" cy="1188070"/>
          </a:xfrm>
        </p:grpSpPr>
        <p:sp>
          <p:nvSpPr>
            <p:cNvPr id="24" name="Freeform: Shape 23">
              <a:extLst>
                <a:ext uri="{FF2B5EF4-FFF2-40B4-BE49-F238E27FC236}">
                  <a16:creationId xmlns:a16="http://schemas.microsoft.com/office/drawing/2014/main" xmlns="" id="{A7CC663D-A143-432E-9A3E-0BFB9D8A288C}"/>
                </a:ext>
              </a:extLst>
            </p:cNvPr>
            <p:cNvSpPr/>
            <p:nvPr/>
          </p:nvSpPr>
          <p:spPr>
            <a:xfrm rot="5118372">
              <a:off x="6435694" y="2379594"/>
              <a:ext cx="1160215" cy="328406"/>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sp>
          <p:nvSpPr>
            <p:cNvPr id="25" name="Freeform: Shape 24">
              <a:extLst>
                <a:ext uri="{FF2B5EF4-FFF2-40B4-BE49-F238E27FC236}">
                  <a16:creationId xmlns:a16="http://schemas.microsoft.com/office/drawing/2014/main" xmlns="" id="{DCA7C6CE-789B-481B-A856-5F5DA44F98FD}"/>
                </a:ext>
              </a:extLst>
            </p:cNvPr>
            <p:cNvSpPr/>
            <p:nvPr/>
          </p:nvSpPr>
          <p:spPr>
            <a:xfrm rot="5118372">
              <a:off x="6929804" y="2391509"/>
              <a:ext cx="1175002" cy="328406"/>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sp>
          <p:nvSpPr>
            <p:cNvPr id="26" name="Freeform: Shape 25">
              <a:extLst>
                <a:ext uri="{FF2B5EF4-FFF2-40B4-BE49-F238E27FC236}">
                  <a16:creationId xmlns:a16="http://schemas.microsoft.com/office/drawing/2014/main" xmlns="" id="{D75C04DD-CB1A-471A-97D4-BB357F778F6C}"/>
                </a:ext>
              </a:extLst>
            </p:cNvPr>
            <p:cNvSpPr/>
            <p:nvPr/>
          </p:nvSpPr>
          <p:spPr>
            <a:xfrm rot="5118372">
              <a:off x="7433341" y="2401610"/>
              <a:ext cx="1171893" cy="328406"/>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grpSp>
      <p:grpSp>
        <p:nvGrpSpPr>
          <p:cNvPr id="37" name="Group 36">
            <a:extLst>
              <a:ext uri="{FF2B5EF4-FFF2-40B4-BE49-F238E27FC236}">
                <a16:creationId xmlns:a16="http://schemas.microsoft.com/office/drawing/2014/main" xmlns="" id="{E4CEC044-A0D5-4566-B501-3139DD58F76E}"/>
              </a:ext>
            </a:extLst>
          </p:cNvPr>
          <p:cNvGrpSpPr/>
          <p:nvPr/>
        </p:nvGrpSpPr>
        <p:grpSpPr>
          <a:xfrm>
            <a:off x="6730978" y="3003062"/>
            <a:ext cx="911612" cy="983767"/>
            <a:chOff x="9521453" y="3406615"/>
            <a:chExt cx="1215482" cy="1311689"/>
          </a:xfrm>
        </p:grpSpPr>
        <p:sp>
          <p:nvSpPr>
            <p:cNvPr id="32" name="Oval 31">
              <a:extLst>
                <a:ext uri="{FF2B5EF4-FFF2-40B4-BE49-F238E27FC236}">
                  <a16:creationId xmlns:a16="http://schemas.microsoft.com/office/drawing/2014/main" xmlns="" id="{6D316D71-66C6-41F2-97C2-D93819E6A89C}"/>
                </a:ext>
              </a:extLst>
            </p:cNvPr>
            <p:cNvSpPr/>
            <p:nvPr/>
          </p:nvSpPr>
          <p:spPr>
            <a:xfrm>
              <a:off x="9521453" y="3406615"/>
              <a:ext cx="1215482" cy="1311689"/>
            </a:xfrm>
            <a:prstGeom prst="ellipse">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8" name="Group 27">
              <a:extLst>
                <a:ext uri="{FF2B5EF4-FFF2-40B4-BE49-F238E27FC236}">
                  <a16:creationId xmlns:a16="http://schemas.microsoft.com/office/drawing/2014/main" xmlns="" id="{6625BFC5-E5F5-46AC-81D7-586CF0E4735A}"/>
                </a:ext>
              </a:extLst>
            </p:cNvPr>
            <p:cNvGrpSpPr/>
            <p:nvPr/>
          </p:nvGrpSpPr>
          <p:grpSpPr>
            <a:xfrm rot="2320287">
              <a:off x="9778720" y="3706489"/>
              <a:ext cx="699578" cy="740131"/>
              <a:chOff x="6851599" y="1963689"/>
              <a:chExt cx="1331892" cy="1188070"/>
            </a:xfrm>
          </p:grpSpPr>
          <p:sp>
            <p:nvSpPr>
              <p:cNvPr id="29" name="Freeform: Shape 28">
                <a:extLst>
                  <a:ext uri="{FF2B5EF4-FFF2-40B4-BE49-F238E27FC236}">
                    <a16:creationId xmlns:a16="http://schemas.microsoft.com/office/drawing/2014/main" xmlns="" id="{D8D5547F-FE47-44CA-868D-10919A43F08F}"/>
                  </a:ext>
                </a:extLst>
              </p:cNvPr>
              <p:cNvSpPr/>
              <p:nvPr/>
            </p:nvSpPr>
            <p:spPr>
              <a:xfrm rot="5118372">
                <a:off x="6435694" y="2379594"/>
                <a:ext cx="1160215" cy="328406"/>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xmlns="" id="{62C262CF-9365-4D44-8824-158BF9686F43}"/>
                  </a:ext>
                </a:extLst>
              </p:cNvPr>
              <p:cNvSpPr/>
              <p:nvPr/>
            </p:nvSpPr>
            <p:spPr>
              <a:xfrm rot="5118372">
                <a:off x="6929804" y="2391509"/>
                <a:ext cx="1175002" cy="328406"/>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sp>
            <p:nvSpPr>
              <p:cNvPr id="31" name="Freeform: Shape 30">
                <a:extLst>
                  <a:ext uri="{FF2B5EF4-FFF2-40B4-BE49-F238E27FC236}">
                    <a16:creationId xmlns:a16="http://schemas.microsoft.com/office/drawing/2014/main" xmlns="" id="{D3534197-52FF-40A4-9D79-CEB8AE0D3C84}"/>
                  </a:ext>
                </a:extLst>
              </p:cNvPr>
              <p:cNvSpPr/>
              <p:nvPr/>
            </p:nvSpPr>
            <p:spPr>
              <a:xfrm rot="5118372">
                <a:off x="7433341" y="2401610"/>
                <a:ext cx="1171893" cy="328406"/>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grpSp>
      </p:grpSp>
      <p:pic>
        <p:nvPicPr>
          <p:cNvPr id="33" name="Graphic 32" descr="Needle outline">
            <a:extLst>
              <a:ext uri="{FF2B5EF4-FFF2-40B4-BE49-F238E27FC236}">
                <a16:creationId xmlns:a16="http://schemas.microsoft.com/office/drawing/2014/main" xmlns="" id="{4D66412C-167F-4FED-821B-DDBC42E77212}"/>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asvg="http://schemas.microsoft.com/office/drawing/2016/SVG/main" xmlns="" r:embed="rId4"/>
              </a:ext>
            </a:extLst>
          </a:blip>
          <a:stretch>
            <a:fillRect/>
          </a:stretch>
        </p:blipFill>
        <p:spPr>
          <a:xfrm>
            <a:off x="6624306" y="4234187"/>
            <a:ext cx="1124956" cy="1124956"/>
          </a:xfrm>
          <a:prstGeom prst="rect">
            <a:avLst/>
          </a:prstGeom>
        </p:spPr>
      </p:pic>
      <p:cxnSp>
        <p:nvCxnSpPr>
          <p:cNvPr id="194" name="Straight Arrow Connector 193">
            <a:extLst>
              <a:ext uri="{FF2B5EF4-FFF2-40B4-BE49-F238E27FC236}">
                <a16:creationId xmlns:a16="http://schemas.microsoft.com/office/drawing/2014/main" xmlns="" id="{8128F6E3-995C-4507-8D09-932A6A0B4AB0}"/>
              </a:ext>
            </a:extLst>
          </p:cNvPr>
          <p:cNvCxnSpPr>
            <a:cxnSpLocks/>
          </p:cNvCxnSpPr>
          <p:nvPr/>
        </p:nvCxnSpPr>
        <p:spPr>
          <a:xfrm flipV="1">
            <a:off x="2490370" y="2243271"/>
            <a:ext cx="2381378" cy="1"/>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sp>
        <p:nvSpPr>
          <p:cNvPr id="196" name="TextBox 195">
            <a:extLst>
              <a:ext uri="{FF2B5EF4-FFF2-40B4-BE49-F238E27FC236}">
                <a16:creationId xmlns:a16="http://schemas.microsoft.com/office/drawing/2014/main" xmlns="" id="{D6FE2D52-F3E0-4B55-AEF7-786C684A2A61}"/>
              </a:ext>
            </a:extLst>
          </p:cNvPr>
          <p:cNvSpPr txBox="1"/>
          <p:nvPr/>
        </p:nvSpPr>
        <p:spPr>
          <a:xfrm>
            <a:off x="3053749" y="2944514"/>
            <a:ext cx="1109282" cy="415498"/>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050" b="0" i="0" u="none" strike="noStrike" kern="1200" cap="none" spc="0" normalizeH="0" baseline="0" noProof="0" dirty="0">
                <a:ln>
                  <a:noFill/>
                </a:ln>
                <a:solidFill>
                  <a:prstClr val="white"/>
                </a:solidFill>
                <a:effectLst/>
                <a:uLnTx/>
                <a:uFillTx/>
                <a:latin typeface="Selawik Light" panose="020B0604020202020204" pitchFamily="34" charset="0"/>
                <a:ea typeface="+mn-ea"/>
                <a:cs typeface="+mn-cs"/>
              </a:rPr>
              <a:t>Spike protein gene</a:t>
            </a:r>
            <a:endParaRPr kumimoji="0" lang="en-ZA" sz="1050" b="0" i="0" u="none" strike="noStrike" kern="1200" cap="none" spc="0" normalizeH="0" baseline="0" noProof="0" dirty="0">
              <a:ln>
                <a:noFill/>
              </a:ln>
              <a:solidFill>
                <a:prstClr val="white"/>
              </a:solidFill>
              <a:effectLst/>
              <a:uLnTx/>
              <a:uFillTx/>
              <a:latin typeface="Selawik Light" panose="020B0604020202020204" pitchFamily="34" charset="0"/>
              <a:ea typeface="+mn-ea"/>
              <a:cs typeface="+mn-cs"/>
            </a:endParaRPr>
          </a:p>
        </p:txBody>
      </p:sp>
      <p:cxnSp>
        <p:nvCxnSpPr>
          <p:cNvPr id="198" name="Connector: Curved 197">
            <a:extLst>
              <a:ext uri="{FF2B5EF4-FFF2-40B4-BE49-F238E27FC236}">
                <a16:creationId xmlns:a16="http://schemas.microsoft.com/office/drawing/2014/main" xmlns="" id="{A24D5098-F5AE-44E4-AD77-B4C7E9670366}"/>
              </a:ext>
            </a:extLst>
          </p:cNvPr>
          <p:cNvCxnSpPr>
            <a:cxnSpLocks/>
            <a:endCxn id="32" idx="0"/>
          </p:cNvCxnSpPr>
          <p:nvPr/>
        </p:nvCxnSpPr>
        <p:spPr>
          <a:xfrm>
            <a:off x="6422372" y="2240376"/>
            <a:ext cx="764412" cy="762686"/>
          </a:xfrm>
          <a:prstGeom prst="curvedConnector2">
            <a:avLst/>
          </a:prstGeom>
          <a:ln w="28575">
            <a:tailEnd type="triangle"/>
          </a:ln>
        </p:spPr>
        <p:style>
          <a:lnRef idx="1">
            <a:schemeClr val="accent2"/>
          </a:lnRef>
          <a:fillRef idx="0">
            <a:schemeClr val="accent2"/>
          </a:fillRef>
          <a:effectRef idx="0">
            <a:schemeClr val="accent2"/>
          </a:effectRef>
          <a:fontRef idx="minor">
            <a:schemeClr val="tx1"/>
          </a:fontRef>
        </p:style>
      </p:cxnSp>
      <p:cxnSp>
        <p:nvCxnSpPr>
          <p:cNvPr id="211" name="Connector: Curved 210">
            <a:extLst>
              <a:ext uri="{FF2B5EF4-FFF2-40B4-BE49-F238E27FC236}">
                <a16:creationId xmlns:a16="http://schemas.microsoft.com/office/drawing/2014/main" xmlns="" id="{B7ECA80E-7B5B-4ED7-AA3F-F58A83C6E8D3}"/>
              </a:ext>
            </a:extLst>
          </p:cNvPr>
          <p:cNvCxnSpPr>
            <a:cxnSpLocks/>
          </p:cNvCxnSpPr>
          <p:nvPr/>
        </p:nvCxnSpPr>
        <p:spPr>
          <a:xfrm rot="5400000">
            <a:off x="6148600" y="4097486"/>
            <a:ext cx="1136809" cy="948996"/>
          </a:xfrm>
          <a:prstGeom prst="curvedConnector2">
            <a:avLst/>
          </a:prstGeom>
          <a:ln w="28575">
            <a:tailEnd type="triangle"/>
          </a:ln>
        </p:spPr>
        <p:style>
          <a:lnRef idx="1">
            <a:schemeClr val="accent2"/>
          </a:lnRef>
          <a:fillRef idx="0">
            <a:schemeClr val="accent2"/>
          </a:fillRef>
          <a:effectRef idx="0">
            <a:schemeClr val="accent2"/>
          </a:effectRef>
          <a:fontRef idx="minor">
            <a:schemeClr val="tx1"/>
          </a:fontRef>
        </p:style>
      </p:cxnSp>
      <p:sp>
        <p:nvSpPr>
          <p:cNvPr id="214" name="TextBox 213">
            <a:extLst>
              <a:ext uri="{FF2B5EF4-FFF2-40B4-BE49-F238E27FC236}">
                <a16:creationId xmlns:a16="http://schemas.microsoft.com/office/drawing/2014/main" xmlns="" id="{44CC0713-28E3-4215-9B7F-E329E64D4CED}"/>
              </a:ext>
            </a:extLst>
          </p:cNvPr>
          <p:cNvSpPr txBox="1"/>
          <p:nvPr/>
        </p:nvSpPr>
        <p:spPr>
          <a:xfrm>
            <a:off x="381999" y="1425058"/>
            <a:ext cx="1109282" cy="253916"/>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050" b="1" i="0" u="none" strike="noStrike" kern="1200" cap="none" spc="0" normalizeH="0" baseline="0" noProof="0" dirty="0">
                <a:ln>
                  <a:noFill/>
                </a:ln>
                <a:solidFill>
                  <a:prstClr val="white"/>
                </a:solidFill>
                <a:effectLst/>
                <a:uLnTx/>
                <a:uFillTx/>
                <a:latin typeface="Selawik Light" panose="020B0604020202020204" pitchFamily="34" charset="0"/>
                <a:ea typeface="+mn-ea"/>
                <a:cs typeface="+mn-cs"/>
              </a:rPr>
              <a:t>SARS-CoV-2</a:t>
            </a:r>
            <a:endParaRPr kumimoji="0" lang="en-ZA" sz="1050" b="1" i="0" u="none" strike="noStrike" kern="1200" cap="none" spc="0" normalizeH="0" baseline="0" noProof="0" dirty="0">
              <a:ln>
                <a:noFill/>
              </a:ln>
              <a:solidFill>
                <a:prstClr val="white"/>
              </a:solidFill>
              <a:effectLst/>
              <a:uLnTx/>
              <a:uFillTx/>
              <a:latin typeface="Selawik Light" panose="020B0604020202020204" pitchFamily="34" charset="0"/>
              <a:ea typeface="+mn-ea"/>
              <a:cs typeface="+mn-cs"/>
            </a:endParaRPr>
          </a:p>
        </p:txBody>
      </p:sp>
      <p:grpSp>
        <p:nvGrpSpPr>
          <p:cNvPr id="220" name="Group 219">
            <a:extLst>
              <a:ext uri="{FF2B5EF4-FFF2-40B4-BE49-F238E27FC236}">
                <a16:creationId xmlns:a16="http://schemas.microsoft.com/office/drawing/2014/main" xmlns="" id="{2D501D83-9880-42F9-9699-1320659A6C1F}"/>
              </a:ext>
            </a:extLst>
          </p:cNvPr>
          <p:cNvGrpSpPr/>
          <p:nvPr/>
        </p:nvGrpSpPr>
        <p:grpSpPr>
          <a:xfrm>
            <a:off x="2659829" y="3730228"/>
            <a:ext cx="3551441" cy="2218814"/>
            <a:chOff x="3546438" y="3830637"/>
            <a:chExt cx="4735255" cy="2958419"/>
          </a:xfrm>
        </p:grpSpPr>
        <p:grpSp>
          <p:nvGrpSpPr>
            <p:cNvPr id="34" name="Group 33">
              <a:extLst>
                <a:ext uri="{FF2B5EF4-FFF2-40B4-BE49-F238E27FC236}">
                  <a16:creationId xmlns:a16="http://schemas.microsoft.com/office/drawing/2014/main" xmlns="" id="{53817F0C-EF8C-412B-B964-3FED458D3B65}"/>
                </a:ext>
              </a:extLst>
            </p:cNvPr>
            <p:cNvGrpSpPr/>
            <p:nvPr/>
          </p:nvGrpSpPr>
          <p:grpSpPr>
            <a:xfrm>
              <a:off x="3625717" y="3830637"/>
              <a:ext cx="4655976" cy="2958419"/>
              <a:chOff x="3419201" y="3671373"/>
              <a:chExt cx="4655976" cy="3077378"/>
            </a:xfrm>
          </p:grpSpPr>
          <p:sp>
            <p:nvSpPr>
              <p:cNvPr id="35" name="Rectangle 34">
                <a:extLst>
                  <a:ext uri="{FF2B5EF4-FFF2-40B4-BE49-F238E27FC236}">
                    <a16:creationId xmlns:a16="http://schemas.microsoft.com/office/drawing/2014/main" xmlns="" id="{7BA1AABD-DA24-4C30-AA05-EDCA0956E014}"/>
                  </a:ext>
                </a:extLst>
              </p:cNvPr>
              <p:cNvSpPr/>
              <p:nvPr/>
            </p:nvSpPr>
            <p:spPr>
              <a:xfrm>
                <a:off x="3419201" y="3671373"/>
                <a:ext cx="4655976" cy="3077378"/>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xmlns="" id="{AD867B79-68AD-40C3-B377-158A5FAB1307}"/>
                  </a:ext>
                </a:extLst>
              </p:cNvPr>
              <p:cNvSpPr txBox="1"/>
              <p:nvPr/>
            </p:nvSpPr>
            <p:spPr>
              <a:xfrm>
                <a:off x="3484412" y="3718022"/>
                <a:ext cx="1479043" cy="352168"/>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050" b="1" i="0" u="none" strike="noStrike" kern="1200" cap="none" spc="0" normalizeH="0" baseline="0" noProof="0" dirty="0">
                    <a:ln>
                      <a:noFill/>
                    </a:ln>
                    <a:solidFill>
                      <a:prstClr val="white"/>
                    </a:solidFill>
                    <a:effectLst/>
                    <a:uLnTx/>
                    <a:uFillTx/>
                    <a:latin typeface="Selawik Light" panose="020B0604020202020204" pitchFamily="34" charset="0"/>
                    <a:ea typeface="+mn-ea"/>
                    <a:cs typeface="+mn-cs"/>
                  </a:rPr>
                  <a:t>Human cell</a:t>
                </a:r>
                <a:endParaRPr kumimoji="0" lang="en-ZA" sz="1050" b="1" i="0" u="none" strike="noStrike" kern="1200" cap="none" spc="0" normalizeH="0" baseline="0" noProof="0" dirty="0">
                  <a:ln>
                    <a:noFill/>
                  </a:ln>
                  <a:solidFill>
                    <a:prstClr val="white"/>
                  </a:solidFill>
                  <a:effectLst/>
                  <a:uLnTx/>
                  <a:uFillTx/>
                  <a:latin typeface="Selawik Light" panose="020B0604020202020204" pitchFamily="34" charset="0"/>
                  <a:ea typeface="+mn-ea"/>
                  <a:cs typeface="+mn-cs"/>
                </a:endParaRPr>
              </a:p>
            </p:txBody>
          </p:sp>
        </p:grpSp>
        <p:sp>
          <p:nvSpPr>
            <p:cNvPr id="86" name="Oval 85">
              <a:extLst>
                <a:ext uri="{FF2B5EF4-FFF2-40B4-BE49-F238E27FC236}">
                  <a16:creationId xmlns:a16="http://schemas.microsoft.com/office/drawing/2014/main" xmlns="" id="{EA15B7AF-D2C8-42EB-A6B2-B0BEB394E34A}"/>
                </a:ext>
              </a:extLst>
            </p:cNvPr>
            <p:cNvSpPr/>
            <p:nvPr/>
          </p:nvSpPr>
          <p:spPr>
            <a:xfrm>
              <a:off x="6231623" y="4044987"/>
              <a:ext cx="1681805" cy="1705914"/>
            </a:xfrm>
            <a:prstGeom prst="ellipse">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Oval 86">
              <a:extLst>
                <a:ext uri="{FF2B5EF4-FFF2-40B4-BE49-F238E27FC236}">
                  <a16:creationId xmlns:a16="http://schemas.microsoft.com/office/drawing/2014/main" xmlns="" id="{C8D3B5BF-3244-4A22-AD5C-6C2B61A96980}"/>
                </a:ext>
              </a:extLst>
            </p:cNvPr>
            <p:cNvSpPr/>
            <p:nvPr/>
          </p:nvSpPr>
          <p:spPr>
            <a:xfrm>
              <a:off x="6699447" y="5114340"/>
              <a:ext cx="469727" cy="504660"/>
            </a:xfrm>
            <a:prstGeom prst="ellipse">
              <a:avLst/>
            </a:prstGeom>
            <a:solidFill>
              <a:srgbClr val="E7A603"/>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3" name="Group 132">
              <a:extLst>
                <a:ext uri="{FF2B5EF4-FFF2-40B4-BE49-F238E27FC236}">
                  <a16:creationId xmlns:a16="http://schemas.microsoft.com/office/drawing/2014/main" xmlns="" id="{E2B3D273-8A53-4935-BC9A-E7DE66A872B5}"/>
                </a:ext>
              </a:extLst>
            </p:cNvPr>
            <p:cNvGrpSpPr/>
            <p:nvPr/>
          </p:nvGrpSpPr>
          <p:grpSpPr>
            <a:xfrm>
              <a:off x="6910776" y="4358798"/>
              <a:ext cx="380002" cy="442805"/>
              <a:chOff x="9521453" y="3406615"/>
              <a:chExt cx="1215482" cy="1311689"/>
            </a:xfrm>
          </p:grpSpPr>
          <p:sp>
            <p:nvSpPr>
              <p:cNvPr id="134" name="Oval 133">
                <a:extLst>
                  <a:ext uri="{FF2B5EF4-FFF2-40B4-BE49-F238E27FC236}">
                    <a16:creationId xmlns:a16="http://schemas.microsoft.com/office/drawing/2014/main" xmlns="" id="{51FDB3A8-C7E5-4668-B043-2742D33C838B}"/>
                  </a:ext>
                </a:extLst>
              </p:cNvPr>
              <p:cNvSpPr/>
              <p:nvPr/>
            </p:nvSpPr>
            <p:spPr>
              <a:xfrm>
                <a:off x="9521453" y="3406615"/>
                <a:ext cx="1215482" cy="1311689"/>
              </a:xfrm>
              <a:prstGeom prst="ellipse">
                <a:avLst/>
              </a:prstGeom>
              <a:solidFill>
                <a:schemeClr val="accent1">
                  <a:lumMod val="40000"/>
                  <a:lumOff val="60000"/>
                </a:schemeClr>
              </a:solidFill>
              <a:ln w="1905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35" name="Group 134">
                <a:extLst>
                  <a:ext uri="{FF2B5EF4-FFF2-40B4-BE49-F238E27FC236}">
                    <a16:creationId xmlns:a16="http://schemas.microsoft.com/office/drawing/2014/main" xmlns="" id="{5615C3B7-4D2B-4805-B140-8BDFEBF1AB06}"/>
                  </a:ext>
                </a:extLst>
              </p:cNvPr>
              <p:cNvGrpSpPr/>
              <p:nvPr/>
            </p:nvGrpSpPr>
            <p:grpSpPr>
              <a:xfrm rot="2320287">
                <a:off x="9778720" y="3706489"/>
                <a:ext cx="699578" cy="740131"/>
                <a:chOff x="6851599" y="1963689"/>
                <a:chExt cx="1331892" cy="1188070"/>
              </a:xfrm>
            </p:grpSpPr>
            <p:sp>
              <p:nvSpPr>
                <p:cNvPr id="136" name="Freeform: Shape 135">
                  <a:extLst>
                    <a:ext uri="{FF2B5EF4-FFF2-40B4-BE49-F238E27FC236}">
                      <a16:creationId xmlns:a16="http://schemas.microsoft.com/office/drawing/2014/main" xmlns="" id="{FF780F05-CF41-48F8-AC58-19F4FC6BABB6}"/>
                    </a:ext>
                  </a:extLst>
                </p:cNvPr>
                <p:cNvSpPr/>
                <p:nvPr/>
              </p:nvSpPr>
              <p:spPr>
                <a:xfrm rot="5118372">
                  <a:off x="6435694" y="2379594"/>
                  <a:ext cx="1160215" cy="328406"/>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sp>
              <p:nvSpPr>
                <p:cNvPr id="137" name="Freeform: Shape 136">
                  <a:extLst>
                    <a:ext uri="{FF2B5EF4-FFF2-40B4-BE49-F238E27FC236}">
                      <a16:creationId xmlns:a16="http://schemas.microsoft.com/office/drawing/2014/main" xmlns="" id="{5B26722C-C931-4695-9456-CBE3581FF197}"/>
                    </a:ext>
                  </a:extLst>
                </p:cNvPr>
                <p:cNvSpPr/>
                <p:nvPr/>
              </p:nvSpPr>
              <p:spPr>
                <a:xfrm rot="5118372">
                  <a:off x="6929804" y="2391509"/>
                  <a:ext cx="1175002" cy="328406"/>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sp>
              <p:nvSpPr>
                <p:cNvPr id="138" name="Freeform: Shape 137">
                  <a:extLst>
                    <a:ext uri="{FF2B5EF4-FFF2-40B4-BE49-F238E27FC236}">
                      <a16:creationId xmlns:a16="http://schemas.microsoft.com/office/drawing/2014/main" xmlns="" id="{6033AAD5-3324-4C19-A268-138B8C686297}"/>
                    </a:ext>
                  </a:extLst>
                </p:cNvPr>
                <p:cNvSpPr/>
                <p:nvPr/>
              </p:nvSpPr>
              <p:spPr>
                <a:xfrm rot="5118372">
                  <a:off x="7433341" y="2401610"/>
                  <a:ext cx="1171893" cy="328406"/>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grpSp>
        </p:grpSp>
        <p:sp>
          <p:nvSpPr>
            <p:cNvPr id="143" name="TextBox 142">
              <a:extLst>
                <a:ext uri="{FF2B5EF4-FFF2-40B4-BE49-F238E27FC236}">
                  <a16:creationId xmlns:a16="http://schemas.microsoft.com/office/drawing/2014/main" xmlns="" id="{0A1CB753-8DF9-466D-837D-CBBE9A94720B}"/>
                </a:ext>
              </a:extLst>
            </p:cNvPr>
            <p:cNvSpPr txBox="1"/>
            <p:nvPr/>
          </p:nvSpPr>
          <p:spPr>
            <a:xfrm rot="4777677">
              <a:off x="3714367" y="4564081"/>
              <a:ext cx="279695" cy="615553"/>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2400" b="1" i="0" u="none" strike="noStrike" kern="1200" cap="none" spc="0" normalizeH="0" baseline="0" noProof="0" dirty="0">
                  <a:ln>
                    <a:noFill/>
                  </a:ln>
                  <a:solidFill>
                    <a:srgbClr val="5B9BD5">
                      <a:lumMod val="40000"/>
                      <a:lumOff val="60000"/>
                    </a:srgbClr>
                  </a:solidFill>
                  <a:effectLst/>
                  <a:uLnTx/>
                  <a:uFillTx/>
                  <a:latin typeface="Sofia pro"/>
                  <a:ea typeface="+mn-ea"/>
                  <a:cs typeface="+mn-cs"/>
                </a:rPr>
                <a:t>Y</a:t>
              </a:r>
              <a:endParaRPr kumimoji="0" lang="en-ZA" sz="2400" b="1" i="0" u="none" strike="noStrike" kern="1200" cap="none" spc="0" normalizeH="0" baseline="0" noProof="0" dirty="0">
                <a:ln>
                  <a:noFill/>
                </a:ln>
                <a:solidFill>
                  <a:srgbClr val="5B9BD5">
                    <a:lumMod val="40000"/>
                    <a:lumOff val="60000"/>
                  </a:srgbClr>
                </a:solidFill>
                <a:effectLst/>
                <a:uLnTx/>
                <a:uFillTx/>
                <a:latin typeface="Calibri" panose="020F0502020204030204"/>
                <a:ea typeface="+mn-ea"/>
                <a:cs typeface="+mn-cs"/>
              </a:endParaRPr>
            </a:p>
          </p:txBody>
        </p:sp>
        <p:grpSp>
          <p:nvGrpSpPr>
            <p:cNvPr id="213" name="Group 212">
              <a:extLst>
                <a:ext uri="{FF2B5EF4-FFF2-40B4-BE49-F238E27FC236}">
                  <a16:creationId xmlns:a16="http://schemas.microsoft.com/office/drawing/2014/main" xmlns="" id="{9638F61B-6EE3-49A5-AB3D-979563823773}"/>
                </a:ext>
              </a:extLst>
            </p:cNvPr>
            <p:cNvGrpSpPr/>
            <p:nvPr/>
          </p:nvGrpSpPr>
          <p:grpSpPr>
            <a:xfrm>
              <a:off x="3907178" y="4406633"/>
              <a:ext cx="1681805" cy="2203857"/>
              <a:chOff x="3589842" y="4299940"/>
              <a:chExt cx="1681805" cy="2203857"/>
            </a:xfrm>
          </p:grpSpPr>
          <p:sp>
            <p:nvSpPr>
              <p:cNvPr id="144" name="Oval 143">
                <a:extLst>
                  <a:ext uri="{FF2B5EF4-FFF2-40B4-BE49-F238E27FC236}">
                    <a16:creationId xmlns:a16="http://schemas.microsoft.com/office/drawing/2014/main" xmlns="" id="{EE0DE26C-0837-46CD-B472-3903C4E83ED8}"/>
                  </a:ext>
                </a:extLst>
              </p:cNvPr>
              <p:cNvSpPr/>
              <p:nvPr/>
            </p:nvSpPr>
            <p:spPr>
              <a:xfrm>
                <a:off x="3589842" y="4797883"/>
                <a:ext cx="1681805" cy="1705914"/>
              </a:xfrm>
              <a:prstGeom prst="ellipse">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5" name="Oval 144">
                <a:extLst>
                  <a:ext uri="{FF2B5EF4-FFF2-40B4-BE49-F238E27FC236}">
                    <a16:creationId xmlns:a16="http://schemas.microsoft.com/office/drawing/2014/main" xmlns="" id="{5988A04B-F135-4273-8A35-033E03D2E453}"/>
                  </a:ext>
                </a:extLst>
              </p:cNvPr>
              <p:cNvSpPr/>
              <p:nvPr/>
            </p:nvSpPr>
            <p:spPr>
              <a:xfrm>
                <a:off x="4115141" y="5912028"/>
                <a:ext cx="469727" cy="504660"/>
              </a:xfrm>
              <a:prstGeom prst="ellipse">
                <a:avLst/>
              </a:prstGeom>
              <a:solidFill>
                <a:srgbClr val="E7A603"/>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1" name="Freeform: Shape 140">
                <a:extLst>
                  <a:ext uri="{FF2B5EF4-FFF2-40B4-BE49-F238E27FC236}">
                    <a16:creationId xmlns:a16="http://schemas.microsoft.com/office/drawing/2014/main" xmlns="" id="{AF384645-C289-4242-BD1F-2EC269E0A4A2}"/>
                  </a:ext>
                </a:extLst>
              </p:cNvPr>
              <p:cNvSpPr/>
              <p:nvPr/>
            </p:nvSpPr>
            <p:spPr>
              <a:xfrm>
                <a:off x="3669391" y="4791251"/>
                <a:ext cx="215558" cy="252467"/>
              </a:xfrm>
              <a:custGeom>
                <a:avLst/>
                <a:gdLst>
                  <a:gd name="connsiteX0" fmla="*/ 205273 w 681135"/>
                  <a:gd name="connsiteY0" fmla="*/ 0 h 802432"/>
                  <a:gd name="connsiteX1" fmla="*/ 205273 w 681135"/>
                  <a:gd name="connsiteY1" fmla="*/ 0 h 802432"/>
                  <a:gd name="connsiteX2" fmla="*/ 130629 w 681135"/>
                  <a:gd name="connsiteY2" fmla="*/ 27991 h 802432"/>
                  <a:gd name="connsiteX3" fmla="*/ 111967 w 681135"/>
                  <a:gd name="connsiteY3" fmla="*/ 55983 h 802432"/>
                  <a:gd name="connsiteX4" fmla="*/ 37322 w 681135"/>
                  <a:gd name="connsiteY4" fmla="*/ 121298 h 802432"/>
                  <a:gd name="connsiteX5" fmla="*/ 0 w 681135"/>
                  <a:gd name="connsiteY5" fmla="*/ 186612 h 802432"/>
                  <a:gd name="connsiteX6" fmla="*/ 18661 w 681135"/>
                  <a:gd name="connsiteY6" fmla="*/ 214604 h 802432"/>
                  <a:gd name="connsiteX7" fmla="*/ 46653 w 681135"/>
                  <a:gd name="connsiteY7" fmla="*/ 223934 h 802432"/>
                  <a:gd name="connsiteX8" fmla="*/ 55984 w 681135"/>
                  <a:gd name="connsiteY8" fmla="*/ 251926 h 802432"/>
                  <a:gd name="connsiteX9" fmla="*/ 111967 w 681135"/>
                  <a:gd name="connsiteY9" fmla="*/ 279918 h 802432"/>
                  <a:gd name="connsiteX10" fmla="*/ 121298 w 681135"/>
                  <a:gd name="connsiteY10" fmla="*/ 363893 h 802432"/>
                  <a:gd name="connsiteX11" fmla="*/ 139959 w 681135"/>
                  <a:gd name="connsiteY11" fmla="*/ 382555 h 802432"/>
                  <a:gd name="connsiteX12" fmla="*/ 158620 w 681135"/>
                  <a:gd name="connsiteY12" fmla="*/ 410547 h 802432"/>
                  <a:gd name="connsiteX13" fmla="*/ 205273 w 681135"/>
                  <a:gd name="connsiteY13" fmla="*/ 447869 h 802432"/>
                  <a:gd name="connsiteX14" fmla="*/ 223935 w 681135"/>
                  <a:gd name="connsiteY14" fmla="*/ 466530 h 802432"/>
                  <a:gd name="connsiteX15" fmla="*/ 279918 w 681135"/>
                  <a:gd name="connsiteY15" fmla="*/ 503853 h 802432"/>
                  <a:gd name="connsiteX16" fmla="*/ 326571 w 681135"/>
                  <a:gd name="connsiteY16" fmla="*/ 541175 h 802432"/>
                  <a:gd name="connsiteX17" fmla="*/ 363894 w 681135"/>
                  <a:gd name="connsiteY17" fmla="*/ 578498 h 802432"/>
                  <a:gd name="connsiteX18" fmla="*/ 391886 w 681135"/>
                  <a:gd name="connsiteY18" fmla="*/ 606489 h 802432"/>
                  <a:gd name="connsiteX19" fmla="*/ 419878 w 681135"/>
                  <a:gd name="connsiteY19" fmla="*/ 662473 h 802432"/>
                  <a:gd name="connsiteX20" fmla="*/ 466531 w 681135"/>
                  <a:gd name="connsiteY20" fmla="*/ 709126 h 802432"/>
                  <a:gd name="connsiteX21" fmla="*/ 494522 w 681135"/>
                  <a:gd name="connsiteY21" fmla="*/ 737118 h 802432"/>
                  <a:gd name="connsiteX22" fmla="*/ 550506 w 681135"/>
                  <a:gd name="connsiteY22" fmla="*/ 802432 h 802432"/>
                  <a:gd name="connsiteX23" fmla="*/ 550506 w 681135"/>
                  <a:gd name="connsiteY23" fmla="*/ 802432 h 802432"/>
                  <a:gd name="connsiteX24" fmla="*/ 615820 w 681135"/>
                  <a:gd name="connsiteY24" fmla="*/ 746449 h 802432"/>
                  <a:gd name="connsiteX25" fmla="*/ 653143 w 681135"/>
                  <a:gd name="connsiteY25" fmla="*/ 737118 h 802432"/>
                  <a:gd name="connsiteX26" fmla="*/ 671804 w 681135"/>
                  <a:gd name="connsiteY26" fmla="*/ 709126 h 802432"/>
                  <a:gd name="connsiteX27" fmla="*/ 681135 w 681135"/>
                  <a:gd name="connsiteY27" fmla="*/ 699795 h 802432"/>
                  <a:gd name="connsiteX28" fmla="*/ 681135 w 681135"/>
                  <a:gd name="connsiteY28" fmla="*/ 699795 h 802432"/>
                  <a:gd name="connsiteX29" fmla="*/ 634482 w 681135"/>
                  <a:gd name="connsiteY29" fmla="*/ 634481 h 802432"/>
                  <a:gd name="connsiteX30" fmla="*/ 606490 w 681135"/>
                  <a:gd name="connsiteY30" fmla="*/ 615820 h 802432"/>
                  <a:gd name="connsiteX31" fmla="*/ 597159 w 681135"/>
                  <a:gd name="connsiteY31" fmla="*/ 587828 h 802432"/>
                  <a:gd name="connsiteX32" fmla="*/ 569167 w 681135"/>
                  <a:gd name="connsiteY32" fmla="*/ 559836 h 802432"/>
                  <a:gd name="connsiteX33" fmla="*/ 541176 w 681135"/>
                  <a:gd name="connsiteY33" fmla="*/ 503853 h 802432"/>
                  <a:gd name="connsiteX34" fmla="*/ 531845 w 681135"/>
                  <a:gd name="connsiteY34" fmla="*/ 475861 h 802432"/>
                  <a:gd name="connsiteX35" fmla="*/ 513184 w 681135"/>
                  <a:gd name="connsiteY35" fmla="*/ 447869 h 802432"/>
                  <a:gd name="connsiteX36" fmla="*/ 494522 w 681135"/>
                  <a:gd name="connsiteY36" fmla="*/ 391885 h 802432"/>
                  <a:gd name="connsiteX37" fmla="*/ 485192 w 681135"/>
                  <a:gd name="connsiteY37" fmla="*/ 354563 h 802432"/>
                  <a:gd name="connsiteX38" fmla="*/ 466531 w 681135"/>
                  <a:gd name="connsiteY38" fmla="*/ 326571 h 802432"/>
                  <a:gd name="connsiteX39" fmla="*/ 447869 w 681135"/>
                  <a:gd name="connsiteY39" fmla="*/ 270587 h 802432"/>
                  <a:gd name="connsiteX40" fmla="*/ 410547 w 681135"/>
                  <a:gd name="connsiteY40" fmla="*/ 214604 h 802432"/>
                  <a:gd name="connsiteX41" fmla="*/ 391886 w 681135"/>
                  <a:gd name="connsiteY41" fmla="*/ 195942 h 802432"/>
                  <a:gd name="connsiteX42" fmla="*/ 354563 w 681135"/>
                  <a:gd name="connsiteY42" fmla="*/ 149289 h 802432"/>
                  <a:gd name="connsiteX43" fmla="*/ 326571 w 681135"/>
                  <a:gd name="connsiteY43" fmla="*/ 102636 h 802432"/>
                  <a:gd name="connsiteX44" fmla="*/ 317241 w 681135"/>
                  <a:gd name="connsiteY44" fmla="*/ 74644 h 802432"/>
                  <a:gd name="connsiteX45" fmla="*/ 261257 w 681135"/>
                  <a:gd name="connsiteY45" fmla="*/ 37322 h 802432"/>
                  <a:gd name="connsiteX46" fmla="*/ 158620 w 681135"/>
                  <a:gd name="connsiteY46" fmla="*/ 46653 h 802432"/>
                  <a:gd name="connsiteX47" fmla="*/ 130629 w 681135"/>
                  <a:gd name="connsiteY47" fmla="*/ 55983 h 802432"/>
                  <a:gd name="connsiteX48" fmla="*/ 307910 w 681135"/>
                  <a:gd name="connsiteY48" fmla="*/ 233265 h 802432"/>
                  <a:gd name="connsiteX49" fmla="*/ 149290 w 681135"/>
                  <a:gd name="connsiteY49" fmla="*/ 65314 h 802432"/>
                  <a:gd name="connsiteX50" fmla="*/ 223935 w 681135"/>
                  <a:gd name="connsiteY50" fmla="*/ 298579 h 802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81135" h="802432">
                    <a:moveTo>
                      <a:pt x="205273" y="0"/>
                    </a:moveTo>
                    <a:lnTo>
                      <a:pt x="205273" y="0"/>
                    </a:lnTo>
                    <a:cubicBezTo>
                      <a:pt x="180392" y="9330"/>
                      <a:pt x="153415" y="14319"/>
                      <a:pt x="130629" y="27991"/>
                    </a:cubicBezTo>
                    <a:cubicBezTo>
                      <a:pt x="121013" y="33761"/>
                      <a:pt x="119897" y="48053"/>
                      <a:pt x="111967" y="55983"/>
                    </a:cubicBezTo>
                    <a:cubicBezTo>
                      <a:pt x="78078" y="89872"/>
                      <a:pt x="67583" y="60776"/>
                      <a:pt x="37322" y="121298"/>
                    </a:cubicBezTo>
                    <a:cubicBezTo>
                      <a:pt x="13646" y="168650"/>
                      <a:pt x="26376" y="147047"/>
                      <a:pt x="0" y="186612"/>
                    </a:cubicBezTo>
                    <a:cubicBezTo>
                      <a:pt x="6220" y="195943"/>
                      <a:pt x="9904" y="207599"/>
                      <a:pt x="18661" y="214604"/>
                    </a:cubicBezTo>
                    <a:cubicBezTo>
                      <a:pt x="26341" y="220748"/>
                      <a:pt x="39698" y="216979"/>
                      <a:pt x="46653" y="223934"/>
                    </a:cubicBezTo>
                    <a:cubicBezTo>
                      <a:pt x="53608" y="230889"/>
                      <a:pt x="49840" y="244246"/>
                      <a:pt x="55984" y="251926"/>
                    </a:cubicBezTo>
                    <a:cubicBezTo>
                      <a:pt x="69138" y="268368"/>
                      <a:pt x="93528" y="273771"/>
                      <a:pt x="111967" y="279918"/>
                    </a:cubicBezTo>
                    <a:cubicBezTo>
                      <a:pt x="115077" y="307910"/>
                      <a:pt x="113888" y="336721"/>
                      <a:pt x="121298" y="363893"/>
                    </a:cubicBezTo>
                    <a:cubicBezTo>
                      <a:pt x="123613" y="372380"/>
                      <a:pt x="134464" y="375686"/>
                      <a:pt x="139959" y="382555"/>
                    </a:cubicBezTo>
                    <a:cubicBezTo>
                      <a:pt x="146964" y="391312"/>
                      <a:pt x="151615" y="401790"/>
                      <a:pt x="158620" y="410547"/>
                    </a:cubicBezTo>
                    <a:cubicBezTo>
                      <a:pt x="178643" y="435575"/>
                      <a:pt x="178336" y="426319"/>
                      <a:pt x="205273" y="447869"/>
                    </a:cubicBezTo>
                    <a:cubicBezTo>
                      <a:pt x="212142" y="453364"/>
                      <a:pt x="216897" y="461252"/>
                      <a:pt x="223935" y="466530"/>
                    </a:cubicBezTo>
                    <a:cubicBezTo>
                      <a:pt x="241877" y="479987"/>
                      <a:pt x="264059" y="487994"/>
                      <a:pt x="279918" y="503853"/>
                    </a:cubicBezTo>
                    <a:cubicBezTo>
                      <a:pt x="343460" y="567391"/>
                      <a:pt x="244160" y="470536"/>
                      <a:pt x="326571" y="541175"/>
                    </a:cubicBezTo>
                    <a:cubicBezTo>
                      <a:pt x="339929" y="552625"/>
                      <a:pt x="351453" y="566057"/>
                      <a:pt x="363894" y="578498"/>
                    </a:cubicBezTo>
                    <a:lnTo>
                      <a:pt x="391886" y="606489"/>
                    </a:lnTo>
                    <a:cubicBezTo>
                      <a:pt x="400695" y="632919"/>
                      <a:pt x="400397" y="640209"/>
                      <a:pt x="419878" y="662473"/>
                    </a:cubicBezTo>
                    <a:cubicBezTo>
                      <a:pt x="434360" y="679024"/>
                      <a:pt x="450980" y="693575"/>
                      <a:pt x="466531" y="709126"/>
                    </a:cubicBezTo>
                    <a:cubicBezTo>
                      <a:pt x="475861" y="718457"/>
                      <a:pt x="487203" y="726139"/>
                      <a:pt x="494522" y="737118"/>
                    </a:cubicBezTo>
                    <a:cubicBezTo>
                      <a:pt x="535703" y="798888"/>
                      <a:pt x="511784" y="783072"/>
                      <a:pt x="550506" y="802432"/>
                    </a:cubicBezTo>
                    <a:lnTo>
                      <a:pt x="550506" y="802432"/>
                    </a:lnTo>
                    <a:cubicBezTo>
                      <a:pt x="572277" y="783771"/>
                      <a:pt x="591628" y="761844"/>
                      <a:pt x="615820" y="746449"/>
                    </a:cubicBezTo>
                    <a:cubicBezTo>
                      <a:pt x="626639" y="739564"/>
                      <a:pt x="642473" y="744231"/>
                      <a:pt x="653143" y="737118"/>
                    </a:cubicBezTo>
                    <a:cubicBezTo>
                      <a:pt x="662474" y="730898"/>
                      <a:pt x="665076" y="718097"/>
                      <a:pt x="671804" y="709126"/>
                    </a:cubicBezTo>
                    <a:cubicBezTo>
                      <a:pt x="674443" y="705607"/>
                      <a:pt x="678025" y="702905"/>
                      <a:pt x="681135" y="699795"/>
                    </a:cubicBezTo>
                    <a:lnTo>
                      <a:pt x="681135" y="699795"/>
                    </a:lnTo>
                    <a:cubicBezTo>
                      <a:pt x="665584" y="678024"/>
                      <a:pt x="652257" y="654478"/>
                      <a:pt x="634482" y="634481"/>
                    </a:cubicBezTo>
                    <a:cubicBezTo>
                      <a:pt x="627032" y="626100"/>
                      <a:pt x="613495" y="624577"/>
                      <a:pt x="606490" y="615820"/>
                    </a:cubicBezTo>
                    <a:cubicBezTo>
                      <a:pt x="600346" y="608140"/>
                      <a:pt x="602615" y="596012"/>
                      <a:pt x="597159" y="587828"/>
                    </a:cubicBezTo>
                    <a:cubicBezTo>
                      <a:pt x="589839" y="576849"/>
                      <a:pt x="578498" y="569167"/>
                      <a:pt x="569167" y="559836"/>
                    </a:cubicBezTo>
                    <a:cubicBezTo>
                      <a:pt x="545718" y="489484"/>
                      <a:pt x="577348" y="576195"/>
                      <a:pt x="541176" y="503853"/>
                    </a:cubicBezTo>
                    <a:cubicBezTo>
                      <a:pt x="536777" y="495056"/>
                      <a:pt x="536244" y="484658"/>
                      <a:pt x="531845" y="475861"/>
                    </a:cubicBezTo>
                    <a:cubicBezTo>
                      <a:pt x="526830" y="465831"/>
                      <a:pt x="517738" y="458116"/>
                      <a:pt x="513184" y="447869"/>
                    </a:cubicBezTo>
                    <a:cubicBezTo>
                      <a:pt x="505195" y="429894"/>
                      <a:pt x="499293" y="410969"/>
                      <a:pt x="494522" y="391885"/>
                    </a:cubicBezTo>
                    <a:cubicBezTo>
                      <a:pt x="491412" y="379444"/>
                      <a:pt x="490243" y="366350"/>
                      <a:pt x="485192" y="354563"/>
                    </a:cubicBezTo>
                    <a:cubicBezTo>
                      <a:pt x="480775" y="344256"/>
                      <a:pt x="471085" y="336818"/>
                      <a:pt x="466531" y="326571"/>
                    </a:cubicBezTo>
                    <a:cubicBezTo>
                      <a:pt x="458542" y="308596"/>
                      <a:pt x="458780" y="286954"/>
                      <a:pt x="447869" y="270587"/>
                    </a:cubicBezTo>
                    <a:cubicBezTo>
                      <a:pt x="435428" y="251926"/>
                      <a:pt x="426405" y="230463"/>
                      <a:pt x="410547" y="214604"/>
                    </a:cubicBezTo>
                    <a:cubicBezTo>
                      <a:pt x="404327" y="208383"/>
                      <a:pt x="397381" y="202811"/>
                      <a:pt x="391886" y="195942"/>
                    </a:cubicBezTo>
                    <a:cubicBezTo>
                      <a:pt x="344809" y="137095"/>
                      <a:pt x="399619" y="194345"/>
                      <a:pt x="354563" y="149289"/>
                    </a:cubicBezTo>
                    <a:cubicBezTo>
                      <a:pt x="328133" y="69995"/>
                      <a:pt x="364995" y="166677"/>
                      <a:pt x="326571" y="102636"/>
                    </a:cubicBezTo>
                    <a:cubicBezTo>
                      <a:pt x="321511" y="94202"/>
                      <a:pt x="322697" y="82827"/>
                      <a:pt x="317241" y="74644"/>
                    </a:cubicBezTo>
                    <a:cubicBezTo>
                      <a:pt x="297273" y="44691"/>
                      <a:pt x="290603" y="47104"/>
                      <a:pt x="261257" y="37322"/>
                    </a:cubicBezTo>
                    <a:cubicBezTo>
                      <a:pt x="227045" y="40432"/>
                      <a:pt x="192628" y="41795"/>
                      <a:pt x="158620" y="46653"/>
                    </a:cubicBezTo>
                    <a:cubicBezTo>
                      <a:pt x="148884" y="48044"/>
                      <a:pt x="130629" y="55983"/>
                      <a:pt x="130629" y="55983"/>
                    </a:cubicBezTo>
                    <a:lnTo>
                      <a:pt x="307910" y="233265"/>
                    </a:lnTo>
                    <a:lnTo>
                      <a:pt x="149290" y="65314"/>
                    </a:lnTo>
                    <a:lnTo>
                      <a:pt x="223935" y="298579"/>
                    </a:lnTo>
                  </a:path>
                </a:pathLst>
              </a:custGeom>
              <a:solidFill>
                <a:srgbClr val="AB0D67"/>
              </a:solidFill>
              <a:ln>
                <a:solidFill>
                  <a:srgbClr val="AB0D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solidFill>
                      <a:srgbClr val="AB0D67"/>
                    </a:solidFill>
                  </a:ln>
                  <a:solidFill>
                    <a:prstClr val="white"/>
                  </a:solidFill>
                  <a:effectLst/>
                  <a:uLnTx/>
                  <a:uFillTx/>
                  <a:latin typeface="Calibri" panose="020F0502020204030204"/>
                  <a:ea typeface="+mn-ea"/>
                  <a:cs typeface="+mn-cs"/>
                </a:endParaRPr>
              </a:p>
            </p:txBody>
          </p:sp>
          <p:sp>
            <p:nvSpPr>
              <p:cNvPr id="142" name="Freeform: Shape 141">
                <a:extLst>
                  <a:ext uri="{FF2B5EF4-FFF2-40B4-BE49-F238E27FC236}">
                    <a16:creationId xmlns:a16="http://schemas.microsoft.com/office/drawing/2014/main" xmlns="" id="{4862B8FC-51A1-475A-BE5A-7DF370301C7D}"/>
                  </a:ext>
                </a:extLst>
              </p:cNvPr>
              <p:cNvSpPr/>
              <p:nvPr/>
            </p:nvSpPr>
            <p:spPr>
              <a:xfrm rot="1989982">
                <a:off x="4347258" y="4543753"/>
                <a:ext cx="215558" cy="252467"/>
              </a:xfrm>
              <a:custGeom>
                <a:avLst/>
                <a:gdLst>
                  <a:gd name="connsiteX0" fmla="*/ 205273 w 681135"/>
                  <a:gd name="connsiteY0" fmla="*/ 0 h 802432"/>
                  <a:gd name="connsiteX1" fmla="*/ 205273 w 681135"/>
                  <a:gd name="connsiteY1" fmla="*/ 0 h 802432"/>
                  <a:gd name="connsiteX2" fmla="*/ 130629 w 681135"/>
                  <a:gd name="connsiteY2" fmla="*/ 27991 h 802432"/>
                  <a:gd name="connsiteX3" fmla="*/ 111967 w 681135"/>
                  <a:gd name="connsiteY3" fmla="*/ 55983 h 802432"/>
                  <a:gd name="connsiteX4" fmla="*/ 37322 w 681135"/>
                  <a:gd name="connsiteY4" fmla="*/ 121298 h 802432"/>
                  <a:gd name="connsiteX5" fmla="*/ 0 w 681135"/>
                  <a:gd name="connsiteY5" fmla="*/ 186612 h 802432"/>
                  <a:gd name="connsiteX6" fmla="*/ 18661 w 681135"/>
                  <a:gd name="connsiteY6" fmla="*/ 214604 h 802432"/>
                  <a:gd name="connsiteX7" fmla="*/ 46653 w 681135"/>
                  <a:gd name="connsiteY7" fmla="*/ 223934 h 802432"/>
                  <a:gd name="connsiteX8" fmla="*/ 55984 w 681135"/>
                  <a:gd name="connsiteY8" fmla="*/ 251926 h 802432"/>
                  <a:gd name="connsiteX9" fmla="*/ 111967 w 681135"/>
                  <a:gd name="connsiteY9" fmla="*/ 279918 h 802432"/>
                  <a:gd name="connsiteX10" fmla="*/ 121298 w 681135"/>
                  <a:gd name="connsiteY10" fmla="*/ 363893 h 802432"/>
                  <a:gd name="connsiteX11" fmla="*/ 139959 w 681135"/>
                  <a:gd name="connsiteY11" fmla="*/ 382555 h 802432"/>
                  <a:gd name="connsiteX12" fmla="*/ 158620 w 681135"/>
                  <a:gd name="connsiteY12" fmla="*/ 410547 h 802432"/>
                  <a:gd name="connsiteX13" fmla="*/ 205273 w 681135"/>
                  <a:gd name="connsiteY13" fmla="*/ 447869 h 802432"/>
                  <a:gd name="connsiteX14" fmla="*/ 223935 w 681135"/>
                  <a:gd name="connsiteY14" fmla="*/ 466530 h 802432"/>
                  <a:gd name="connsiteX15" fmla="*/ 279918 w 681135"/>
                  <a:gd name="connsiteY15" fmla="*/ 503853 h 802432"/>
                  <a:gd name="connsiteX16" fmla="*/ 326571 w 681135"/>
                  <a:gd name="connsiteY16" fmla="*/ 541175 h 802432"/>
                  <a:gd name="connsiteX17" fmla="*/ 363894 w 681135"/>
                  <a:gd name="connsiteY17" fmla="*/ 578498 h 802432"/>
                  <a:gd name="connsiteX18" fmla="*/ 391886 w 681135"/>
                  <a:gd name="connsiteY18" fmla="*/ 606489 h 802432"/>
                  <a:gd name="connsiteX19" fmla="*/ 419878 w 681135"/>
                  <a:gd name="connsiteY19" fmla="*/ 662473 h 802432"/>
                  <a:gd name="connsiteX20" fmla="*/ 466531 w 681135"/>
                  <a:gd name="connsiteY20" fmla="*/ 709126 h 802432"/>
                  <a:gd name="connsiteX21" fmla="*/ 494522 w 681135"/>
                  <a:gd name="connsiteY21" fmla="*/ 737118 h 802432"/>
                  <a:gd name="connsiteX22" fmla="*/ 550506 w 681135"/>
                  <a:gd name="connsiteY22" fmla="*/ 802432 h 802432"/>
                  <a:gd name="connsiteX23" fmla="*/ 550506 w 681135"/>
                  <a:gd name="connsiteY23" fmla="*/ 802432 h 802432"/>
                  <a:gd name="connsiteX24" fmla="*/ 615820 w 681135"/>
                  <a:gd name="connsiteY24" fmla="*/ 746449 h 802432"/>
                  <a:gd name="connsiteX25" fmla="*/ 653143 w 681135"/>
                  <a:gd name="connsiteY25" fmla="*/ 737118 h 802432"/>
                  <a:gd name="connsiteX26" fmla="*/ 671804 w 681135"/>
                  <a:gd name="connsiteY26" fmla="*/ 709126 h 802432"/>
                  <a:gd name="connsiteX27" fmla="*/ 681135 w 681135"/>
                  <a:gd name="connsiteY27" fmla="*/ 699795 h 802432"/>
                  <a:gd name="connsiteX28" fmla="*/ 681135 w 681135"/>
                  <a:gd name="connsiteY28" fmla="*/ 699795 h 802432"/>
                  <a:gd name="connsiteX29" fmla="*/ 634482 w 681135"/>
                  <a:gd name="connsiteY29" fmla="*/ 634481 h 802432"/>
                  <a:gd name="connsiteX30" fmla="*/ 606490 w 681135"/>
                  <a:gd name="connsiteY30" fmla="*/ 615820 h 802432"/>
                  <a:gd name="connsiteX31" fmla="*/ 597159 w 681135"/>
                  <a:gd name="connsiteY31" fmla="*/ 587828 h 802432"/>
                  <a:gd name="connsiteX32" fmla="*/ 569167 w 681135"/>
                  <a:gd name="connsiteY32" fmla="*/ 559836 h 802432"/>
                  <a:gd name="connsiteX33" fmla="*/ 541176 w 681135"/>
                  <a:gd name="connsiteY33" fmla="*/ 503853 h 802432"/>
                  <a:gd name="connsiteX34" fmla="*/ 531845 w 681135"/>
                  <a:gd name="connsiteY34" fmla="*/ 475861 h 802432"/>
                  <a:gd name="connsiteX35" fmla="*/ 513184 w 681135"/>
                  <a:gd name="connsiteY35" fmla="*/ 447869 h 802432"/>
                  <a:gd name="connsiteX36" fmla="*/ 494522 w 681135"/>
                  <a:gd name="connsiteY36" fmla="*/ 391885 h 802432"/>
                  <a:gd name="connsiteX37" fmla="*/ 485192 w 681135"/>
                  <a:gd name="connsiteY37" fmla="*/ 354563 h 802432"/>
                  <a:gd name="connsiteX38" fmla="*/ 466531 w 681135"/>
                  <a:gd name="connsiteY38" fmla="*/ 326571 h 802432"/>
                  <a:gd name="connsiteX39" fmla="*/ 447869 w 681135"/>
                  <a:gd name="connsiteY39" fmla="*/ 270587 h 802432"/>
                  <a:gd name="connsiteX40" fmla="*/ 410547 w 681135"/>
                  <a:gd name="connsiteY40" fmla="*/ 214604 h 802432"/>
                  <a:gd name="connsiteX41" fmla="*/ 391886 w 681135"/>
                  <a:gd name="connsiteY41" fmla="*/ 195942 h 802432"/>
                  <a:gd name="connsiteX42" fmla="*/ 354563 w 681135"/>
                  <a:gd name="connsiteY42" fmla="*/ 149289 h 802432"/>
                  <a:gd name="connsiteX43" fmla="*/ 326571 w 681135"/>
                  <a:gd name="connsiteY43" fmla="*/ 102636 h 802432"/>
                  <a:gd name="connsiteX44" fmla="*/ 317241 w 681135"/>
                  <a:gd name="connsiteY44" fmla="*/ 74644 h 802432"/>
                  <a:gd name="connsiteX45" fmla="*/ 261257 w 681135"/>
                  <a:gd name="connsiteY45" fmla="*/ 37322 h 802432"/>
                  <a:gd name="connsiteX46" fmla="*/ 158620 w 681135"/>
                  <a:gd name="connsiteY46" fmla="*/ 46653 h 802432"/>
                  <a:gd name="connsiteX47" fmla="*/ 130629 w 681135"/>
                  <a:gd name="connsiteY47" fmla="*/ 55983 h 802432"/>
                  <a:gd name="connsiteX48" fmla="*/ 307910 w 681135"/>
                  <a:gd name="connsiteY48" fmla="*/ 233265 h 802432"/>
                  <a:gd name="connsiteX49" fmla="*/ 149290 w 681135"/>
                  <a:gd name="connsiteY49" fmla="*/ 65314 h 802432"/>
                  <a:gd name="connsiteX50" fmla="*/ 223935 w 681135"/>
                  <a:gd name="connsiteY50" fmla="*/ 298579 h 802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81135" h="802432">
                    <a:moveTo>
                      <a:pt x="205273" y="0"/>
                    </a:moveTo>
                    <a:lnTo>
                      <a:pt x="205273" y="0"/>
                    </a:lnTo>
                    <a:cubicBezTo>
                      <a:pt x="180392" y="9330"/>
                      <a:pt x="153415" y="14319"/>
                      <a:pt x="130629" y="27991"/>
                    </a:cubicBezTo>
                    <a:cubicBezTo>
                      <a:pt x="121013" y="33761"/>
                      <a:pt x="119897" y="48053"/>
                      <a:pt x="111967" y="55983"/>
                    </a:cubicBezTo>
                    <a:cubicBezTo>
                      <a:pt x="78078" y="89872"/>
                      <a:pt x="67583" y="60776"/>
                      <a:pt x="37322" y="121298"/>
                    </a:cubicBezTo>
                    <a:cubicBezTo>
                      <a:pt x="13646" y="168650"/>
                      <a:pt x="26376" y="147047"/>
                      <a:pt x="0" y="186612"/>
                    </a:cubicBezTo>
                    <a:cubicBezTo>
                      <a:pt x="6220" y="195943"/>
                      <a:pt x="9904" y="207599"/>
                      <a:pt x="18661" y="214604"/>
                    </a:cubicBezTo>
                    <a:cubicBezTo>
                      <a:pt x="26341" y="220748"/>
                      <a:pt x="39698" y="216979"/>
                      <a:pt x="46653" y="223934"/>
                    </a:cubicBezTo>
                    <a:cubicBezTo>
                      <a:pt x="53608" y="230889"/>
                      <a:pt x="49840" y="244246"/>
                      <a:pt x="55984" y="251926"/>
                    </a:cubicBezTo>
                    <a:cubicBezTo>
                      <a:pt x="69138" y="268368"/>
                      <a:pt x="93528" y="273771"/>
                      <a:pt x="111967" y="279918"/>
                    </a:cubicBezTo>
                    <a:cubicBezTo>
                      <a:pt x="115077" y="307910"/>
                      <a:pt x="113888" y="336721"/>
                      <a:pt x="121298" y="363893"/>
                    </a:cubicBezTo>
                    <a:cubicBezTo>
                      <a:pt x="123613" y="372380"/>
                      <a:pt x="134464" y="375686"/>
                      <a:pt x="139959" y="382555"/>
                    </a:cubicBezTo>
                    <a:cubicBezTo>
                      <a:pt x="146964" y="391312"/>
                      <a:pt x="151615" y="401790"/>
                      <a:pt x="158620" y="410547"/>
                    </a:cubicBezTo>
                    <a:cubicBezTo>
                      <a:pt x="178643" y="435575"/>
                      <a:pt x="178336" y="426319"/>
                      <a:pt x="205273" y="447869"/>
                    </a:cubicBezTo>
                    <a:cubicBezTo>
                      <a:pt x="212142" y="453364"/>
                      <a:pt x="216897" y="461252"/>
                      <a:pt x="223935" y="466530"/>
                    </a:cubicBezTo>
                    <a:cubicBezTo>
                      <a:pt x="241877" y="479987"/>
                      <a:pt x="264059" y="487994"/>
                      <a:pt x="279918" y="503853"/>
                    </a:cubicBezTo>
                    <a:cubicBezTo>
                      <a:pt x="343460" y="567391"/>
                      <a:pt x="244160" y="470536"/>
                      <a:pt x="326571" y="541175"/>
                    </a:cubicBezTo>
                    <a:cubicBezTo>
                      <a:pt x="339929" y="552625"/>
                      <a:pt x="351453" y="566057"/>
                      <a:pt x="363894" y="578498"/>
                    </a:cubicBezTo>
                    <a:lnTo>
                      <a:pt x="391886" y="606489"/>
                    </a:lnTo>
                    <a:cubicBezTo>
                      <a:pt x="400695" y="632919"/>
                      <a:pt x="400397" y="640209"/>
                      <a:pt x="419878" y="662473"/>
                    </a:cubicBezTo>
                    <a:cubicBezTo>
                      <a:pt x="434360" y="679024"/>
                      <a:pt x="450980" y="693575"/>
                      <a:pt x="466531" y="709126"/>
                    </a:cubicBezTo>
                    <a:cubicBezTo>
                      <a:pt x="475861" y="718457"/>
                      <a:pt x="487203" y="726139"/>
                      <a:pt x="494522" y="737118"/>
                    </a:cubicBezTo>
                    <a:cubicBezTo>
                      <a:pt x="535703" y="798888"/>
                      <a:pt x="511784" y="783072"/>
                      <a:pt x="550506" y="802432"/>
                    </a:cubicBezTo>
                    <a:lnTo>
                      <a:pt x="550506" y="802432"/>
                    </a:lnTo>
                    <a:cubicBezTo>
                      <a:pt x="572277" y="783771"/>
                      <a:pt x="591628" y="761844"/>
                      <a:pt x="615820" y="746449"/>
                    </a:cubicBezTo>
                    <a:cubicBezTo>
                      <a:pt x="626639" y="739564"/>
                      <a:pt x="642473" y="744231"/>
                      <a:pt x="653143" y="737118"/>
                    </a:cubicBezTo>
                    <a:cubicBezTo>
                      <a:pt x="662474" y="730898"/>
                      <a:pt x="665076" y="718097"/>
                      <a:pt x="671804" y="709126"/>
                    </a:cubicBezTo>
                    <a:cubicBezTo>
                      <a:pt x="674443" y="705607"/>
                      <a:pt x="678025" y="702905"/>
                      <a:pt x="681135" y="699795"/>
                    </a:cubicBezTo>
                    <a:lnTo>
                      <a:pt x="681135" y="699795"/>
                    </a:lnTo>
                    <a:cubicBezTo>
                      <a:pt x="665584" y="678024"/>
                      <a:pt x="652257" y="654478"/>
                      <a:pt x="634482" y="634481"/>
                    </a:cubicBezTo>
                    <a:cubicBezTo>
                      <a:pt x="627032" y="626100"/>
                      <a:pt x="613495" y="624577"/>
                      <a:pt x="606490" y="615820"/>
                    </a:cubicBezTo>
                    <a:cubicBezTo>
                      <a:pt x="600346" y="608140"/>
                      <a:pt x="602615" y="596012"/>
                      <a:pt x="597159" y="587828"/>
                    </a:cubicBezTo>
                    <a:cubicBezTo>
                      <a:pt x="589839" y="576849"/>
                      <a:pt x="578498" y="569167"/>
                      <a:pt x="569167" y="559836"/>
                    </a:cubicBezTo>
                    <a:cubicBezTo>
                      <a:pt x="545718" y="489484"/>
                      <a:pt x="577348" y="576195"/>
                      <a:pt x="541176" y="503853"/>
                    </a:cubicBezTo>
                    <a:cubicBezTo>
                      <a:pt x="536777" y="495056"/>
                      <a:pt x="536244" y="484658"/>
                      <a:pt x="531845" y="475861"/>
                    </a:cubicBezTo>
                    <a:cubicBezTo>
                      <a:pt x="526830" y="465831"/>
                      <a:pt x="517738" y="458116"/>
                      <a:pt x="513184" y="447869"/>
                    </a:cubicBezTo>
                    <a:cubicBezTo>
                      <a:pt x="505195" y="429894"/>
                      <a:pt x="499293" y="410969"/>
                      <a:pt x="494522" y="391885"/>
                    </a:cubicBezTo>
                    <a:cubicBezTo>
                      <a:pt x="491412" y="379444"/>
                      <a:pt x="490243" y="366350"/>
                      <a:pt x="485192" y="354563"/>
                    </a:cubicBezTo>
                    <a:cubicBezTo>
                      <a:pt x="480775" y="344256"/>
                      <a:pt x="471085" y="336818"/>
                      <a:pt x="466531" y="326571"/>
                    </a:cubicBezTo>
                    <a:cubicBezTo>
                      <a:pt x="458542" y="308596"/>
                      <a:pt x="458780" y="286954"/>
                      <a:pt x="447869" y="270587"/>
                    </a:cubicBezTo>
                    <a:cubicBezTo>
                      <a:pt x="435428" y="251926"/>
                      <a:pt x="426405" y="230463"/>
                      <a:pt x="410547" y="214604"/>
                    </a:cubicBezTo>
                    <a:cubicBezTo>
                      <a:pt x="404327" y="208383"/>
                      <a:pt x="397381" y="202811"/>
                      <a:pt x="391886" y="195942"/>
                    </a:cubicBezTo>
                    <a:cubicBezTo>
                      <a:pt x="344809" y="137095"/>
                      <a:pt x="399619" y="194345"/>
                      <a:pt x="354563" y="149289"/>
                    </a:cubicBezTo>
                    <a:cubicBezTo>
                      <a:pt x="328133" y="69995"/>
                      <a:pt x="364995" y="166677"/>
                      <a:pt x="326571" y="102636"/>
                    </a:cubicBezTo>
                    <a:cubicBezTo>
                      <a:pt x="321511" y="94202"/>
                      <a:pt x="322697" y="82827"/>
                      <a:pt x="317241" y="74644"/>
                    </a:cubicBezTo>
                    <a:cubicBezTo>
                      <a:pt x="297273" y="44691"/>
                      <a:pt x="290603" y="47104"/>
                      <a:pt x="261257" y="37322"/>
                    </a:cubicBezTo>
                    <a:cubicBezTo>
                      <a:pt x="227045" y="40432"/>
                      <a:pt x="192628" y="41795"/>
                      <a:pt x="158620" y="46653"/>
                    </a:cubicBezTo>
                    <a:cubicBezTo>
                      <a:pt x="148884" y="48044"/>
                      <a:pt x="130629" y="55983"/>
                      <a:pt x="130629" y="55983"/>
                    </a:cubicBezTo>
                    <a:lnTo>
                      <a:pt x="307910" y="233265"/>
                    </a:lnTo>
                    <a:lnTo>
                      <a:pt x="149290" y="65314"/>
                    </a:lnTo>
                    <a:lnTo>
                      <a:pt x="223935" y="298579"/>
                    </a:lnTo>
                  </a:path>
                </a:pathLst>
              </a:custGeom>
              <a:solidFill>
                <a:srgbClr val="AB0D67"/>
              </a:solidFill>
              <a:ln>
                <a:solidFill>
                  <a:srgbClr val="AB0D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solidFill>
                      <a:srgbClr val="AB0D67"/>
                    </a:solidFill>
                  </a:ln>
                  <a:solidFill>
                    <a:prstClr val="white"/>
                  </a:solidFill>
                  <a:effectLst/>
                  <a:uLnTx/>
                  <a:uFillTx/>
                  <a:latin typeface="Calibri" panose="020F0502020204030204"/>
                  <a:ea typeface="+mn-ea"/>
                  <a:cs typeface="+mn-cs"/>
                </a:endParaRPr>
              </a:p>
            </p:txBody>
          </p:sp>
          <p:sp>
            <p:nvSpPr>
              <p:cNvPr id="190" name="Freeform: Shape 189">
                <a:extLst>
                  <a:ext uri="{FF2B5EF4-FFF2-40B4-BE49-F238E27FC236}">
                    <a16:creationId xmlns:a16="http://schemas.microsoft.com/office/drawing/2014/main" xmlns="" id="{1149C45F-1D8D-4F67-968C-6D9EB778AA73}"/>
                  </a:ext>
                </a:extLst>
              </p:cNvPr>
              <p:cNvSpPr/>
              <p:nvPr/>
            </p:nvSpPr>
            <p:spPr>
              <a:xfrm rot="7438659">
                <a:off x="4080793" y="5286512"/>
                <a:ext cx="247108" cy="53928"/>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sp>
            <p:nvSpPr>
              <p:cNvPr id="191" name="Freeform: Shape 190">
                <a:extLst>
                  <a:ext uri="{FF2B5EF4-FFF2-40B4-BE49-F238E27FC236}">
                    <a16:creationId xmlns:a16="http://schemas.microsoft.com/office/drawing/2014/main" xmlns="" id="{12459088-009F-4C80-B979-94EB11AFCA36}"/>
                  </a:ext>
                </a:extLst>
              </p:cNvPr>
              <p:cNvSpPr/>
              <p:nvPr/>
            </p:nvSpPr>
            <p:spPr>
              <a:xfrm rot="7438659">
                <a:off x="4233193" y="5438912"/>
                <a:ext cx="247108" cy="53928"/>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sp>
            <p:nvSpPr>
              <p:cNvPr id="192" name="Freeform: Shape 191">
                <a:extLst>
                  <a:ext uri="{FF2B5EF4-FFF2-40B4-BE49-F238E27FC236}">
                    <a16:creationId xmlns:a16="http://schemas.microsoft.com/office/drawing/2014/main" xmlns="" id="{D1491ECF-395A-44E2-95C2-C19F76B61542}"/>
                  </a:ext>
                </a:extLst>
              </p:cNvPr>
              <p:cNvSpPr/>
              <p:nvPr/>
            </p:nvSpPr>
            <p:spPr>
              <a:xfrm rot="7438659">
                <a:off x="4385593" y="5591312"/>
                <a:ext cx="247108" cy="53928"/>
              </a:xfrm>
              <a:custGeom>
                <a:avLst/>
                <a:gdLst>
                  <a:gd name="connsiteX0" fmla="*/ 0 w 743082"/>
                  <a:gd name="connsiteY0" fmla="*/ 32673 h 471740"/>
                  <a:gd name="connsiteX1" fmla="*/ 73152 w 743082"/>
                  <a:gd name="connsiteY1" fmla="*/ 197265 h 471740"/>
                  <a:gd name="connsiteX2" fmla="*/ 128016 w 743082"/>
                  <a:gd name="connsiteY2" fmla="*/ 188121 h 471740"/>
                  <a:gd name="connsiteX3" fmla="*/ 192024 w 743082"/>
                  <a:gd name="connsiteY3" fmla="*/ 5241 h 471740"/>
                  <a:gd name="connsiteX4" fmla="*/ 448056 w 743082"/>
                  <a:gd name="connsiteY4" fmla="*/ 69249 h 471740"/>
                  <a:gd name="connsiteX5" fmla="*/ 429768 w 743082"/>
                  <a:gd name="connsiteY5" fmla="*/ 270417 h 471740"/>
                  <a:gd name="connsiteX6" fmla="*/ 612648 w 743082"/>
                  <a:gd name="connsiteY6" fmla="*/ 206409 h 471740"/>
                  <a:gd name="connsiteX7" fmla="*/ 557784 w 743082"/>
                  <a:gd name="connsiteY7" fmla="*/ 343569 h 471740"/>
                  <a:gd name="connsiteX8" fmla="*/ 740664 w 743082"/>
                  <a:gd name="connsiteY8" fmla="*/ 297849 h 471740"/>
                  <a:gd name="connsiteX9" fmla="*/ 667512 w 743082"/>
                  <a:gd name="connsiteY9" fmla="*/ 444153 h 471740"/>
                  <a:gd name="connsiteX10" fmla="*/ 685800 w 743082"/>
                  <a:gd name="connsiteY10" fmla="*/ 471585 h 471740"/>
                  <a:gd name="connsiteX11" fmla="*/ 694944 w 743082"/>
                  <a:gd name="connsiteY11" fmla="*/ 453297 h 47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3082" h="471740">
                    <a:moveTo>
                      <a:pt x="0" y="32673"/>
                    </a:moveTo>
                    <a:cubicBezTo>
                      <a:pt x="25908" y="102015"/>
                      <a:pt x="51816" y="171357"/>
                      <a:pt x="73152" y="197265"/>
                    </a:cubicBezTo>
                    <a:cubicBezTo>
                      <a:pt x="94488" y="223173"/>
                      <a:pt x="108204" y="220125"/>
                      <a:pt x="128016" y="188121"/>
                    </a:cubicBezTo>
                    <a:cubicBezTo>
                      <a:pt x="147828" y="156117"/>
                      <a:pt x="138684" y="25053"/>
                      <a:pt x="192024" y="5241"/>
                    </a:cubicBezTo>
                    <a:cubicBezTo>
                      <a:pt x="245364" y="-14571"/>
                      <a:pt x="408432" y="25053"/>
                      <a:pt x="448056" y="69249"/>
                    </a:cubicBezTo>
                    <a:cubicBezTo>
                      <a:pt x="487680" y="113445"/>
                      <a:pt x="402336" y="247557"/>
                      <a:pt x="429768" y="270417"/>
                    </a:cubicBezTo>
                    <a:cubicBezTo>
                      <a:pt x="457200" y="293277"/>
                      <a:pt x="591312" y="194217"/>
                      <a:pt x="612648" y="206409"/>
                    </a:cubicBezTo>
                    <a:cubicBezTo>
                      <a:pt x="633984" y="218601"/>
                      <a:pt x="536448" y="328329"/>
                      <a:pt x="557784" y="343569"/>
                    </a:cubicBezTo>
                    <a:cubicBezTo>
                      <a:pt x="579120" y="358809"/>
                      <a:pt x="722376" y="281085"/>
                      <a:pt x="740664" y="297849"/>
                    </a:cubicBezTo>
                    <a:cubicBezTo>
                      <a:pt x="758952" y="314613"/>
                      <a:pt x="667512" y="444153"/>
                      <a:pt x="667512" y="444153"/>
                    </a:cubicBezTo>
                    <a:cubicBezTo>
                      <a:pt x="658368" y="473109"/>
                      <a:pt x="681228" y="470061"/>
                      <a:pt x="685800" y="471585"/>
                    </a:cubicBezTo>
                    <a:cubicBezTo>
                      <a:pt x="690372" y="473109"/>
                      <a:pt x="692658" y="463203"/>
                      <a:pt x="694944" y="453297"/>
                    </a:cubicBezTo>
                  </a:path>
                </a:pathLst>
              </a:cu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w="12700">
                    <a:solidFill>
                      <a:srgbClr val="4472C4">
                        <a:lumMod val="50000"/>
                      </a:srgbClr>
                    </a:solidFill>
                  </a:ln>
                  <a:solidFill>
                    <a:prstClr val="white"/>
                  </a:solidFill>
                  <a:effectLst/>
                  <a:uLnTx/>
                  <a:uFillTx/>
                  <a:latin typeface="Calibri" panose="020F0502020204030204"/>
                  <a:ea typeface="+mn-ea"/>
                  <a:cs typeface="+mn-cs"/>
                </a:endParaRPr>
              </a:p>
            </p:txBody>
          </p:sp>
          <p:sp>
            <p:nvSpPr>
              <p:cNvPr id="193" name="TextBox 192">
                <a:extLst>
                  <a:ext uri="{FF2B5EF4-FFF2-40B4-BE49-F238E27FC236}">
                    <a16:creationId xmlns:a16="http://schemas.microsoft.com/office/drawing/2014/main" xmlns="" id="{10130B45-2110-4B00-9E8A-712C47C09D9D}"/>
                  </a:ext>
                </a:extLst>
              </p:cNvPr>
              <p:cNvSpPr txBox="1"/>
              <p:nvPr/>
            </p:nvSpPr>
            <p:spPr>
              <a:xfrm rot="5989403">
                <a:off x="4162510" y="4132011"/>
                <a:ext cx="279695" cy="615553"/>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2400" b="1" i="0" u="none" strike="noStrike" kern="1200" cap="none" spc="0" normalizeH="0" baseline="0" noProof="0" dirty="0">
                    <a:ln>
                      <a:noFill/>
                    </a:ln>
                    <a:solidFill>
                      <a:srgbClr val="5B9BD5">
                        <a:lumMod val="40000"/>
                        <a:lumOff val="60000"/>
                      </a:srgbClr>
                    </a:solidFill>
                    <a:effectLst/>
                    <a:uLnTx/>
                    <a:uFillTx/>
                    <a:latin typeface="Sofia pro"/>
                    <a:ea typeface="+mn-ea"/>
                    <a:cs typeface="+mn-cs"/>
                  </a:rPr>
                  <a:t>Y</a:t>
                </a:r>
                <a:endParaRPr kumimoji="0" lang="en-ZA" sz="2400" b="1" i="0" u="none" strike="noStrike" kern="1200" cap="none" spc="0" normalizeH="0" baseline="0" noProof="0" dirty="0">
                  <a:ln>
                    <a:noFill/>
                  </a:ln>
                  <a:solidFill>
                    <a:srgbClr val="5B9BD5">
                      <a:lumMod val="40000"/>
                      <a:lumOff val="60000"/>
                    </a:srgbClr>
                  </a:solidFill>
                  <a:effectLst/>
                  <a:uLnTx/>
                  <a:uFillTx/>
                  <a:latin typeface="Calibri" panose="020F0502020204030204"/>
                  <a:ea typeface="+mn-ea"/>
                  <a:cs typeface="+mn-cs"/>
                </a:endParaRPr>
              </a:p>
            </p:txBody>
          </p:sp>
        </p:grpSp>
        <p:cxnSp>
          <p:nvCxnSpPr>
            <p:cNvPr id="215" name="Straight Arrow Connector 214">
              <a:extLst>
                <a:ext uri="{FF2B5EF4-FFF2-40B4-BE49-F238E27FC236}">
                  <a16:creationId xmlns:a16="http://schemas.microsoft.com/office/drawing/2014/main" xmlns="" id="{DD3E8634-554D-4699-A36A-D528561B2248}"/>
                </a:ext>
              </a:extLst>
            </p:cNvPr>
            <p:cNvCxnSpPr>
              <a:cxnSpLocks/>
            </p:cNvCxnSpPr>
            <p:nvPr/>
          </p:nvCxnSpPr>
          <p:spPr>
            <a:xfrm flipH="1">
              <a:off x="5639693" y="5254594"/>
              <a:ext cx="533760" cy="162261"/>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grpSp>
      <p:sp>
        <p:nvSpPr>
          <p:cNvPr id="217" name="TextBox 216">
            <a:extLst>
              <a:ext uri="{FF2B5EF4-FFF2-40B4-BE49-F238E27FC236}">
                <a16:creationId xmlns:a16="http://schemas.microsoft.com/office/drawing/2014/main" xmlns="" id="{4866EF42-C8A0-4176-A583-A00F539C30BB}"/>
              </a:ext>
            </a:extLst>
          </p:cNvPr>
          <p:cNvSpPr txBox="1"/>
          <p:nvPr/>
        </p:nvSpPr>
        <p:spPr>
          <a:xfrm>
            <a:off x="4824755" y="2724856"/>
            <a:ext cx="1506311" cy="50783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350" b="0" i="0" u="none" strike="noStrike" kern="1200" cap="none" spc="0" normalizeH="0" baseline="0" noProof="0" dirty="0">
                <a:ln>
                  <a:noFill/>
                </a:ln>
                <a:solidFill>
                  <a:srgbClr val="121217"/>
                </a:solidFill>
                <a:effectLst/>
                <a:uLnTx/>
                <a:uFillTx/>
                <a:latin typeface="Sofia pro"/>
                <a:ea typeface="+mn-ea"/>
                <a:cs typeface="+mn-cs"/>
              </a:rPr>
              <a:t>Synthetic RNA code</a:t>
            </a:r>
            <a:endParaRPr kumimoji="0" lang="en-ZA"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 name="TextBox 218">
            <a:extLst>
              <a:ext uri="{FF2B5EF4-FFF2-40B4-BE49-F238E27FC236}">
                <a16:creationId xmlns:a16="http://schemas.microsoft.com/office/drawing/2014/main" xmlns="" id="{B0459FAC-DDB7-45A4-B41C-9CABD7405710}"/>
              </a:ext>
            </a:extLst>
          </p:cNvPr>
          <p:cNvSpPr txBox="1"/>
          <p:nvPr/>
        </p:nvSpPr>
        <p:spPr>
          <a:xfrm>
            <a:off x="7187103" y="2567341"/>
            <a:ext cx="1950392" cy="71558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350" b="0" i="0" u="none" strike="noStrike" kern="1200" cap="none" spc="0" normalizeH="0" baseline="0" noProof="0" dirty="0">
                <a:ln>
                  <a:noFill/>
                </a:ln>
                <a:solidFill>
                  <a:srgbClr val="121217"/>
                </a:solidFill>
                <a:effectLst/>
                <a:uLnTx/>
                <a:uFillTx/>
                <a:latin typeface="Sofia pro"/>
                <a:ea typeface="+mn-ea"/>
                <a:cs typeface="+mn-cs"/>
              </a:rPr>
              <a:t>Packaged in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350" b="0" i="0" u="none" strike="noStrike" kern="1200" cap="none" spc="0" normalizeH="0" baseline="0" noProof="0" dirty="0">
                <a:ln>
                  <a:noFill/>
                </a:ln>
                <a:solidFill>
                  <a:srgbClr val="121217"/>
                </a:solidFill>
                <a:effectLst/>
                <a:uLnTx/>
                <a:uFillTx/>
                <a:latin typeface="Sofia pro"/>
                <a:ea typeface="+mn-ea"/>
                <a:cs typeface="+mn-cs"/>
              </a:rPr>
              <a:t>Lipid nano particles (LNP)</a:t>
            </a:r>
            <a:endParaRPr kumimoji="0" lang="en-ZA"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34955314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A5BB2699-2CDA-44A8-BE6E-DA302536D42F}"/>
              </a:ext>
            </a:extLst>
          </p:cNvPr>
          <p:cNvSpPr>
            <a:spLocks noGrp="1"/>
          </p:cNvSpPr>
          <p:nvPr>
            <p:ph type="body" sz="quarter" idx="12"/>
          </p:nvPr>
        </p:nvSpPr>
        <p:spPr>
          <a:xfrm>
            <a:off x="611560" y="2348880"/>
            <a:ext cx="8281291" cy="1440160"/>
          </a:xfrm>
        </p:spPr>
        <p:txBody>
          <a:bodyPr>
            <a:noAutofit/>
          </a:bodyPr>
          <a:lstStyle/>
          <a:p>
            <a:r>
              <a:rPr lang="en-ZA" b="1" dirty="0"/>
              <a:t>Surveillance &amp; Response Update</a:t>
            </a:r>
          </a:p>
        </p:txBody>
      </p:sp>
    </p:spTree>
    <p:extLst>
      <p:ext uri="{BB962C8B-B14F-4D97-AF65-F5344CB8AC3E}">
        <p14:creationId xmlns:p14="http://schemas.microsoft.com/office/powerpoint/2010/main" xmlns="" val="13467117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s the vaccine development rushed?</a:t>
            </a:r>
          </a:p>
        </p:txBody>
      </p:sp>
      <p:sp>
        <p:nvSpPr>
          <p:cNvPr id="5" name="Content Placeholder 4"/>
          <p:cNvSpPr>
            <a:spLocks noGrp="1"/>
          </p:cNvSpPr>
          <p:nvPr>
            <p:ph idx="4294967295"/>
          </p:nvPr>
        </p:nvSpPr>
        <p:spPr>
          <a:xfrm>
            <a:off x="539552" y="1052736"/>
            <a:ext cx="8208912" cy="5328592"/>
          </a:xfrm>
          <a:prstGeom prst="rect">
            <a:avLst/>
          </a:prstGeom>
        </p:spPr>
        <p:txBody>
          <a:bodyPr>
            <a:normAutofit fontScale="77500" lnSpcReduction="20000"/>
          </a:bodyPr>
          <a:lstStyle/>
          <a:p>
            <a:pPr marL="0" indent="0">
              <a:buNone/>
            </a:pPr>
            <a:r>
              <a:rPr lang="en-US" b="1" dirty="0">
                <a:solidFill>
                  <a:schemeClr val="accent1">
                    <a:lumMod val="75000"/>
                  </a:schemeClr>
                </a:solidFill>
              </a:rPr>
              <a:t>What were the reasons that the vaccine was developed so quickly?</a:t>
            </a:r>
          </a:p>
          <a:p>
            <a:pPr marL="0" indent="0">
              <a:buNone/>
            </a:pPr>
            <a:endParaRPr lang="en-US" b="1" dirty="0">
              <a:solidFill>
                <a:schemeClr val="accent1">
                  <a:lumMod val="75000"/>
                </a:schemeClr>
              </a:solidFill>
            </a:endParaRPr>
          </a:p>
          <a:p>
            <a:pPr marL="285750" lvl="0" indent="-285750">
              <a:lnSpc>
                <a:spcPct val="150000"/>
              </a:lnSpc>
              <a:buFont typeface="Arial" panose="020B0604020202020204" pitchFamily="34" charset="0"/>
              <a:buChar char="•"/>
            </a:pPr>
            <a:r>
              <a:rPr lang="en-US" sz="1800" b="0" dirty="0"/>
              <a:t>The Chinese scientists made the </a:t>
            </a:r>
            <a:r>
              <a:rPr lang="en-US" sz="1800" dirty="0"/>
              <a:t>genome (genetic material) of the virus available globally </a:t>
            </a:r>
            <a:r>
              <a:rPr lang="en-US" sz="1800" b="0" dirty="0"/>
              <a:t>in January so </a:t>
            </a:r>
            <a:r>
              <a:rPr lang="en-US" sz="1800" dirty="0"/>
              <a:t>multiple </a:t>
            </a:r>
            <a:r>
              <a:rPr lang="en-US" sz="1800" dirty="0" err="1"/>
              <a:t>organisations</a:t>
            </a:r>
            <a:r>
              <a:rPr lang="en-US" sz="1800" b="0" dirty="0"/>
              <a:t> could start working on </a:t>
            </a:r>
            <a:r>
              <a:rPr lang="en-US" sz="1800" dirty="0"/>
              <a:t>developing vaccines at the same time</a:t>
            </a:r>
            <a:r>
              <a:rPr lang="en-US" sz="1800" b="0" dirty="0"/>
              <a:t>.</a:t>
            </a:r>
          </a:p>
          <a:p>
            <a:pPr marL="285750" lvl="0" indent="-285750">
              <a:lnSpc>
                <a:spcPct val="150000"/>
              </a:lnSpc>
              <a:buFont typeface="Arial" panose="020B0604020202020204" pitchFamily="34" charset="0"/>
              <a:buChar char="•"/>
            </a:pPr>
            <a:endParaRPr lang="en-US" sz="1800" b="0" dirty="0"/>
          </a:p>
          <a:p>
            <a:pPr marL="285750" lvl="0" indent="-285750">
              <a:lnSpc>
                <a:spcPct val="150000"/>
              </a:lnSpc>
              <a:buFont typeface="Arial" panose="020B0604020202020204" pitchFamily="34" charset="0"/>
              <a:buChar char="•"/>
            </a:pPr>
            <a:r>
              <a:rPr lang="en-US" sz="1800" b="0" dirty="0"/>
              <a:t>The </a:t>
            </a:r>
            <a:r>
              <a:rPr lang="en-US" sz="1800" dirty="0"/>
              <a:t>phases of clinical trials were combined </a:t>
            </a:r>
            <a:r>
              <a:rPr lang="en-US" sz="1800" b="0" dirty="0"/>
              <a:t>so that the vaccines could </a:t>
            </a:r>
            <a:r>
              <a:rPr lang="en-US" sz="1800" dirty="0"/>
              <a:t>progress more quickly</a:t>
            </a:r>
            <a:r>
              <a:rPr lang="en-US" sz="1800" b="0" dirty="0"/>
              <a:t> through the </a:t>
            </a:r>
            <a:r>
              <a:rPr lang="en-US" sz="1800" dirty="0"/>
              <a:t>clinical development process</a:t>
            </a:r>
            <a:r>
              <a:rPr lang="en-US" sz="1800" b="0" dirty="0"/>
              <a:t>.</a:t>
            </a:r>
          </a:p>
          <a:p>
            <a:pPr marL="285750" lvl="0" indent="-285750">
              <a:lnSpc>
                <a:spcPct val="150000"/>
              </a:lnSpc>
              <a:buFont typeface="Arial" panose="020B0604020202020204" pitchFamily="34" charset="0"/>
              <a:buChar char="•"/>
            </a:pPr>
            <a:endParaRPr lang="en-US" sz="1800" b="0" dirty="0"/>
          </a:p>
          <a:p>
            <a:pPr marL="285750" lvl="0" indent="-285750">
              <a:lnSpc>
                <a:spcPct val="150000"/>
              </a:lnSpc>
              <a:buFont typeface="Arial" panose="020B0604020202020204" pitchFamily="34" charset="0"/>
              <a:buChar char="•"/>
            </a:pPr>
            <a:r>
              <a:rPr lang="en-US" sz="1800" b="0" dirty="0"/>
              <a:t>Huge amount of </a:t>
            </a:r>
            <a:r>
              <a:rPr lang="en-US" sz="1800" dirty="0"/>
              <a:t>resources/ funding was made available </a:t>
            </a:r>
            <a:r>
              <a:rPr lang="en-US" sz="1800" b="0" dirty="0"/>
              <a:t>to develop the vaccines so that </a:t>
            </a:r>
            <a:r>
              <a:rPr lang="en-US" sz="1800" dirty="0"/>
              <a:t>many scientists could work on this </a:t>
            </a:r>
            <a:r>
              <a:rPr lang="en-US" sz="1800" b="0" dirty="0"/>
              <a:t>and many </a:t>
            </a:r>
            <a:r>
              <a:rPr lang="en-US" sz="1800" dirty="0"/>
              <a:t>scientific tasks could take place more quickly</a:t>
            </a:r>
            <a:r>
              <a:rPr lang="en-US" sz="1800" b="0" dirty="0"/>
              <a:t> than would normally be the case.</a:t>
            </a:r>
          </a:p>
          <a:p>
            <a:pPr marL="285750" lvl="0" indent="-285750">
              <a:lnSpc>
                <a:spcPct val="150000"/>
              </a:lnSpc>
              <a:buFont typeface="Arial" panose="020B0604020202020204" pitchFamily="34" charset="0"/>
              <a:buChar char="•"/>
            </a:pPr>
            <a:endParaRPr lang="en-US" sz="1800" b="0" dirty="0"/>
          </a:p>
          <a:p>
            <a:pPr marL="285750" lvl="0" indent="-285750">
              <a:lnSpc>
                <a:spcPct val="150000"/>
              </a:lnSpc>
              <a:buFont typeface="Arial" panose="020B0604020202020204" pitchFamily="34" charset="0"/>
              <a:buChar char="•"/>
            </a:pPr>
            <a:r>
              <a:rPr lang="en-US" sz="1800" b="0" dirty="0"/>
              <a:t>There were </a:t>
            </a:r>
            <a:r>
              <a:rPr lang="en-US" sz="1800" dirty="0"/>
              <a:t>many cases of disease occurring over a short period </a:t>
            </a:r>
            <a:r>
              <a:rPr lang="en-US" sz="1800" b="0" dirty="0"/>
              <a:t>which made </a:t>
            </a:r>
            <a:r>
              <a:rPr lang="en-US" sz="1800" dirty="0"/>
              <a:t>testing the vaccine easier</a:t>
            </a:r>
            <a:r>
              <a:rPr lang="en-US" sz="1800" b="0" dirty="0"/>
              <a:t>. </a:t>
            </a:r>
          </a:p>
          <a:p>
            <a:pPr marL="285750" lvl="0" indent="-285750">
              <a:lnSpc>
                <a:spcPct val="150000"/>
              </a:lnSpc>
              <a:buFont typeface="Arial" panose="020B0604020202020204" pitchFamily="34" charset="0"/>
              <a:buChar char="•"/>
            </a:pPr>
            <a:endParaRPr lang="en-US" sz="1800" b="0" dirty="0"/>
          </a:p>
          <a:p>
            <a:pPr marL="285750" lvl="0" indent="-285750">
              <a:lnSpc>
                <a:spcPct val="150000"/>
              </a:lnSpc>
              <a:buFont typeface="Arial" panose="020B0604020202020204" pitchFamily="34" charset="0"/>
              <a:buChar char="•"/>
            </a:pPr>
            <a:r>
              <a:rPr lang="en-US" sz="1800" b="0" dirty="0"/>
              <a:t>Scientists </a:t>
            </a:r>
            <a:r>
              <a:rPr lang="en-US" sz="1800" dirty="0"/>
              <a:t>built on previous efforts </a:t>
            </a:r>
            <a:r>
              <a:rPr lang="en-US" sz="1800" b="0" dirty="0"/>
              <a:t>to develop vaccines for </a:t>
            </a:r>
            <a:r>
              <a:rPr lang="en-US" sz="1800" dirty="0"/>
              <a:t>SARS and MERS-</a:t>
            </a:r>
            <a:r>
              <a:rPr lang="en-US" sz="1800" dirty="0" err="1"/>
              <a:t>CoV</a:t>
            </a:r>
            <a:r>
              <a:rPr lang="en-US" sz="1800" dirty="0"/>
              <a:t> </a:t>
            </a:r>
            <a:r>
              <a:rPr lang="en-US" sz="1800" b="0" dirty="0"/>
              <a:t>which are both caused by </a:t>
            </a:r>
            <a:r>
              <a:rPr lang="en-US" sz="1800" dirty="0"/>
              <a:t>coronaviruses.</a:t>
            </a:r>
          </a:p>
        </p:txBody>
      </p:sp>
      <p:sp>
        <p:nvSpPr>
          <p:cNvPr id="4" name="Slide Number Placeholder 3"/>
          <p:cNvSpPr>
            <a:spLocks noGrp="1"/>
          </p:cNvSpPr>
          <p:nvPr>
            <p:ph type="sldNum" sz="quarter" idx="4294967295"/>
          </p:nvPr>
        </p:nvSpPr>
        <p:spPr>
          <a:xfrm>
            <a:off x="8220974" y="6504854"/>
            <a:ext cx="671026" cy="21662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A0A11C-E935-4C78-8F7C-FF74D92E8C16}" type="slidenum">
              <a:rPr kumimoji="0" lang="en-GB"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900" b="0" i="0" u="none" strike="noStrike" kern="1200" cap="none" spc="0" normalizeH="0" baseline="0" noProof="0">
              <a:ln>
                <a:noFill/>
              </a:ln>
              <a:solidFill>
                <a:srgbClr val="003399"/>
              </a:solidFill>
              <a:effectLst/>
              <a:uLnTx/>
              <a:uFillTx/>
              <a:latin typeface="Century Gothic" pitchFamily="34" charset="0"/>
              <a:ea typeface="+mn-ea"/>
              <a:cs typeface="+mn-cs"/>
            </a:endParaRPr>
          </a:p>
        </p:txBody>
      </p:sp>
    </p:spTree>
    <p:extLst>
      <p:ext uri="{BB962C8B-B14F-4D97-AF65-F5344CB8AC3E}">
        <p14:creationId xmlns:p14="http://schemas.microsoft.com/office/powerpoint/2010/main" xmlns="" val="14565007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E0966BC-9E14-4757-95F5-FE3B72A65542}"/>
              </a:ext>
            </a:extLst>
          </p:cNvPr>
          <p:cNvSpPr>
            <a:spLocks noGrp="1"/>
          </p:cNvSpPr>
          <p:nvPr>
            <p:ph type="title"/>
          </p:nvPr>
        </p:nvSpPr>
        <p:spPr/>
        <p:txBody>
          <a:bodyPr>
            <a:noAutofit/>
          </a:bodyPr>
          <a:lstStyle/>
          <a:p>
            <a:r>
              <a:rPr lang="en-ZA" dirty="0"/>
              <a:t>Will the vaccine work against the new variant 501.V2?</a:t>
            </a:r>
            <a:endParaRPr lang="en-GB" dirty="0"/>
          </a:p>
        </p:txBody>
      </p:sp>
      <p:sp>
        <p:nvSpPr>
          <p:cNvPr id="5" name="Slide Number Placeholder 4">
            <a:extLst>
              <a:ext uri="{FF2B5EF4-FFF2-40B4-BE49-F238E27FC236}">
                <a16:creationId xmlns:a16="http://schemas.microsoft.com/office/drawing/2014/main" xmlns="" id="{F5944CF7-D402-4E66-B108-55F54D691B36}"/>
              </a:ext>
            </a:extLst>
          </p:cNvPr>
          <p:cNvSpPr>
            <a:spLocks noGrp="1"/>
          </p:cNvSpPr>
          <p:nvPr>
            <p:ph type="sldNum" sz="quarter" idx="4294967295"/>
          </p:nvPr>
        </p:nvSpPr>
        <p:spPr>
          <a:xfrm>
            <a:off x="8220974" y="6504854"/>
            <a:ext cx="671026" cy="21662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A0A11C-E935-4C78-8F7C-FF74D92E8C16}" type="slidenum">
              <a:rPr kumimoji="0" lang="en-GB"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900" b="0" i="0" u="none" strike="noStrike" kern="1200" cap="none" spc="0" normalizeH="0" baseline="0" noProof="0">
              <a:ln>
                <a:noFill/>
              </a:ln>
              <a:solidFill>
                <a:srgbClr val="003399"/>
              </a:solidFill>
              <a:effectLst/>
              <a:uLnTx/>
              <a:uFillTx/>
              <a:latin typeface="Century Gothic" pitchFamily="34" charset="0"/>
              <a:ea typeface="+mn-ea"/>
              <a:cs typeface="+mn-cs"/>
            </a:endParaRPr>
          </a:p>
        </p:txBody>
      </p:sp>
      <p:pic>
        <p:nvPicPr>
          <p:cNvPr id="9" name="Picture 8" descr="A picture containing cake, fruit, plant, decorated&#10;&#10;Description automatically generated">
            <a:extLst>
              <a:ext uri="{FF2B5EF4-FFF2-40B4-BE49-F238E27FC236}">
                <a16:creationId xmlns:a16="http://schemas.microsoft.com/office/drawing/2014/main" xmlns="" id="{0E11DD96-FCA4-4BEA-B5D0-50F84319F0A1}"/>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3829" y="1435369"/>
            <a:ext cx="2399297" cy="2399297"/>
          </a:xfrm>
          <a:prstGeom prst="rect">
            <a:avLst/>
          </a:prstGeom>
        </p:spPr>
      </p:pic>
      <p:pic>
        <p:nvPicPr>
          <p:cNvPr id="7" name="Content Placeholder 6">
            <a:extLst>
              <a:ext uri="{FF2B5EF4-FFF2-40B4-BE49-F238E27FC236}">
                <a16:creationId xmlns:a16="http://schemas.microsoft.com/office/drawing/2014/main" xmlns="" id="{C7242959-4825-4EDC-9335-3CCDB8F80562}"/>
              </a:ext>
            </a:extLst>
          </p:cNvPr>
          <p:cNvPicPr>
            <a:picLocks noGrp="1" noChangeAspect="1"/>
          </p:cNvPicPr>
          <p:nvPr>
            <p:ph idx="4294967295"/>
          </p:nvPr>
        </p:nvPicPr>
        <p:blipFill>
          <a:blip r:embed="rId3" cstate="print">
            <a:extLst>
              <a:ext uri="{28A0092B-C50C-407E-A947-70E740481C1C}">
                <a14:useLocalDpi xmlns:a14="http://schemas.microsoft.com/office/drawing/2010/main" xmlns="" val="0"/>
              </a:ext>
            </a:extLst>
          </a:blip>
          <a:stretch>
            <a:fillRect/>
          </a:stretch>
        </p:blipFill>
        <p:spPr>
          <a:xfrm>
            <a:off x="2952929" y="3323723"/>
            <a:ext cx="1800225" cy="2533650"/>
          </a:xfrm>
          <a:prstGeom prst="rect">
            <a:avLst/>
          </a:prstGeom>
        </p:spPr>
      </p:pic>
      <p:sp>
        <p:nvSpPr>
          <p:cNvPr id="10" name="TextBox 9">
            <a:extLst>
              <a:ext uri="{FF2B5EF4-FFF2-40B4-BE49-F238E27FC236}">
                <a16:creationId xmlns:a16="http://schemas.microsoft.com/office/drawing/2014/main" xmlns="" id="{0C798F81-D11A-42F6-8DF2-8BFF755CD2F6}"/>
              </a:ext>
            </a:extLst>
          </p:cNvPr>
          <p:cNvSpPr txBox="1"/>
          <p:nvPr/>
        </p:nvSpPr>
        <p:spPr>
          <a:xfrm>
            <a:off x="5337562" y="1033899"/>
            <a:ext cx="3218925" cy="3970318"/>
          </a:xfrm>
          <a:prstGeom prst="rect">
            <a:avLst/>
          </a:prstGeom>
          <a:noFill/>
        </p:spPr>
        <p:txBody>
          <a:bodyPr wrap="square" rtlCol="0">
            <a:spAutoFit/>
          </a:bodyPr>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800" b="0" i="0" u="none" strike="noStrike" kern="1200" cap="none" spc="0" normalizeH="0" baseline="0" noProof="0" dirty="0">
                <a:ln>
                  <a:noFill/>
                </a:ln>
                <a:solidFill>
                  <a:prstClr val="black"/>
                </a:solidFill>
                <a:effectLst/>
                <a:uLnTx/>
                <a:uFillTx/>
                <a:latin typeface="Century Gothic"/>
                <a:ea typeface="+mn-ea"/>
                <a:cs typeface="+mn-cs"/>
              </a:rPr>
              <a:t>Scientists are hopeful because the vaccine targets the entire spike protein.</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800" b="0" i="0" u="none" strike="noStrike" kern="1200" cap="none" spc="0" normalizeH="0" baseline="0" noProof="0" dirty="0">
              <a:ln>
                <a:noFill/>
              </a:ln>
              <a:solidFill>
                <a:prstClr val="black"/>
              </a:solidFill>
              <a:effectLst/>
              <a:uLnTx/>
              <a:uFillTx/>
              <a:latin typeface="Century Gothic"/>
              <a:ea typeface="+mn-ea"/>
              <a:cs typeface="+mn-cs"/>
            </a:endParaRP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800" b="0" i="0" u="none" strike="noStrike" kern="1200" cap="none" spc="0" normalizeH="0" baseline="0" noProof="0" dirty="0">
                <a:ln>
                  <a:noFill/>
                </a:ln>
                <a:solidFill>
                  <a:prstClr val="black"/>
                </a:solidFill>
                <a:effectLst/>
                <a:uLnTx/>
                <a:uFillTx/>
                <a:latin typeface="Century Gothic"/>
                <a:ea typeface="+mn-ea"/>
                <a:cs typeface="+mn-cs"/>
              </a:rPr>
              <a:t>A definitive answer will be available in mid-late February from the South African trial.</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800" b="0" i="0" u="none" strike="noStrike" kern="1200" cap="none" spc="0" normalizeH="0" baseline="0" noProof="0" dirty="0">
              <a:ln>
                <a:noFill/>
              </a:ln>
              <a:solidFill>
                <a:prstClr val="black"/>
              </a:solidFill>
              <a:effectLst/>
              <a:uLnTx/>
              <a:uFillTx/>
              <a:latin typeface="Century Gothic"/>
              <a:ea typeface="+mn-ea"/>
              <a:cs typeface="+mn-cs"/>
            </a:endParaRP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800" b="0" i="0" u="none" strike="noStrike" kern="1200" cap="none" spc="0" normalizeH="0" baseline="0" noProof="0" dirty="0">
                <a:ln>
                  <a:noFill/>
                </a:ln>
                <a:solidFill>
                  <a:prstClr val="black"/>
                </a:solidFill>
                <a:effectLst/>
                <a:uLnTx/>
                <a:uFillTx/>
                <a:latin typeface="Century Gothic"/>
                <a:ea typeface="+mn-ea"/>
                <a:cs typeface="+mn-cs"/>
              </a:rPr>
              <a:t>Laboratory studies are also underway.</a:t>
            </a: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800" b="0" i="0" u="none" strike="noStrike" kern="1200" cap="none" spc="0" normalizeH="0" baseline="0" noProof="0" dirty="0">
              <a:ln>
                <a:noFill/>
              </a:ln>
              <a:solidFill>
                <a:prstClr val="black"/>
              </a:solidFill>
              <a:effectLst/>
              <a:uLnTx/>
              <a:uFillTx/>
              <a:latin typeface="Century Gothic"/>
              <a:ea typeface="+mn-ea"/>
              <a:cs typeface="+mn-cs"/>
            </a:endParaRPr>
          </a:p>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800" b="0" i="0" u="none" strike="noStrike" kern="1200" cap="none" spc="0" normalizeH="0" baseline="0" noProof="0" dirty="0">
                <a:ln>
                  <a:noFill/>
                </a:ln>
                <a:solidFill>
                  <a:prstClr val="black"/>
                </a:solidFill>
                <a:effectLst/>
                <a:uLnTx/>
                <a:uFillTx/>
                <a:latin typeface="Century Gothic"/>
                <a:ea typeface="+mn-ea"/>
                <a:cs typeface="+mn-cs"/>
              </a:rPr>
              <a:t>Worst case scenario is the vaccine would need to be modified (like the flu vaccine).</a:t>
            </a:r>
          </a:p>
        </p:txBody>
      </p:sp>
      <p:grpSp>
        <p:nvGrpSpPr>
          <p:cNvPr id="14" name="Group 13">
            <a:extLst>
              <a:ext uri="{FF2B5EF4-FFF2-40B4-BE49-F238E27FC236}">
                <a16:creationId xmlns:a16="http://schemas.microsoft.com/office/drawing/2014/main" xmlns="" id="{AE173DE2-6547-4926-BD04-2F4C735E48D2}"/>
              </a:ext>
            </a:extLst>
          </p:cNvPr>
          <p:cNvGrpSpPr/>
          <p:nvPr/>
        </p:nvGrpSpPr>
        <p:grpSpPr>
          <a:xfrm>
            <a:off x="2533650" y="2676525"/>
            <a:ext cx="879476" cy="857250"/>
            <a:chOff x="2533650" y="2676525"/>
            <a:chExt cx="879476" cy="857250"/>
          </a:xfrm>
          <a:effectLst>
            <a:outerShdw blurRad="50800" dist="38100" dir="2700000" algn="tl" rotWithShape="0">
              <a:prstClr val="black">
                <a:alpha val="80000"/>
              </a:prstClr>
            </a:outerShdw>
          </a:effectLst>
        </p:grpSpPr>
        <p:sp>
          <p:nvSpPr>
            <p:cNvPr id="11" name="Oval 10">
              <a:extLst>
                <a:ext uri="{FF2B5EF4-FFF2-40B4-BE49-F238E27FC236}">
                  <a16:creationId xmlns:a16="http://schemas.microsoft.com/office/drawing/2014/main" xmlns="" id="{C2BABC79-1EB3-46D4-AACB-C6CB698295A8}"/>
                </a:ext>
              </a:extLst>
            </p:cNvPr>
            <p:cNvSpPr/>
            <p:nvPr/>
          </p:nvSpPr>
          <p:spPr>
            <a:xfrm>
              <a:off x="2533650" y="2676525"/>
              <a:ext cx="552450" cy="552450"/>
            </a:xfrm>
            <a:prstGeom prst="ellipse">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a:ea typeface="+mn-ea"/>
                <a:cs typeface="+mn-cs"/>
              </a:endParaRPr>
            </a:p>
          </p:txBody>
        </p:sp>
        <p:cxnSp>
          <p:nvCxnSpPr>
            <p:cNvPr id="13" name="Straight Connector 12">
              <a:extLst>
                <a:ext uri="{FF2B5EF4-FFF2-40B4-BE49-F238E27FC236}">
                  <a16:creationId xmlns:a16="http://schemas.microsoft.com/office/drawing/2014/main" xmlns="" id="{3C90279B-81B1-439A-8879-4A93B6685D2B}"/>
                </a:ext>
              </a:extLst>
            </p:cNvPr>
            <p:cNvCxnSpPr>
              <a:stCxn id="11" idx="5"/>
            </p:cNvCxnSpPr>
            <p:nvPr/>
          </p:nvCxnSpPr>
          <p:spPr>
            <a:xfrm>
              <a:off x="3005196" y="3148071"/>
              <a:ext cx="407930" cy="385704"/>
            </a:xfrm>
            <a:prstGeom prst="line">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xmlns="" id="{50FF8ADF-B9BF-4CEF-A9E0-E3E458913CAD}"/>
              </a:ext>
            </a:extLst>
          </p:cNvPr>
          <p:cNvSpPr txBox="1"/>
          <p:nvPr/>
        </p:nvSpPr>
        <p:spPr>
          <a:xfrm>
            <a:off x="1195446" y="3834666"/>
            <a:ext cx="1800225"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Century Gothic"/>
                <a:ea typeface="+mn-ea"/>
                <a:cs typeface="+mn-cs"/>
              </a:rPr>
              <a:t>The new variant has small changes in the make-up and shape of the spike protein on the virus. </a:t>
            </a:r>
          </a:p>
        </p:txBody>
      </p:sp>
      <p:sp>
        <p:nvSpPr>
          <p:cNvPr id="3" name="TextBox 2"/>
          <p:cNvSpPr txBox="1"/>
          <p:nvPr/>
        </p:nvSpPr>
        <p:spPr>
          <a:xfrm>
            <a:off x="1331640" y="5858523"/>
            <a:ext cx="732510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entury Gothic"/>
                <a:ea typeface="+mn-ea"/>
                <a:cs typeface="+mn-cs"/>
              </a:rPr>
              <a:t>Other vaccines are reported to have some efficacy against the new variant</a:t>
            </a:r>
          </a:p>
        </p:txBody>
      </p:sp>
    </p:spTree>
    <p:extLst>
      <p:ext uri="{BB962C8B-B14F-4D97-AF65-F5344CB8AC3E}">
        <p14:creationId xmlns:p14="http://schemas.microsoft.com/office/powerpoint/2010/main" xmlns="" val="11195546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2400" dirty="0"/>
              <a:t>Current vaccine distribution</a:t>
            </a:r>
            <a:r>
              <a:rPr lang="en-US" dirty="0"/>
              <a:t/>
            </a:r>
            <a:br>
              <a:rPr lang="en-US" dirty="0"/>
            </a:br>
            <a:r>
              <a:rPr lang="en-US" sz="2000" dirty="0"/>
              <a:t>(as at 1 Feb - 98 million doses given - </a:t>
            </a:r>
            <a:r>
              <a:rPr lang="en-US" sz="2000" dirty="0" err="1"/>
              <a:t>Bloomberg.com</a:t>
            </a:r>
            <a:r>
              <a:rPr lang="en-US" sz="2000" dirty="0"/>
              <a:t>)</a:t>
            </a:r>
          </a:p>
        </p:txBody>
      </p:sp>
      <p:pic>
        <p:nvPicPr>
          <p:cNvPr id="4" name="Picture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827584" y="1196752"/>
            <a:ext cx="7734860" cy="5480272"/>
          </a:xfrm>
          <a:prstGeom prst="rect">
            <a:avLst/>
          </a:prstGeom>
        </p:spPr>
      </p:pic>
    </p:spTree>
    <p:extLst>
      <p:ext uri="{BB962C8B-B14F-4D97-AF65-F5344CB8AC3E}">
        <p14:creationId xmlns:p14="http://schemas.microsoft.com/office/powerpoint/2010/main" xmlns="" val="31715295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2400" dirty="0"/>
              <a:t>Vaccines on order – </a:t>
            </a:r>
            <a:r>
              <a:rPr lang="en-US" sz="2400" dirty="0" err="1"/>
              <a:t>NDoH</a:t>
            </a:r>
            <a:r>
              <a:rPr lang="en-US" sz="2400" dirty="0"/>
              <a:t> update</a:t>
            </a:r>
          </a:p>
        </p:txBody>
      </p:sp>
      <p:sp>
        <p:nvSpPr>
          <p:cNvPr id="3" name="Subtitle 2"/>
          <p:cNvSpPr>
            <a:spLocks noGrp="1"/>
          </p:cNvSpPr>
          <p:nvPr>
            <p:ph type="subTitle" idx="1"/>
          </p:nvPr>
        </p:nvSpPr>
        <p:spPr>
          <a:xfrm>
            <a:off x="295275" y="1266825"/>
            <a:ext cx="8669213" cy="4754463"/>
          </a:xfrm>
        </p:spPr>
        <p:txBody>
          <a:bodyPr>
            <a:normAutofit fontScale="92500" lnSpcReduction="20000"/>
          </a:bodyPr>
          <a:lstStyle/>
          <a:p>
            <a:pPr marL="285750" indent="-285750">
              <a:buFont typeface="Arial" panose="020B0604020202020204" pitchFamily="34" charset="0"/>
              <a:buChar char="•"/>
            </a:pPr>
            <a:r>
              <a:rPr lang="en-US" dirty="0" err="1"/>
              <a:t>Covishield</a:t>
            </a:r>
            <a:r>
              <a:rPr lang="en-US" dirty="0"/>
              <a:t> – 1.5 million doses – Feb 2021</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Pfizer – 20 million doses – arrival date unknow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err="1"/>
              <a:t>Covax</a:t>
            </a:r>
            <a:r>
              <a:rPr lang="en-US" dirty="0"/>
              <a:t> – 10% of SA population = 12 million doses – </a:t>
            </a:r>
            <a:r>
              <a:rPr lang="en-US" dirty="0" err="1"/>
              <a:t>Covax</a:t>
            </a:r>
            <a:r>
              <a:rPr lang="en-US" dirty="0"/>
              <a:t> released information on the global volume allocation by country: </a:t>
            </a:r>
          </a:p>
          <a:p>
            <a:pPr marL="285750" indent="-285750">
              <a:buFont typeface="Arial" panose="020B0604020202020204" pitchFamily="34" charset="0"/>
              <a:buChar char="•"/>
            </a:pPr>
            <a:endParaRPr lang="en-US" dirty="0"/>
          </a:p>
          <a:p>
            <a:pPr marL="582613" lvl="1" indent="-306388"/>
            <a:r>
              <a:rPr lang="en-US" dirty="0"/>
              <a:t>Pfizer/</a:t>
            </a:r>
            <a:r>
              <a:rPr lang="en-US" dirty="0" err="1"/>
              <a:t>BioNTech</a:t>
            </a:r>
            <a:r>
              <a:rPr lang="en-US" dirty="0"/>
              <a:t> -  117,000 doses with delivery beginning as of mid-February with total doses that are for the Q1 supply- based on conditions: indemnity, regulatory</a:t>
            </a:r>
          </a:p>
          <a:p>
            <a:pPr marL="582613" indent="-306388">
              <a:buFont typeface="Arial" panose="020B0604020202020204" pitchFamily="34" charset="0"/>
              <a:buChar char="•"/>
            </a:pPr>
            <a:endParaRPr lang="en-US" dirty="0"/>
          </a:p>
          <a:p>
            <a:pPr marL="582613" lvl="1" indent="-306388"/>
            <a:r>
              <a:rPr lang="en-US" dirty="0"/>
              <a:t>AstraZeneca / </a:t>
            </a:r>
            <a:r>
              <a:rPr lang="en-US" dirty="0" err="1"/>
              <a:t>SKBio</a:t>
            </a:r>
            <a:r>
              <a:rPr lang="en-US" dirty="0"/>
              <a:t> (2,976,000 - 5,028,000) doses.  Delivery as of mid/late February, subject to WHO EUL  Indicates H1 supply, with 25-35% available in Q1 and 65-75% available in Q2 - based on conditions: indemnity, regulator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Johnson and Johnson – 9 million doses – arrival date unknown. Opportunity to access an additional 20m doses being negotiated awaiting </a:t>
            </a:r>
            <a:r>
              <a:rPr lang="en-US" dirty="0" err="1"/>
              <a:t>JnJ</a:t>
            </a:r>
            <a:r>
              <a:rPr lang="en-US" dirty="0"/>
              <a:t> feedback.</a:t>
            </a:r>
          </a:p>
          <a:p>
            <a:pPr marL="285750" indent="-285750">
              <a:buFont typeface="Arial" panose="020B0604020202020204" pitchFamily="34" charset="0"/>
              <a:buChar char="•"/>
            </a:pPr>
            <a:endParaRPr lang="en-US" dirty="0"/>
          </a:p>
          <a:p>
            <a:endParaRPr lang="en-US" dirty="0"/>
          </a:p>
          <a:p>
            <a:r>
              <a:rPr lang="en-US" sz="2200" dirty="0"/>
              <a:t>The goal is to vaccinate 40 million South Africans – currently +/- 25.75 million provided for</a:t>
            </a:r>
            <a:r>
              <a:rPr lang="en-US" sz="2400" dirty="0"/>
              <a:t>.</a:t>
            </a:r>
          </a:p>
          <a:p>
            <a:endParaRPr lang="en-US" dirty="0"/>
          </a:p>
          <a:p>
            <a:endParaRPr lang="en-US" dirty="0"/>
          </a:p>
          <a:p>
            <a:endParaRPr lang="en-US" dirty="0"/>
          </a:p>
        </p:txBody>
      </p:sp>
    </p:spTree>
    <p:extLst>
      <p:ext uri="{BB962C8B-B14F-4D97-AF65-F5344CB8AC3E}">
        <p14:creationId xmlns:p14="http://schemas.microsoft.com/office/powerpoint/2010/main" xmlns="" val="26496874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2400" dirty="0" err="1"/>
              <a:t>NDoH</a:t>
            </a:r>
            <a:r>
              <a:rPr lang="en-US" sz="2400" dirty="0"/>
              <a:t> update on expected delivery of vaccine doses</a:t>
            </a:r>
          </a:p>
        </p:txBody>
      </p:sp>
      <p:pic>
        <p:nvPicPr>
          <p:cNvPr id="5" name="Picture 4">
            <a:extLst>
              <a:ext uri="{FF2B5EF4-FFF2-40B4-BE49-F238E27FC236}">
                <a16:creationId xmlns:a16="http://schemas.microsoft.com/office/drawing/2014/main" xmlns="" id="{41E844DF-92F8-424A-937E-094B8FCF5A80}"/>
              </a:ext>
            </a:extLst>
          </p:cNvPr>
          <p:cNvPicPr>
            <a:picLocks noChangeAspect="1"/>
          </p:cNvPicPr>
          <p:nvPr/>
        </p:nvPicPr>
        <p:blipFill>
          <a:blip r:embed="rId2" cstate="print"/>
          <a:stretch>
            <a:fillRect/>
          </a:stretch>
        </p:blipFill>
        <p:spPr>
          <a:xfrm>
            <a:off x="179512" y="1628800"/>
            <a:ext cx="8621588" cy="4029051"/>
          </a:xfrm>
          <a:prstGeom prst="rect">
            <a:avLst/>
          </a:prstGeom>
        </p:spPr>
      </p:pic>
    </p:spTree>
    <p:extLst>
      <p:ext uri="{BB962C8B-B14F-4D97-AF65-F5344CB8AC3E}">
        <p14:creationId xmlns:p14="http://schemas.microsoft.com/office/powerpoint/2010/main" xmlns="" val="13907148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2400" dirty="0" err="1"/>
              <a:t>NDoH</a:t>
            </a:r>
            <a:r>
              <a:rPr lang="en-US" sz="2400" dirty="0"/>
              <a:t> confirmation of allocated 1</a:t>
            </a:r>
            <a:r>
              <a:rPr lang="en-US" sz="2400" baseline="30000" dirty="0"/>
              <a:t>st</a:t>
            </a:r>
            <a:r>
              <a:rPr lang="en-US" sz="2400" dirty="0"/>
              <a:t> doses – Public Sector </a:t>
            </a:r>
            <a:br>
              <a:rPr lang="en-US" sz="2400" dirty="0"/>
            </a:br>
            <a:r>
              <a:rPr lang="en-US" sz="2400" dirty="0"/>
              <a:t>employees on PERSAL</a:t>
            </a:r>
          </a:p>
        </p:txBody>
      </p:sp>
      <p:graphicFrame>
        <p:nvGraphicFramePr>
          <p:cNvPr id="4" name="Table 3">
            <a:extLst>
              <a:ext uri="{FF2B5EF4-FFF2-40B4-BE49-F238E27FC236}">
                <a16:creationId xmlns:a16="http://schemas.microsoft.com/office/drawing/2014/main" xmlns="" id="{6DC369E5-061C-4548-A0CD-BF09A2013FF4}"/>
              </a:ext>
            </a:extLst>
          </p:cNvPr>
          <p:cNvGraphicFramePr>
            <a:graphicFrameLocks noGrp="1"/>
          </p:cNvGraphicFramePr>
          <p:nvPr/>
        </p:nvGraphicFramePr>
        <p:xfrm>
          <a:off x="382089" y="1800380"/>
          <a:ext cx="7994472" cy="3587096"/>
        </p:xfrm>
        <a:graphic>
          <a:graphicData uri="http://schemas.openxmlformats.org/drawingml/2006/table">
            <a:tbl>
              <a:tblPr>
                <a:tableStyleId>{5C22544A-7EE6-4342-B048-85BDC9FD1C3A}</a:tableStyleId>
              </a:tblPr>
              <a:tblGrid>
                <a:gridCol w="2365535">
                  <a:extLst>
                    <a:ext uri="{9D8B030D-6E8A-4147-A177-3AD203B41FA5}">
                      <a16:colId xmlns:a16="http://schemas.microsoft.com/office/drawing/2014/main" xmlns="" val="1020481921"/>
                    </a:ext>
                  </a:extLst>
                </a:gridCol>
                <a:gridCol w="2054735">
                  <a:extLst>
                    <a:ext uri="{9D8B030D-6E8A-4147-A177-3AD203B41FA5}">
                      <a16:colId xmlns:a16="http://schemas.microsoft.com/office/drawing/2014/main" xmlns="" val="2086894205"/>
                    </a:ext>
                  </a:extLst>
                </a:gridCol>
                <a:gridCol w="2054735">
                  <a:extLst>
                    <a:ext uri="{9D8B030D-6E8A-4147-A177-3AD203B41FA5}">
                      <a16:colId xmlns:a16="http://schemas.microsoft.com/office/drawing/2014/main" xmlns="" val="1970923609"/>
                    </a:ext>
                  </a:extLst>
                </a:gridCol>
                <a:gridCol w="1519467">
                  <a:extLst>
                    <a:ext uri="{9D8B030D-6E8A-4147-A177-3AD203B41FA5}">
                      <a16:colId xmlns:a16="http://schemas.microsoft.com/office/drawing/2014/main" xmlns="" val="3931004171"/>
                    </a:ext>
                  </a:extLst>
                </a:gridCol>
              </a:tblGrid>
              <a:tr h="316705">
                <a:tc>
                  <a:txBody>
                    <a:bodyPr/>
                    <a:lstStyle/>
                    <a:p>
                      <a:pPr algn="l" fontAlgn="b"/>
                      <a:r>
                        <a:rPr lang="en-US" sz="1800" u="none" strike="noStrike" dirty="0">
                          <a:effectLst/>
                        </a:rPr>
                        <a:t> </a:t>
                      </a:r>
                      <a:endParaRPr lang="en-US" sz="18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b="1" u="none" strike="noStrike" dirty="0">
                          <a:effectLst/>
                        </a:rPr>
                        <a:t>Employees (PERSAL)</a:t>
                      </a:r>
                      <a:endParaRPr lang="en-US" sz="1800" b="1"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b="1" u="none" strike="noStrike" dirty="0">
                          <a:effectLst/>
                        </a:rPr>
                        <a:t>Doses</a:t>
                      </a:r>
                      <a:endParaRPr lang="en-US" sz="1800" b="1"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b="1" u="none" strike="noStrike" dirty="0">
                          <a:effectLst/>
                        </a:rPr>
                        <a:t>Proportion</a:t>
                      </a:r>
                      <a:endParaRPr lang="en-US" sz="1800" b="1"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xmlns="" val="300666844"/>
                  </a:ext>
                </a:extLst>
              </a:tr>
              <a:tr h="301623">
                <a:tc>
                  <a:txBody>
                    <a:bodyPr/>
                    <a:lstStyle/>
                    <a:p>
                      <a:pPr algn="l" fontAlgn="b"/>
                      <a:r>
                        <a:rPr lang="en-US" sz="1800" u="none" strike="noStrike">
                          <a:effectLst/>
                        </a:rPr>
                        <a:t>Eastern Cape</a:t>
                      </a:r>
                      <a:endParaRPr lang="en-US" sz="1800" b="0" i="0" u="none" strike="noStrike">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60 231</a:t>
                      </a:r>
                      <a:endParaRPr lang="en-US" sz="18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60 500</a:t>
                      </a:r>
                      <a:endParaRPr lang="en-US" sz="18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a:effectLst/>
                        </a:rPr>
                        <a:t>15.3%</a:t>
                      </a:r>
                      <a:endParaRPr lang="en-US" sz="18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xmlns="" val="1841723465"/>
                  </a:ext>
                </a:extLst>
              </a:tr>
              <a:tr h="301623">
                <a:tc>
                  <a:txBody>
                    <a:bodyPr/>
                    <a:lstStyle/>
                    <a:p>
                      <a:pPr algn="l" fontAlgn="b"/>
                      <a:r>
                        <a:rPr lang="en-US" sz="1800" u="none" strike="noStrike">
                          <a:effectLst/>
                        </a:rPr>
                        <a:t>Free State</a:t>
                      </a:r>
                      <a:endParaRPr lang="en-US" sz="1800" b="0" i="0" u="none" strike="noStrike">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19 788</a:t>
                      </a:r>
                      <a:endParaRPr lang="en-US" sz="18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20 000</a:t>
                      </a:r>
                      <a:endParaRPr lang="en-US" sz="18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a:effectLst/>
                        </a:rPr>
                        <a:t>5.0%</a:t>
                      </a:r>
                      <a:endParaRPr lang="en-US" sz="18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xmlns="" val="593950425"/>
                  </a:ext>
                </a:extLst>
              </a:tr>
              <a:tr h="301623">
                <a:tc>
                  <a:txBody>
                    <a:bodyPr/>
                    <a:lstStyle/>
                    <a:p>
                      <a:pPr algn="l" fontAlgn="b"/>
                      <a:r>
                        <a:rPr lang="en-US" sz="1800" u="none" strike="noStrike">
                          <a:effectLst/>
                        </a:rPr>
                        <a:t>Gauteng</a:t>
                      </a:r>
                      <a:endParaRPr lang="en-US" sz="1800" b="0" i="0" u="none" strike="noStrike">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85 605</a:t>
                      </a:r>
                      <a:endParaRPr lang="en-US" sz="18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85 500</a:t>
                      </a:r>
                      <a:endParaRPr lang="en-US" sz="18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21.6%</a:t>
                      </a:r>
                      <a:endParaRPr lang="en-US" sz="18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xmlns="" val="1037727434"/>
                  </a:ext>
                </a:extLst>
              </a:tr>
              <a:tr h="301623">
                <a:tc>
                  <a:txBody>
                    <a:bodyPr/>
                    <a:lstStyle/>
                    <a:p>
                      <a:pPr algn="l" fontAlgn="b"/>
                      <a:r>
                        <a:rPr lang="en-US" sz="1800" u="none" strike="noStrike">
                          <a:effectLst/>
                        </a:rPr>
                        <a:t>KwaZulu-Natal</a:t>
                      </a:r>
                      <a:endParaRPr lang="en-US" sz="1800" b="0" i="0" u="none" strike="noStrike">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81 519</a:t>
                      </a:r>
                      <a:endParaRPr lang="en-US" sz="18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81 500</a:t>
                      </a:r>
                      <a:endParaRPr lang="en-US" sz="18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20.6%</a:t>
                      </a:r>
                      <a:endParaRPr lang="en-US" sz="18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xmlns="" val="3131807296"/>
                  </a:ext>
                </a:extLst>
              </a:tr>
              <a:tr h="301623">
                <a:tc>
                  <a:txBody>
                    <a:bodyPr/>
                    <a:lstStyle/>
                    <a:p>
                      <a:pPr algn="l" fontAlgn="b"/>
                      <a:r>
                        <a:rPr lang="en-US" sz="1800" u="none" strike="noStrike">
                          <a:effectLst/>
                        </a:rPr>
                        <a:t>Limpopo</a:t>
                      </a:r>
                      <a:endParaRPr lang="en-US" sz="1800" b="0" i="0" u="none" strike="noStrike">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44 526</a:t>
                      </a:r>
                      <a:endParaRPr lang="en-US" sz="18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44 500</a:t>
                      </a:r>
                      <a:endParaRPr lang="en-US" sz="18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11.2%</a:t>
                      </a:r>
                      <a:endParaRPr lang="en-US" sz="18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xmlns="" val="4186592250"/>
                  </a:ext>
                </a:extLst>
              </a:tr>
              <a:tr h="301623">
                <a:tc>
                  <a:txBody>
                    <a:bodyPr/>
                    <a:lstStyle/>
                    <a:p>
                      <a:pPr algn="l" fontAlgn="b"/>
                      <a:r>
                        <a:rPr lang="en-US" sz="1800" u="none" strike="noStrike">
                          <a:effectLst/>
                        </a:rPr>
                        <a:t>Mpumalanga</a:t>
                      </a:r>
                      <a:endParaRPr lang="en-US" sz="1800" b="0" i="0" u="none" strike="noStrike">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30 341</a:t>
                      </a:r>
                      <a:endParaRPr lang="en-US" sz="18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30 500</a:t>
                      </a:r>
                      <a:endParaRPr lang="en-US" sz="18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7.7%</a:t>
                      </a:r>
                      <a:endParaRPr lang="en-US" sz="18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xmlns="" val="2125793611"/>
                  </a:ext>
                </a:extLst>
              </a:tr>
              <a:tr h="301623">
                <a:tc>
                  <a:txBody>
                    <a:bodyPr/>
                    <a:lstStyle/>
                    <a:p>
                      <a:pPr algn="l" fontAlgn="b"/>
                      <a:r>
                        <a:rPr lang="en-US" sz="1800" u="none" strike="noStrike" dirty="0">
                          <a:effectLst/>
                        </a:rPr>
                        <a:t>Northern Cape</a:t>
                      </a:r>
                      <a:endParaRPr lang="en-US" sz="18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9 993</a:t>
                      </a:r>
                      <a:endParaRPr lang="en-US" sz="18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10 000</a:t>
                      </a:r>
                      <a:endParaRPr lang="en-US" sz="18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2.5%</a:t>
                      </a:r>
                      <a:endParaRPr lang="en-US" sz="18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xmlns="" val="3264907270"/>
                  </a:ext>
                </a:extLst>
              </a:tr>
              <a:tr h="301623">
                <a:tc>
                  <a:txBody>
                    <a:bodyPr/>
                    <a:lstStyle/>
                    <a:p>
                      <a:pPr algn="l" fontAlgn="b"/>
                      <a:r>
                        <a:rPr lang="en-US" sz="1800" u="none" strike="noStrike">
                          <a:effectLst/>
                        </a:rPr>
                        <a:t>North West</a:t>
                      </a:r>
                      <a:endParaRPr lang="en-US" sz="1800" b="0" i="0" u="none" strike="noStrike">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29 081</a:t>
                      </a:r>
                      <a:endParaRPr lang="en-US" sz="18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29 000</a:t>
                      </a:r>
                      <a:endParaRPr lang="en-US" sz="18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u="none" strike="noStrike" dirty="0">
                          <a:effectLst/>
                        </a:rPr>
                        <a:t>7.3%</a:t>
                      </a:r>
                      <a:endParaRPr lang="en-US" sz="18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xmlns="" val="3397958709"/>
                  </a:ext>
                </a:extLst>
              </a:tr>
              <a:tr h="301623">
                <a:tc>
                  <a:txBody>
                    <a:bodyPr/>
                    <a:lstStyle/>
                    <a:p>
                      <a:pPr algn="l" fontAlgn="b"/>
                      <a:r>
                        <a:rPr lang="en-US" sz="1800" b="1" u="none" strike="noStrike" dirty="0">
                          <a:solidFill>
                            <a:srgbClr val="7030A0"/>
                          </a:solidFill>
                          <a:effectLst/>
                        </a:rPr>
                        <a:t>Western Cape</a:t>
                      </a:r>
                      <a:endParaRPr lang="en-US" sz="1800" b="1" i="0" u="none" strike="noStrike" dirty="0">
                        <a:solidFill>
                          <a:srgbClr val="7030A0"/>
                        </a:solidFill>
                        <a:effectLst/>
                        <a:latin typeface="Calibri" panose="020F0502020204030204" pitchFamily="34" charset="0"/>
                      </a:endParaRPr>
                    </a:p>
                  </a:txBody>
                  <a:tcPr marL="7144" marR="7144" marT="7144" marB="0" anchor="b"/>
                </a:tc>
                <a:tc>
                  <a:txBody>
                    <a:bodyPr/>
                    <a:lstStyle/>
                    <a:p>
                      <a:pPr algn="ctr" fontAlgn="b"/>
                      <a:r>
                        <a:rPr lang="en-US" sz="1800" b="1" u="none" strike="noStrike" dirty="0">
                          <a:solidFill>
                            <a:srgbClr val="7030A0"/>
                          </a:solidFill>
                          <a:effectLst/>
                        </a:rPr>
                        <a:t>35 090</a:t>
                      </a:r>
                      <a:endParaRPr lang="en-US" sz="1800" b="1" i="0" u="none" strike="noStrike" dirty="0">
                        <a:solidFill>
                          <a:srgbClr val="7030A0"/>
                        </a:solidFill>
                        <a:effectLst/>
                        <a:latin typeface="Calibri" panose="020F0502020204030204" pitchFamily="34" charset="0"/>
                      </a:endParaRPr>
                    </a:p>
                  </a:txBody>
                  <a:tcPr marL="7144" marR="7144" marT="7144" marB="0" anchor="b"/>
                </a:tc>
                <a:tc>
                  <a:txBody>
                    <a:bodyPr/>
                    <a:lstStyle/>
                    <a:p>
                      <a:pPr algn="ctr" fontAlgn="b"/>
                      <a:r>
                        <a:rPr lang="en-US" sz="1800" b="1" u="none" strike="noStrike" dirty="0">
                          <a:solidFill>
                            <a:srgbClr val="7030A0"/>
                          </a:solidFill>
                          <a:effectLst/>
                        </a:rPr>
                        <a:t>35 000</a:t>
                      </a:r>
                      <a:endParaRPr lang="en-US" sz="1800" b="1" i="0" u="none" strike="noStrike" dirty="0">
                        <a:solidFill>
                          <a:srgbClr val="7030A0"/>
                        </a:solidFill>
                        <a:effectLst/>
                        <a:latin typeface="Calibri" panose="020F0502020204030204" pitchFamily="34" charset="0"/>
                      </a:endParaRPr>
                    </a:p>
                  </a:txBody>
                  <a:tcPr marL="7144" marR="7144" marT="7144" marB="0" anchor="b"/>
                </a:tc>
                <a:tc>
                  <a:txBody>
                    <a:bodyPr/>
                    <a:lstStyle/>
                    <a:p>
                      <a:pPr algn="ctr" fontAlgn="b"/>
                      <a:r>
                        <a:rPr lang="en-US" sz="1800" b="1" u="none" strike="noStrike" dirty="0">
                          <a:solidFill>
                            <a:srgbClr val="7030A0"/>
                          </a:solidFill>
                          <a:effectLst/>
                        </a:rPr>
                        <a:t>8.8%</a:t>
                      </a:r>
                      <a:endParaRPr lang="en-US" sz="1800" b="1" i="0" u="none" strike="noStrike" dirty="0">
                        <a:solidFill>
                          <a:srgbClr val="7030A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xmlns="" val="4084403585"/>
                  </a:ext>
                </a:extLst>
              </a:tr>
              <a:tr h="316705">
                <a:tc>
                  <a:txBody>
                    <a:bodyPr/>
                    <a:lstStyle/>
                    <a:p>
                      <a:pPr algn="l" fontAlgn="b"/>
                      <a:r>
                        <a:rPr lang="en-US" sz="1800" b="1" u="none" strike="noStrike" dirty="0">
                          <a:effectLst/>
                        </a:rPr>
                        <a:t> Total</a:t>
                      </a:r>
                      <a:endParaRPr lang="en-US" sz="1800" b="1"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b="1" u="none" strike="noStrike" dirty="0">
                          <a:effectLst/>
                        </a:rPr>
                        <a:t>396 174</a:t>
                      </a:r>
                      <a:endParaRPr lang="en-US" sz="1800" b="1"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b="1" u="none" strike="noStrike" dirty="0">
                          <a:effectLst/>
                        </a:rPr>
                        <a:t>396 500</a:t>
                      </a:r>
                      <a:endParaRPr lang="en-US" sz="1800" b="1"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800" b="1" u="none" strike="noStrike" dirty="0">
                          <a:effectLst/>
                        </a:rPr>
                        <a:t>100.0%</a:t>
                      </a:r>
                      <a:endParaRPr lang="en-US" sz="1800" b="1"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xmlns="" val="3126230877"/>
                  </a:ext>
                </a:extLst>
              </a:tr>
            </a:tbl>
          </a:graphicData>
        </a:graphic>
      </p:graphicFrame>
    </p:spTree>
    <p:extLst>
      <p:ext uri="{BB962C8B-B14F-4D97-AF65-F5344CB8AC3E}">
        <p14:creationId xmlns:p14="http://schemas.microsoft.com/office/powerpoint/2010/main" xmlns="" val="35434545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2400" dirty="0" err="1"/>
              <a:t>NDoH</a:t>
            </a:r>
            <a:r>
              <a:rPr lang="en-US" sz="2400" dirty="0"/>
              <a:t> confirmation of allocated 1</a:t>
            </a:r>
            <a:r>
              <a:rPr lang="en-US" sz="2400" baseline="30000" dirty="0"/>
              <a:t>st</a:t>
            </a:r>
            <a:r>
              <a:rPr lang="en-US" sz="2400" dirty="0"/>
              <a:t> doses – Private Sector </a:t>
            </a:r>
            <a:br>
              <a:rPr lang="en-US" sz="2400" dirty="0"/>
            </a:br>
            <a:r>
              <a:rPr lang="en-US" sz="2400" dirty="0"/>
              <a:t>employees</a:t>
            </a:r>
          </a:p>
        </p:txBody>
      </p:sp>
      <p:graphicFrame>
        <p:nvGraphicFramePr>
          <p:cNvPr id="4" name="Table 3">
            <a:extLst>
              <a:ext uri="{FF2B5EF4-FFF2-40B4-BE49-F238E27FC236}">
                <a16:creationId xmlns:a16="http://schemas.microsoft.com/office/drawing/2014/main" xmlns="" id="{FD6A92DB-19B5-A04A-B6E5-1BE74378E3A2}"/>
              </a:ext>
            </a:extLst>
          </p:cNvPr>
          <p:cNvGraphicFramePr>
            <a:graphicFrameLocks noGrp="1"/>
          </p:cNvGraphicFramePr>
          <p:nvPr/>
        </p:nvGraphicFramePr>
        <p:xfrm>
          <a:off x="186146" y="1801467"/>
          <a:ext cx="8874732" cy="3941305"/>
        </p:xfrm>
        <a:graphic>
          <a:graphicData uri="http://schemas.openxmlformats.org/drawingml/2006/table">
            <a:tbl>
              <a:tblPr>
                <a:tableStyleId>{5C22544A-7EE6-4342-B048-85BDC9FD1C3A}</a:tableStyleId>
              </a:tblPr>
              <a:tblGrid>
                <a:gridCol w="1097259">
                  <a:extLst>
                    <a:ext uri="{9D8B030D-6E8A-4147-A177-3AD203B41FA5}">
                      <a16:colId xmlns:a16="http://schemas.microsoft.com/office/drawing/2014/main" xmlns="" val="336779657"/>
                    </a:ext>
                  </a:extLst>
                </a:gridCol>
                <a:gridCol w="707043">
                  <a:extLst>
                    <a:ext uri="{9D8B030D-6E8A-4147-A177-3AD203B41FA5}">
                      <a16:colId xmlns:a16="http://schemas.microsoft.com/office/drawing/2014/main" xmlns="" val="3173891695"/>
                    </a:ext>
                  </a:extLst>
                </a:gridCol>
                <a:gridCol w="707043">
                  <a:extLst>
                    <a:ext uri="{9D8B030D-6E8A-4147-A177-3AD203B41FA5}">
                      <a16:colId xmlns:a16="http://schemas.microsoft.com/office/drawing/2014/main" xmlns="" val="3345740025"/>
                    </a:ext>
                  </a:extLst>
                </a:gridCol>
                <a:gridCol w="604147">
                  <a:extLst>
                    <a:ext uri="{9D8B030D-6E8A-4147-A177-3AD203B41FA5}">
                      <a16:colId xmlns:a16="http://schemas.microsoft.com/office/drawing/2014/main" xmlns="" val="1308617448"/>
                    </a:ext>
                  </a:extLst>
                </a:gridCol>
                <a:gridCol w="809939">
                  <a:extLst>
                    <a:ext uri="{9D8B030D-6E8A-4147-A177-3AD203B41FA5}">
                      <a16:colId xmlns:a16="http://schemas.microsoft.com/office/drawing/2014/main" xmlns="" val="2289013593"/>
                    </a:ext>
                  </a:extLst>
                </a:gridCol>
                <a:gridCol w="767401">
                  <a:extLst>
                    <a:ext uri="{9D8B030D-6E8A-4147-A177-3AD203B41FA5}">
                      <a16:colId xmlns:a16="http://schemas.microsoft.com/office/drawing/2014/main" xmlns="" val="2728031570"/>
                    </a:ext>
                  </a:extLst>
                </a:gridCol>
                <a:gridCol w="764177">
                  <a:extLst>
                    <a:ext uri="{9D8B030D-6E8A-4147-A177-3AD203B41FA5}">
                      <a16:colId xmlns:a16="http://schemas.microsoft.com/office/drawing/2014/main" xmlns="" val="4196390981"/>
                    </a:ext>
                  </a:extLst>
                </a:gridCol>
                <a:gridCol w="589551">
                  <a:extLst>
                    <a:ext uri="{9D8B030D-6E8A-4147-A177-3AD203B41FA5}">
                      <a16:colId xmlns:a16="http://schemas.microsoft.com/office/drawing/2014/main" xmlns="" val="412956709"/>
                    </a:ext>
                  </a:extLst>
                </a:gridCol>
                <a:gridCol w="707043">
                  <a:extLst>
                    <a:ext uri="{9D8B030D-6E8A-4147-A177-3AD203B41FA5}">
                      <a16:colId xmlns:a16="http://schemas.microsoft.com/office/drawing/2014/main" xmlns="" val="366717950"/>
                    </a:ext>
                  </a:extLst>
                </a:gridCol>
                <a:gridCol w="707043">
                  <a:extLst>
                    <a:ext uri="{9D8B030D-6E8A-4147-A177-3AD203B41FA5}">
                      <a16:colId xmlns:a16="http://schemas.microsoft.com/office/drawing/2014/main" xmlns="" val="2609852211"/>
                    </a:ext>
                  </a:extLst>
                </a:gridCol>
                <a:gridCol w="707043">
                  <a:extLst>
                    <a:ext uri="{9D8B030D-6E8A-4147-A177-3AD203B41FA5}">
                      <a16:colId xmlns:a16="http://schemas.microsoft.com/office/drawing/2014/main" xmlns="" val="2721077485"/>
                    </a:ext>
                  </a:extLst>
                </a:gridCol>
                <a:gridCol w="707043">
                  <a:extLst>
                    <a:ext uri="{9D8B030D-6E8A-4147-A177-3AD203B41FA5}">
                      <a16:colId xmlns:a16="http://schemas.microsoft.com/office/drawing/2014/main" xmlns="" val="3366754290"/>
                    </a:ext>
                  </a:extLst>
                </a:gridCol>
              </a:tblGrid>
              <a:tr h="295360">
                <a:tc>
                  <a:txBody>
                    <a:bodyPr/>
                    <a:lstStyle/>
                    <a:p>
                      <a:pPr algn="l" fontAlgn="b"/>
                      <a:r>
                        <a:rPr lang="en-US" sz="1400" b="1" u="none" strike="noStrike" dirty="0">
                          <a:effectLst/>
                          <a:latin typeface="+mn-lt"/>
                        </a:rPr>
                        <a:t>Province</a:t>
                      </a:r>
                      <a:endParaRPr lang="en-US" sz="1400" b="1" i="0" u="none" strike="noStrike" dirty="0">
                        <a:solidFill>
                          <a:srgbClr val="000000"/>
                        </a:solidFill>
                        <a:effectLst/>
                        <a:latin typeface="+mn-lt"/>
                      </a:endParaRPr>
                    </a:p>
                  </a:txBody>
                  <a:tcPr marL="7109" marR="7109" marT="7109" marB="0" anchor="b"/>
                </a:tc>
                <a:tc>
                  <a:txBody>
                    <a:bodyPr/>
                    <a:lstStyle/>
                    <a:p>
                      <a:pPr algn="ctr" fontAlgn="b"/>
                      <a:r>
                        <a:rPr lang="en-US" sz="1400" b="1" u="none" strike="noStrike" dirty="0">
                          <a:effectLst/>
                          <a:latin typeface="+mn-lt"/>
                        </a:rPr>
                        <a:t>Hospital</a:t>
                      </a:r>
                      <a:endParaRPr lang="en-US" sz="1400" b="1" i="0" u="none" strike="noStrike" dirty="0">
                        <a:solidFill>
                          <a:srgbClr val="000000"/>
                        </a:solidFill>
                        <a:effectLst/>
                        <a:latin typeface="+mn-lt"/>
                      </a:endParaRPr>
                    </a:p>
                  </a:txBody>
                  <a:tcPr marL="7109" marR="7109" marT="7109" marB="0" anchor="b"/>
                </a:tc>
                <a:tc>
                  <a:txBody>
                    <a:bodyPr/>
                    <a:lstStyle/>
                    <a:p>
                      <a:pPr algn="ctr" fontAlgn="b"/>
                      <a:r>
                        <a:rPr lang="en-US" sz="1400" b="1" u="none" strike="noStrike" dirty="0">
                          <a:effectLst/>
                          <a:latin typeface="+mn-lt"/>
                        </a:rPr>
                        <a:t>Spec</a:t>
                      </a:r>
                      <a:endParaRPr lang="en-US" sz="1400" b="1" i="0" u="none" strike="noStrike" dirty="0">
                        <a:solidFill>
                          <a:srgbClr val="000000"/>
                        </a:solidFill>
                        <a:effectLst/>
                        <a:latin typeface="+mn-lt"/>
                      </a:endParaRPr>
                    </a:p>
                  </a:txBody>
                  <a:tcPr marL="7109" marR="7109" marT="7109" marB="0" anchor="b"/>
                </a:tc>
                <a:tc>
                  <a:txBody>
                    <a:bodyPr/>
                    <a:lstStyle/>
                    <a:p>
                      <a:pPr algn="ctr" fontAlgn="b"/>
                      <a:r>
                        <a:rPr lang="en-US" sz="1400" b="1" u="none" strike="noStrike" dirty="0">
                          <a:effectLst/>
                          <a:latin typeface="+mn-lt"/>
                        </a:rPr>
                        <a:t>GPs</a:t>
                      </a:r>
                      <a:endParaRPr lang="en-US" sz="1400" b="1" i="0" u="none" strike="noStrike" dirty="0">
                        <a:solidFill>
                          <a:srgbClr val="000000"/>
                        </a:solidFill>
                        <a:effectLst/>
                        <a:latin typeface="+mn-lt"/>
                      </a:endParaRPr>
                    </a:p>
                  </a:txBody>
                  <a:tcPr marL="7109" marR="7109" marT="7109" marB="0" anchor="b"/>
                </a:tc>
                <a:tc>
                  <a:txBody>
                    <a:bodyPr/>
                    <a:lstStyle/>
                    <a:p>
                      <a:pPr algn="ctr" fontAlgn="b"/>
                      <a:r>
                        <a:rPr lang="en-US" sz="1400" b="1" u="none" strike="noStrike" dirty="0">
                          <a:effectLst/>
                          <a:latin typeface="+mn-lt"/>
                        </a:rPr>
                        <a:t>Path</a:t>
                      </a:r>
                      <a:endParaRPr lang="en-US" sz="1400" b="1" i="0" u="none" strike="noStrike" dirty="0">
                        <a:solidFill>
                          <a:srgbClr val="000000"/>
                        </a:solidFill>
                        <a:effectLst/>
                        <a:latin typeface="+mn-lt"/>
                      </a:endParaRPr>
                    </a:p>
                  </a:txBody>
                  <a:tcPr marL="7109" marR="7109" marT="7109" marB="0" anchor="b"/>
                </a:tc>
                <a:tc>
                  <a:txBody>
                    <a:bodyPr/>
                    <a:lstStyle/>
                    <a:p>
                      <a:pPr algn="ctr" fontAlgn="b"/>
                      <a:r>
                        <a:rPr lang="en-US" sz="1400" b="1" u="none" strike="noStrike" dirty="0">
                          <a:effectLst/>
                          <a:latin typeface="+mn-lt"/>
                        </a:rPr>
                        <a:t>Rad</a:t>
                      </a:r>
                      <a:endParaRPr lang="en-US" sz="1400" b="1" i="0" u="none" strike="noStrike" dirty="0">
                        <a:solidFill>
                          <a:srgbClr val="000000"/>
                        </a:solidFill>
                        <a:effectLst/>
                        <a:latin typeface="+mn-lt"/>
                      </a:endParaRPr>
                    </a:p>
                  </a:txBody>
                  <a:tcPr marL="7109" marR="7109" marT="7109" marB="0" anchor="b"/>
                </a:tc>
                <a:tc>
                  <a:txBody>
                    <a:bodyPr/>
                    <a:lstStyle/>
                    <a:p>
                      <a:pPr algn="ctr" fontAlgn="b"/>
                      <a:r>
                        <a:rPr lang="en-US" sz="1400" b="1" u="none" strike="noStrike" dirty="0">
                          <a:effectLst/>
                          <a:latin typeface="+mn-lt"/>
                        </a:rPr>
                        <a:t>Pharm</a:t>
                      </a:r>
                      <a:endParaRPr lang="en-US" sz="1400" b="1" i="0" u="none" strike="noStrike" dirty="0">
                        <a:solidFill>
                          <a:srgbClr val="000000"/>
                        </a:solidFill>
                        <a:effectLst/>
                        <a:latin typeface="+mn-lt"/>
                      </a:endParaRPr>
                    </a:p>
                  </a:txBody>
                  <a:tcPr marL="7109" marR="7109" marT="7109" marB="0" anchor="b"/>
                </a:tc>
                <a:tc>
                  <a:txBody>
                    <a:bodyPr/>
                    <a:lstStyle/>
                    <a:p>
                      <a:pPr algn="ctr" fontAlgn="b"/>
                      <a:r>
                        <a:rPr lang="en-US" sz="1400" b="1" u="none" strike="noStrike" dirty="0">
                          <a:effectLst/>
                          <a:latin typeface="+mn-lt"/>
                        </a:rPr>
                        <a:t>Allied</a:t>
                      </a:r>
                      <a:endParaRPr lang="en-US" sz="1400" b="1" i="0" u="none" strike="noStrike" dirty="0">
                        <a:solidFill>
                          <a:srgbClr val="000000"/>
                        </a:solidFill>
                        <a:effectLst/>
                        <a:latin typeface="+mn-lt"/>
                      </a:endParaRPr>
                    </a:p>
                  </a:txBody>
                  <a:tcPr marL="7109" marR="7109" marT="7109" marB="0" anchor="b"/>
                </a:tc>
                <a:tc>
                  <a:txBody>
                    <a:bodyPr/>
                    <a:lstStyle/>
                    <a:p>
                      <a:pPr algn="ctr" fontAlgn="b"/>
                      <a:r>
                        <a:rPr lang="en-US" sz="1400" b="1" u="none" strike="noStrike" dirty="0">
                          <a:effectLst/>
                          <a:latin typeface="+mn-lt"/>
                        </a:rPr>
                        <a:t>Dentist</a:t>
                      </a:r>
                      <a:endParaRPr lang="en-US" sz="1400" b="1" i="0" u="none" strike="noStrike" dirty="0">
                        <a:solidFill>
                          <a:srgbClr val="000000"/>
                        </a:solidFill>
                        <a:effectLst/>
                        <a:latin typeface="+mn-lt"/>
                      </a:endParaRPr>
                    </a:p>
                  </a:txBody>
                  <a:tcPr marL="7109" marR="7109" marT="7109" marB="0" anchor="b"/>
                </a:tc>
                <a:tc>
                  <a:txBody>
                    <a:bodyPr/>
                    <a:lstStyle/>
                    <a:p>
                      <a:pPr algn="ctr" fontAlgn="b"/>
                      <a:r>
                        <a:rPr lang="en-US" sz="1400" b="1" u="none" strike="noStrike" dirty="0" err="1">
                          <a:effectLst/>
                          <a:latin typeface="+mn-lt"/>
                        </a:rPr>
                        <a:t>Opt</a:t>
                      </a:r>
                      <a:endParaRPr lang="en-US" sz="1400" b="1" i="0" u="none" strike="noStrike" dirty="0">
                        <a:solidFill>
                          <a:srgbClr val="000000"/>
                        </a:solidFill>
                        <a:effectLst/>
                        <a:latin typeface="+mn-lt"/>
                      </a:endParaRPr>
                    </a:p>
                  </a:txBody>
                  <a:tcPr marL="7109" marR="7109" marT="7109" marB="0" anchor="b"/>
                </a:tc>
                <a:tc>
                  <a:txBody>
                    <a:bodyPr/>
                    <a:lstStyle/>
                    <a:p>
                      <a:pPr algn="ctr" fontAlgn="b"/>
                      <a:r>
                        <a:rPr lang="en-US" sz="1400" b="1" u="none" strike="noStrike" dirty="0">
                          <a:effectLst/>
                          <a:latin typeface="+mn-lt"/>
                        </a:rPr>
                        <a:t>Other</a:t>
                      </a:r>
                      <a:endParaRPr lang="en-US" sz="1400" b="1" i="0" u="none" strike="noStrike" dirty="0">
                        <a:solidFill>
                          <a:srgbClr val="000000"/>
                        </a:solidFill>
                        <a:effectLst/>
                        <a:latin typeface="+mn-lt"/>
                      </a:endParaRPr>
                    </a:p>
                  </a:txBody>
                  <a:tcPr marL="7109" marR="7109" marT="7109" marB="0" anchor="b"/>
                </a:tc>
                <a:tc>
                  <a:txBody>
                    <a:bodyPr/>
                    <a:lstStyle/>
                    <a:p>
                      <a:pPr algn="ctr" fontAlgn="b"/>
                      <a:r>
                        <a:rPr lang="en-US" sz="1400" b="1" u="none" strike="noStrike" dirty="0">
                          <a:effectLst/>
                          <a:latin typeface="+mn-lt"/>
                        </a:rPr>
                        <a:t>Total</a:t>
                      </a:r>
                      <a:endParaRPr lang="en-US" sz="1400" b="1" i="0" u="none" strike="noStrike" dirty="0">
                        <a:solidFill>
                          <a:srgbClr val="000000"/>
                        </a:solidFill>
                        <a:effectLst/>
                        <a:latin typeface="+mn-lt"/>
                      </a:endParaRPr>
                    </a:p>
                  </a:txBody>
                  <a:tcPr marL="7109" marR="7109" marT="7109" marB="0" anchor="b"/>
                </a:tc>
                <a:extLst>
                  <a:ext uri="{0D108BD9-81ED-4DB2-BD59-A6C34878D82A}">
                    <a16:rowId xmlns:a16="http://schemas.microsoft.com/office/drawing/2014/main" xmlns="" val="635137809"/>
                  </a:ext>
                </a:extLst>
              </a:tr>
              <a:tr h="295360">
                <a:tc>
                  <a:txBody>
                    <a:bodyPr/>
                    <a:lstStyle/>
                    <a:p>
                      <a:pPr algn="l" fontAlgn="b"/>
                      <a:r>
                        <a:rPr lang="en-US" sz="1400" u="none" strike="noStrike" dirty="0">
                          <a:effectLst/>
                          <a:latin typeface="+mn-lt"/>
                        </a:rPr>
                        <a:t>Eastern Cape</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8,654</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1,023</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2,543</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700</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341</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1,957</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1,033</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784</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204</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595</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17,834</a:t>
                      </a:r>
                      <a:endParaRPr lang="en-US" sz="1400" b="0" i="0" u="none" strike="noStrike">
                        <a:solidFill>
                          <a:srgbClr val="000000"/>
                        </a:solidFill>
                        <a:effectLst/>
                        <a:latin typeface="+mn-lt"/>
                      </a:endParaRPr>
                    </a:p>
                  </a:txBody>
                  <a:tcPr marL="7109" marR="7109" marT="7109" marB="0" anchor="b"/>
                </a:tc>
                <a:extLst>
                  <a:ext uri="{0D108BD9-81ED-4DB2-BD59-A6C34878D82A}">
                    <a16:rowId xmlns:a16="http://schemas.microsoft.com/office/drawing/2014/main" xmlns="" val="65218113"/>
                  </a:ext>
                </a:extLst>
              </a:tr>
              <a:tr h="295360">
                <a:tc>
                  <a:txBody>
                    <a:bodyPr/>
                    <a:lstStyle/>
                    <a:p>
                      <a:pPr algn="l" fontAlgn="b"/>
                      <a:r>
                        <a:rPr lang="en-US" sz="1400" u="none" strike="noStrike" dirty="0">
                          <a:effectLst/>
                          <a:latin typeface="+mn-lt"/>
                        </a:rPr>
                        <a:t>Free State</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8,511</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894</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1,520</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655</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277</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1,007</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891</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587</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125</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500</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14,966</a:t>
                      </a:r>
                      <a:endParaRPr lang="en-US" sz="1400" b="0" i="0" u="none" strike="noStrike">
                        <a:solidFill>
                          <a:srgbClr val="000000"/>
                        </a:solidFill>
                        <a:effectLst/>
                        <a:latin typeface="+mn-lt"/>
                      </a:endParaRPr>
                    </a:p>
                  </a:txBody>
                  <a:tcPr marL="7109" marR="7109" marT="7109" marB="0" anchor="b"/>
                </a:tc>
                <a:extLst>
                  <a:ext uri="{0D108BD9-81ED-4DB2-BD59-A6C34878D82A}">
                    <a16:rowId xmlns:a16="http://schemas.microsoft.com/office/drawing/2014/main" xmlns="" val="3786645691"/>
                  </a:ext>
                </a:extLst>
              </a:tr>
              <a:tr h="295360">
                <a:tc>
                  <a:txBody>
                    <a:bodyPr/>
                    <a:lstStyle/>
                    <a:p>
                      <a:pPr algn="l" fontAlgn="b"/>
                      <a:r>
                        <a:rPr lang="en-US" sz="1400" u="none" strike="noStrike">
                          <a:effectLst/>
                          <a:latin typeface="+mn-lt"/>
                        </a:rPr>
                        <a:t>Gauteng</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61,638</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9,003</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10,818</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8,391</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3,062</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16,482</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8,789</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5,941</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1,156</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4,217</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129,496</a:t>
                      </a:r>
                      <a:endParaRPr lang="en-US" sz="1400" b="0" i="0" u="none" strike="noStrike">
                        <a:solidFill>
                          <a:srgbClr val="000000"/>
                        </a:solidFill>
                        <a:effectLst/>
                        <a:latin typeface="+mn-lt"/>
                      </a:endParaRPr>
                    </a:p>
                  </a:txBody>
                  <a:tcPr marL="7109" marR="7109" marT="7109" marB="0" anchor="b"/>
                </a:tc>
                <a:extLst>
                  <a:ext uri="{0D108BD9-81ED-4DB2-BD59-A6C34878D82A}">
                    <a16:rowId xmlns:a16="http://schemas.microsoft.com/office/drawing/2014/main" xmlns="" val="1564081258"/>
                  </a:ext>
                </a:extLst>
              </a:tr>
              <a:tr h="295360">
                <a:tc>
                  <a:txBody>
                    <a:bodyPr/>
                    <a:lstStyle/>
                    <a:p>
                      <a:pPr algn="l" fontAlgn="b"/>
                      <a:r>
                        <a:rPr lang="en-US" sz="1400" u="none" strike="noStrike">
                          <a:effectLst/>
                          <a:latin typeface="+mn-lt"/>
                        </a:rPr>
                        <a:t>Kwa-Zulu Natal</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26,625</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3,197</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4,595</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2,551</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933</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4,330</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3,094</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2,375</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516</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1,574</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49,789</a:t>
                      </a:r>
                      <a:endParaRPr lang="en-US" sz="1400" b="0" i="0" u="none" strike="noStrike">
                        <a:solidFill>
                          <a:srgbClr val="000000"/>
                        </a:solidFill>
                        <a:effectLst/>
                        <a:latin typeface="+mn-lt"/>
                      </a:endParaRPr>
                    </a:p>
                  </a:txBody>
                  <a:tcPr marL="7109" marR="7109" marT="7109" marB="0" anchor="b"/>
                </a:tc>
                <a:extLst>
                  <a:ext uri="{0D108BD9-81ED-4DB2-BD59-A6C34878D82A}">
                    <a16:rowId xmlns:a16="http://schemas.microsoft.com/office/drawing/2014/main" xmlns="" val="108922226"/>
                  </a:ext>
                </a:extLst>
              </a:tr>
              <a:tr h="295360">
                <a:tc>
                  <a:txBody>
                    <a:bodyPr/>
                    <a:lstStyle/>
                    <a:p>
                      <a:pPr algn="l" fontAlgn="b"/>
                      <a:r>
                        <a:rPr lang="en-US" sz="1400" u="none" strike="noStrike" dirty="0">
                          <a:effectLst/>
                          <a:latin typeface="+mn-lt"/>
                        </a:rPr>
                        <a:t>Limpopo</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3,183</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372</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1,635</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347</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61</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952</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849</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832</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224</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352</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8,806</a:t>
                      </a:r>
                      <a:endParaRPr lang="en-US" sz="1400" b="0" i="0" u="none" strike="noStrike">
                        <a:solidFill>
                          <a:srgbClr val="000000"/>
                        </a:solidFill>
                        <a:effectLst/>
                        <a:latin typeface="+mn-lt"/>
                      </a:endParaRPr>
                    </a:p>
                  </a:txBody>
                  <a:tcPr marL="7109" marR="7109" marT="7109" marB="0" anchor="b"/>
                </a:tc>
                <a:extLst>
                  <a:ext uri="{0D108BD9-81ED-4DB2-BD59-A6C34878D82A}">
                    <a16:rowId xmlns:a16="http://schemas.microsoft.com/office/drawing/2014/main" xmlns="" val="239427153"/>
                  </a:ext>
                </a:extLst>
              </a:tr>
              <a:tr h="295360">
                <a:tc>
                  <a:txBody>
                    <a:bodyPr/>
                    <a:lstStyle/>
                    <a:p>
                      <a:pPr algn="l" fontAlgn="b"/>
                      <a:r>
                        <a:rPr lang="en-US" sz="1400" u="none" strike="noStrike">
                          <a:effectLst/>
                          <a:latin typeface="+mn-lt"/>
                        </a:rPr>
                        <a:t>Mpumalanga</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5,097</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507</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1,810</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474</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214</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1,192</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823</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752</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173</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394</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11,435</a:t>
                      </a:r>
                      <a:endParaRPr lang="en-US" sz="1400" b="0" i="0" u="none" strike="noStrike">
                        <a:solidFill>
                          <a:srgbClr val="000000"/>
                        </a:solidFill>
                        <a:effectLst/>
                        <a:latin typeface="+mn-lt"/>
                      </a:endParaRPr>
                    </a:p>
                  </a:txBody>
                  <a:tcPr marL="7109" marR="7109" marT="7109" marB="0" anchor="b"/>
                </a:tc>
                <a:extLst>
                  <a:ext uri="{0D108BD9-81ED-4DB2-BD59-A6C34878D82A}">
                    <a16:rowId xmlns:a16="http://schemas.microsoft.com/office/drawing/2014/main" xmlns="" val="532331608"/>
                  </a:ext>
                </a:extLst>
              </a:tr>
              <a:tr h="295360">
                <a:tc>
                  <a:txBody>
                    <a:bodyPr/>
                    <a:lstStyle/>
                    <a:p>
                      <a:pPr algn="l" fontAlgn="b"/>
                      <a:r>
                        <a:rPr lang="en-US" sz="1400" u="none" strike="noStrike" dirty="0">
                          <a:effectLst/>
                          <a:latin typeface="+mn-lt"/>
                        </a:rPr>
                        <a:t>North West</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5,786</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552</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1,410</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407</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283</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1,119</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623</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699</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139</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386</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11,403</a:t>
                      </a:r>
                      <a:endParaRPr lang="en-US" sz="1400" b="0" i="0" u="none" strike="noStrike">
                        <a:solidFill>
                          <a:srgbClr val="000000"/>
                        </a:solidFill>
                        <a:effectLst/>
                        <a:latin typeface="+mn-lt"/>
                      </a:endParaRPr>
                    </a:p>
                  </a:txBody>
                  <a:tcPr marL="7109" marR="7109" marT="7109" marB="0" anchor="b"/>
                </a:tc>
                <a:extLst>
                  <a:ext uri="{0D108BD9-81ED-4DB2-BD59-A6C34878D82A}">
                    <a16:rowId xmlns:a16="http://schemas.microsoft.com/office/drawing/2014/main" xmlns="" val="1507039686"/>
                  </a:ext>
                </a:extLst>
              </a:tr>
              <a:tr h="295360">
                <a:tc>
                  <a:txBody>
                    <a:bodyPr/>
                    <a:lstStyle/>
                    <a:p>
                      <a:pPr algn="l" fontAlgn="b"/>
                      <a:r>
                        <a:rPr lang="en-US" sz="1400" u="none" strike="noStrike" dirty="0">
                          <a:effectLst/>
                          <a:latin typeface="+mn-lt"/>
                        </a:rPr>
                        <a:t>Northern Cape</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2,116</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175</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568</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158</a:t>
                      </a:r>
                      <a:endParaRPr lang="en-US" sz="1400" b="0" i="0" u="none" strike="noStrike">
                        <a:solidFill>
                          <a:srgbClr val="000000"/>
                        </a:solidFill>
                        <a:effectLst/>
                        <a:latin typeface="+mn-lt"/>
                      </a:endParaRPr>
                    </a:p>
                  </a:txBody>
                  <a:tcPr marL="7109" marR="7109" marT="7109" marB="0" anchor="b"/>
                </a:tc>
                <a:tc>
                  <a:txBody>
                    <a:bodyPr/>
                    <a:lstStyle/>
                    <a:p>
                      <a:pPr algn="ctr" fontAlgn="b"/>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451</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212</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221</a:t>
                      </a:r>
                      <a:endParaRPr lang="en-US" sz="1400" b="0" i="0" u="none" strike="noStrike">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44</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dirty="0">
                          <a:effectLst/>
                          <a:latin typeface="+mn-lt"/>
                        </a:rPr>
                        <a:t>144</a:t>
                      </a:r>
                      <a:endParaRPr lang="en-US" sz="1400" b="0" i="0" u="none" strike="noStrike" dirty="0">
                        <a:solidFill>
                          <a:srgbClr val="000000"/>
                        </a:solidFill>
                        <a:effectLst/>
                        <a:latin typeface="+mn-lt"/>
                      </a:endParaRPr>
                    </a:p>
                  </a:txBody>
                  <a:tcPr marL="7109" marR="7109" marT="7109" marB="0" anchor="b"/>
                </a:tc>
                <a:tc>
                  <a:txBody>
                    <a:bodyPr/>
                    <a:lstStyle/>
                    <a:p>
                      <a:pPr algn="ctr" fontAlgn="b"/>
                      <a:r>
                        <a:rPr lang="en-US" sz="1400" u="none" strike="noStrike">
                          <a:effectLst/>
                          <a:latin typeface="+mn-lt"/>
                        </a:rPr>
                        <a:t>4,088</a:t>
                      </a:r>
                      <a:endParaRPr lang="en-US" sz="1400" b="0" i="0" u="none" strike="noStrike">
                        <a:solidFill>
                          <a:srgbClr val="000000"/>
                        </a:solidFill>
                        <a:effectLst/>
                        <a:latin typeface="+mn-lt"/>
                      </a:endParaRPr>
                    </a:p>
                  </a:txBody>
                  <a:tcPr marL="7109" marR="7109" marT="7109" marB="0" anchor="b"/>
                </a:tc>
                <a:extLst>
                  <a:ext uri="{0D108BD9-81ED-4DB2-BD59-A6C34878D82A}">
                    <a16:rowId xmlns:a16="http://schemas.microsoft.com/office/drawing/2014/main" xmlns="" val="3900859127"/>
                  </a:ext>
                </a:extLst>
              </a:tr>
              <a:tr h="295360">
                <a:tc>
                  <a:txBody>
                    <a:bodyPr/>
                    <a:lstStyle/>
                    <a:p>
                      <a:pPr algn="l" fontAlgn="b"/>
                      <a:r>
                        <a:rPr lang="en-US" sz="1400" b="1" u="none" strike="noStrike" dirty="0">
                          <a:solidFill>
                            <a:srgbClr val="7030A0"/>
                          </a:solidFill>
                          <a:effectLst/>
                          <a:latin typeface="+mn-lt"/>
                        </a:rPr>
                        <a:t>Western Cape</a:t>
                      </a:r>
                      <a:endParaRPr lang="en-US" sz="1400" b="1" i="0" u="none" strike="noStrike" dirty="0">
                        <a:solidFill>
                          <a:srgbClr val="7030A0"/>
                        </a:solidFill>
                        <a:effectLst/>
                        <a:latin typeface="+mn-lt"/>
                      </a:endParaRPr>
                    </a:p>
                  </a:txBody>
                  <a:tcPr marL="7109" marR="7109" marT="7109" marB="0" anchor="b"/>
                </a:tc>
                <a:tc>
                  <a:txBody>
                    <a:bodyPr/>
                    <a:lstStyle/>
                    <a:p>
                      <a:pPr algn="ctr" fontAlgn="b"/>
                      <a:r>
                        <a:rPr lang="en-US" sz="1400" b="1" u="none" strike="noStrike" dirty="0">
                          <a:solidFill>
                            <a:srgbClr val="7030A0"/>
                          </a:solidFill>
                          <a:effectLst/>
                          <a:latin typeface="+mn-lt"/>
                        </a:rPr>
                        <a:t>27,868</a:t>
                      </a:r>
                      <a:endParaRPr lang="en-US" sz="1400" b="1" i="0" u="none" strike="noStrike" dirty="0">
                        <a:solidFill>
                          <a:srgbClr val="7030A0"/>
                        </a:solidFill>
                        <a:effectLst/>
                        <a:latin typeface="+mn-lt"/>
                      </a:endParaRPr>
                    </a:p>
                  </a:txBody>
                  <a:tcPr marL="7109" marR="7109" marT="7109" marB="0" anchor="b"/>
                </a:tc>
                <a:tc>
                  <a:txBody>
                    <a:bodyPr/>
                    <a:lstStyle/>
                    <a:p>
                      <a:pPr algn="ctr" fontAlgn="b"/>
                      <a:r>
                        <a:rPr lang="en-US" sz="1400" b="1" u="none" strike="noStrike" dirty="0">
                          <a:solidFill>
                            <a:srgbClr val="7030A0"/>
                          </a:solidFill>
                          <a:effectLst/>
                          <a:latin typeface="+mn-lt"/>
                        </a:rPr>
                        <a:t>4,899</a:t>
                      </a:r>
                      <a:endParaRPr lang="en-US" sz="1400" b="1" i="0" u="none" strike="noStrike" dirty="0">
                        <a:solidFill>
                          <a:srgbClr val="7030A0"/>
                        </a:solidFill>
                        <a:effectLst/>
                        <a:latin typeface="+mn-lt"/>
                      </a:endParaRPr>
                    </a:p>
                  </a:txBody>
                  <a:tcPr marL="7109" marR="7109" marT="7109" marB="0" anchor="b"/>
                </a:tc>
                <a:tc>
                  <a:txBody>
                    <a:bodyPr/>
                    <a:lstStyle/>
                    <a:p>
                      <a:pPr algn="ctr" fontAlgn="b"/>
                      <a:r>
                        <a:rPr lang="en-US" sz="1400" b="1" u="none" strike="noStrike" dirty="0">
                          <a:solidFill>
                            <a:srgbClr val="7030A0"/>
                          </a:solidFill>
                          <a:effectLst/>
                          <a:latin typeface="+mn-lt"/>
                        </a:rPr>
                        <a:t>5,468</a:t>
                      </a:r>
                      <a:endParaRPr lang="en-US" sz="1400" b="1" i="0" u="none" strike="noStrike" dirty="0">
                        <a:solidFill>
                          <a:srgbClr val="7030A0"/>
                        </a:solidFill>
                        <a:effectLst/>
                        <a:latin typeface="+mn-lt"/>
                      </a:endParaRPr>
                    </a:p>
                  </a:txBody>
                  <a:tcPr marL="7109" marR="7109" marT="7109" marB="0" anchor="b"/>
                </a:tc>
                <a:tc>
                  <a:txBody>
                    <a:bodyPr/>
                    <a:lstStyle/>
                    <a:p>
                      <a:pPr algn="ctr" fontAlgn="b"/>
                      <a:r>
                        <a:rPr lang="en-US" sz="1400" b="1" u="none" strike="noStrike" dirty="0">
                          <a:solidFill>
                            <a:srgbClr val="7030A0"/>
                          </a:solidFill>
                          <a:effectLst/>
                          <a:latin typeface="+mn-lt"/>
                        </a:rPr>
                        <a:t>2,529</a:t>
                      </a:r>
                      <a:endParaRPr lang="en-US" sz="1400" b="1" i="0" u="none" strike="noStrike" dirty="0">
                        <a:solidFill>
                          <a:srgbClr val="7030A0"/>
                        </a:solidFill>
                        <a:effectLst/>
                        <a:latin typeface="+mn-lt"/>
                      </a:endParaRPr>
                    </a:p>
                  </a:txBody>
                  <a:tcPr marL="7109" marR="7109" marT="7109" marB="0" anchor="b"/>
                </a:tc>
                <a:tc>
                  <a:txBody>
                    <a:bodyPr/>
                    <a:lstStyle/>
                    <a:p>
                      <a:pPr algn="ctr" fontAlgn="b"/>
                      <a:r>
                        <a:rPr lang="en-US" sz="1400" b="1" u="none" strike="noStrike" dirty="0">
                          <a:solidFill>
                            <a:srgbClr val="7030A0"/>
                          </a:solidFill>
                          <a:effectLst/>
                          <a:latin typeface="+mn-lt"/>
                        </a:rPr>
                        <a:t>1,393</a:t>
                      </a:r>
                      <a:endParaRPr lang="en-US" sz="1400" b="1" i="0" u="none" strike="noStrike" dirty="0">
                        <a:solidFill>
                          <a:srgbClr val="7030A0"/>
                        </a:solidFill>
                        <a:effectLst/>
                        <a:latin typeface="+mn-lt"/>
                      </a:endParaRPr>
                    </a:p>
                  </a:txBody>
                  <a:tcPr marL="7109" marR="7109" marT="7109" marB="0" anchor="b"/>
                </a:tc>
                <a:tc>
                  <a:txBody>
                    <a:bodyPr/>
                    <a:lstStyle/>
                    <a:p>
                      <a:pPr algn="ctr" fontAlgn="b"/>
                      <a:r>
                        <a:rPr lang="en-US" sz="1400" b="1" u="none" strike="noStrike" dirty="0">
                          <a:solidFill>
                            <a:srgbClr val="7030A0"/>
                          </a:solidFill>
                          <a:effectLst/>
                          <a:latin typeface="+mn-lt"/>
                        </a:rPr>
                        <a:t>6,383</a:t>
                      </a:r>
                      <a:endParaRPr lang="en-US" sz="1400" b="1" i="0" u="none" strike="noStrike" dirty="0">
                        <a:solidFill>
                          <a:srgbClr val="7030A0"/>
                        </a:solidFill>
                        <a:effectLst/>
                        <a:latin typeface="+mn-lt"/>
                      </a:endParaRPr>
                    </a:p>
                  </a:txBody>
                  <a:tcPr marL="7109" marR="7109" marT="7109" marB="0" anchor="b"/>
                </a:tc>
                <a:tc>
                  <a:txBody>
                    <a:bodyPr/>
                    <a:lstStyle/>
                    <a:p>
                      <a:pPr algn="ctr" fontAlgn="b"/>
                      <a:r>
                        <a:rPr lang="en-US" sz="1400" b="1" u="none" strike="noStrike" dirty="0">
                          <a:solidFill>
                            <a:srgbClr val="7030A0"/>
                          </a:solidFill>
                          <a:effectLst/>
                          <a:latin typeface="+mn-lt"/>
                        </a:rPr>
                        <a:t>4,511</a:t>
                      </a:r>
                      <a:endParaRPr lang="en-US" sz="1400" b="1" i="0" u="none" strike="noStrike" dirty="0">
                        <a:solidFill>
                          <a:srgbClr val="7030A0"/>
                        </a:solidFill>
                        <a:effectLst/>
                        <a:latin typeface="+mn-lt"/>
                      </a:endParaRPr>
                    </a:p>
                  </a:txBody>
                  <a:tcPr marL="7109" marR="7109" marT="7109" marB="0" anchor="b"/>
                </a:tc>
                <a:tc>
                  <a:txBody>
                    <a:bodyPr/>
                    <a:lstStyle/>
                    <a:p>
                      <a:pPr algn="ctr" fontAlgn="b"/>
                      <a:r>
                        <a:rPr lang="en-US" sz="1400" b="1" u="none" strike="noStrike" dirty="0">
                          <a:solidFill>
                            <a:srgbClr val="7030A0"/>
                          </a:solidFill>
                          <a:effectLst/>
                          <a:latin typeface="+mn-lt"/>
                        </a:rPr>
                        <a:t>2,928</a:t>
                      </a:r>
                      <a:endParaRPr lang="en-US" sz="1400" b="1" i="0" u="none" strike="noStrike" dirty="0">
                        <a:solidFill>
                          <a:srgbClr val="7030A0"/>
                        </a:solidFill>
                        <a:effectLst/>
                        <a:latin typeface="+mn-lt"/>
                      </a:endParaRPr>
                    </a:p>
                  </a:txBody>
                  <a:tcPr marL="7109" marR="7109" marT="7109" marB="0" anchor="b"/>
                </a:tc>
                <a:tc>
                  <a:txBody>
                    <a:bodyPr/>
                    <a:lstStyle/>
                    <a:p>
                      <a:pPr algn="ctr" fontAlgn="b"/>
                      <a:r>
                        <a:rPr lang="en-US" sz="1400" b="1" u="none" strike="noStrike" dirty="0">
                          <a:solidFill>
                            <a:srgbClr val="7030A0"/>
                          </a:solidFill>
                          <a:effectLst/>
                          <a:latin typeface="+mn-lt"/>
                        </a:rPr>
                        <a:t>464</a:t>
                      </a:r>
                      <a:endParaRPr lang="en-US" sz="1400" b="1" i="0" u="none" strike="noStrike" dirty="0">
                        <a:solidFill>
                          <a:srgbClr val="7030A0"/>
                        </a:solidFill>
                        <a:effectLst/>
                        <a:latin typeface="+mn-lt"/>
                      </a:endParaRPr>
                    </a:p>
                  </a:txBody>
                  <a:tcPr marL="7109" marR="7109" marT="7109" marB="0" anchor="b"/>
                </a:tc>
                <a:tc>
                  <a:txBody>
                    <a:bodyPr/>
                    <a:lstStyle/>
                    <a:p>
                      <a:pPr algn="ctr" fontAlgn="b"/>
                      <a:r>
                        <a:rPr lang="en-US" sz="1400" b="1" u="none" strike="noStrike" dirty="0">
                          <a:solidFill>
                            <a:srgbClr val="7030A0"/>
                          </a:solidFill>
                          <a:effectLst/>
                          <a:latin typeface="+mn-lt"/>
                        </a:rPr>
                        <a:t>2,143</a:t>
                      </a:r>
                      <a:endParaRPr lang="en-US" sz="1400" b="1" i="0" u="none" strike="noStrike" dirty="0">
                        <a:solidFill>
                          <a:srgbClr val="7030A0"/>
                        </a:solidFill>
                        <a:effectLst/>
                        <a:latin typeface="+mn-lt"/>
                      </a:endParaRPr>
                    </a:p>
                  </a:txBody>
                  <a:tcPr marL="7109" marR="7109" marT="7109" marB="0" anchor="b"/>
                </a:tc>
                <a:tc>
                  <a:txBody>
                    <a:bodyPr/>
                    <a:lstStyle/>
                    <a:p>
                      <a:pPr algn="ctr" fontAlgn="b"/>
                      <a:r>
                        <a:rPr lang="en-US" sz="1400" b="1" u="none" strike="noStrike" dirty="0">
                          <a:solidFill>
                            <a:srgbClr val="7030A0"/>
                          </a:solidFill>
                          <a:effectLst/>
                          <a:latin typeface="+mn-lt"/>
                        </a:rPr>
                        <a:t>58,584</a:t>
                      </a:r>
                      <a:endParaRPr lang="en-US" sz="1400" b="1" i="0" u="none" strike="noStrike" dirty="0">
                        <a:solidFill>
                          <a:srgbClr val="7030A0"/>
                        </a:solidFill>
                        <a:effectLst/>
                        <a:latin typeface="+mn-lt"/>
                      </a:endParaRPr>
                    </a:p>
                  </a:txBody>
                  <a:tcPr marL="7109" marR="7109" marT="7109" marB="0" anchor="b"/>
                </a:tc>
                <a:extLst>
                  <a:ext uri="{0D108BD9-81ED-4DB2-BD59-A6C34878D82A}">
                    <a16:rowId xmlns:a16="http://schemas.microsoft.com/office/drawing/2014/main" xmlns="" val="4192842411"/>
                  </a:ext>
                </a:extLst>
              </a:tr>
              <a:tr h="295360">
                <a:tc>
                  <a:txBody>
                    <a:bodyPr/>
                    <a:lstStyle/>
                    <a:p>
                      <a:pPr algn="l" fontAlgn="b"/>
                      <a:r>
                        <a:rPr lang="en-US" sz="1400" b="1" u="none" strike="noStrike" dirty="0">
                          <a:effectLst/>
                          <a:latin typeface="+mn-lt"/>
                        </a:rPr>
                        <a:t>Total</a:t>
                      </a:r>
                      <a:endParaRPr lang="en-US" sz="1400" b="1" i="0" u="none" strike="noStrike" dirty="0">
                        <a:solidFill>
                          <a:srgbClr val="000000"/>
                        </a:solidFill>
                        <a:effectLst/>
                        <a:latin typeface="+mn-lt"/>
                      </a:endParaRPr>
                    </a:p>
                  </a:txBody>
                  <a:tcPr marL="7109" marR="7109" marT="7109" marB="0" anchor="b"/>
                </a:tc>
                <a:tc>
                  <a:txBody>
                    <a:bodyPr/>
                    <a:lstStyle/>
                    <a:p>
                      <a:pPr algn="ctr" fontAlgn="b"/>
                      <a:r>
                        <a:rPr lang="en-US" sz="1400" b="1" u="none" strike="noStrike">
                          <a:effectLst/>
                          <a:latin typeface="+mn-lt"/>
                        </a:rPr>
                        <a:t>149,478</a:t>
                      </a:r>
                      <a:endParaRPr lang="en-US" sz="1400" b="1" i="0" u="none" strike="noStrike">
                        <a:solidFill>
                          <a:srgbClr val="000000"/>
                        </a:solidFill>
                        <a:effectLst/>
                        <a:latin typeface="+mn-lt"/>
                      </a:endParaRPr>
                    </a:p>
                  </a:txBody>
                  <a:tcPr marL="7109" marR="7109" marT="7109" marB="0" anchor="b"/>
                </a:tc>
                <a:tc>
                  <a:txBody>
                    <a:bodyPr/>
                    <a:lstStyle/>
                    <a:p>
                      <a:pPr algn="ctr" fontAlgn="b"/>
                      <a:r>
                        <a:rPr lang="en-US" sz="1400" b="1" u="none" strike="noStrike">
                          <a:effectLst/>
                          <a:latin typeface="+mn-lt"/>
                        </a:rPr>
                        <a:t>20,619</a:t>
                      </a:r>
                      <a:endParaRPr lang="en-US" sz="1400" b="1" i="0" u="none" strike="noStrike">
                        <a:solidFill>
                          <a:srgbClr val="000000"/>
                        </a:solidFill>
                        <a:effectLst/>
                        <a:latin typeface="+mn-lt"/>
                      </a:endParaRPr>
                    </a:p>
                  </a:txBody>
                  <a:tcPr marL="7109" marR="7109" marT="7109" marB="0" anchor="b"/>
                </a:tc>
                <a:tc>
                  <a:txBody>
                    <a:bodyPr/>
                    <a:lstStyle/>
                    <a:p>
                      <a:pPr algn="ctr" fontAlgn="b"/>
                      <a:r>
                        <a:rPr lang="en-US" sz="1400" b="1" u="none" strike="noStrike">
                          <a:effectLst/>
                          <a:latin typeface="+mn-lt"/>
                        </a:rPr>
                        <a:t>30,365</a:t>
                      </a:r>
                      <a:endParaRPr lang="en-US" sz="1400" b="1" i="0" u="none" strike="noStrike">
                        <a:solidFill>
                          <a:srgbClr val="000000"/>
                        </a:solidFill>
                        <a:effectLst/>
                        <a:latin typeface="+mn-lt"/>
                      </a:endParaRPr>
                    </a:p>
                  </a:txBody>
                  <a:tcPr marL="7109" marR="7109" marT="7109" marB="0" anchor="b"/>
                </a:tc>
                <a:tc>
                  <a:txBody>
                    <a:bodyPr/>
                    <a:lstStyle/>
                    <a:p>
                      <a:pPr algn="ctr" fontAlgn="b"/>
                      <a:r>
                        <a:rPr lang="en-US" sz="1400" b="1" u="none" strike="noStrike" dirty="0">
                          <a:effectLst/>
                          <a:latin typeface="+mn-lt"/>
                        </a:rPr>
                        <a:t>16,212</a:t>
                      </a:r>
                      <a:endParaRPr lang="en-US" sz="1400" b="1" i="0" u="none" strike="noStrike" dirty="0">
                        <a:solidFill>
                          <a:srgbClr val="000000"/>
                        </a:solidFill>
                        <a:effectLst/>
                        <a:latin typeface="+mn-lt"/>
                      </a:endParaRPr>
                    </a:p>
                  </a:txBody>
                  <a:tcPr marL="7109" marR="7109" marT="7109" marB="0" anchor="b"/>
                </a:tc>
                <a:tc>
                  <a:txBody>
                    <a:bodyPr/>
                    <a:lstStyle/>
                    <a:p>
                      <a:pPr algn="ctr" fontAlgn="b"/>
                      <a:r>
                        <a:rPr lang="en-US" sz="1400" b="1" u="none" strike="noStrike">
                          <a:effectLst/>
                          <a:latin typeface="+mn-lt"/>
                        </a:rPr>
                        <a:t>6,564</a:t>
                      </a:r>
                      <a:endParaRPr lang="en-US" sz="1400" b="1" i="0" u="none" strike="noStrike">
                        <a:solidFill>
                          <a:srgbClr val="000000"/>
                        </a:solidFill>
                        <a:effectLst/>
                        <a:latin typeface="+mn-lt"/>
                      </a:endParaRPr>
                    </a:p>
                  </a:txBody>
                  <a:tcPr marL="7109" marR="7109" marT="7109" marB="0" anchor="b"/>
                </a:tc>
                <a:tc>
                  <a:txBody>
                    <a:bodyPr/>
                    <a:lstStyle/>
                    <a:p>
                      <a:pPr algn="ctr" fontAlgn="b"/>
                      <a:r>
                        <a:rPr lang="en-US" sz="1400" b="1" u="none" strike="noStrike">
                          <a:effectLst/>
                          <a:latin typeface="+mn-lt"/>
                        </a:rPr>
                        <a:t>33,873</a:t>
                      </a:r>
                      <a:endParaRPr lang="en-US" sz="1400" b="1" i="0" u="none" strike="noStrike">
                        <a:solidFill>
                          <a:srgbClr val="000000"/>
                        </a:solidFill>
                        <a:effectLst/>
                        <a:latin typeface="+mn-lt"/>
                      </a:endParaRPr>
                    </a:p>
                  </a:txBody>
                  <a:tcPr marL="7109" marR="7109" marT="7109" marB="0" anchor="b"/>
                </a:tc>
                <a:tc>
                  <a:txBody>
                    <a:bodyPr/>
                    <a:lstStyle/>
                    <a:p>
                      <a:pPr algn="ctr" fontAlgn="b"/>
                      <a:r>
                        <a:rPr lang="en-US" sz="1400" b="1" u="none" strike="noStrike">
                          <a:effectLst/>
                          <a:latin typeface="+mn-lt"/>
                        </a:rPr>
                        <a:t>20,822</a:t>
                      </a:r>
                      <a:endParaRPr lang="en-US" sz="1400" b="1" i="0" u="none" strike="noStrike">
                        <a:solidFill>
                          <a:srgbClr val="000000"/>
                        </a:solidFill>
                        <a:effectLst/>
                        <a:latin typeface="+mn-lt"/>
                      </a:endParaRPr>
                    </a:p>
                  </a:txBody>
                  <a:tcPr marL="7109" marR="7109" marT="7109" marB="0" anchor="b"/>
                </a:tc>
                <a:tc>
                  <a:txBody>
                    <a:bodyPr/>
                    <a:lstStyle/>
                    <a:p>
                      <a:pPr algn="ctr" fontAlgn="b"/>
                      <a:r>
                        <a:rPr lang="en-US" sz="1400" b="1" u="none" strike="noStrike">
                          <a:effectLst/>
                          <a:latin typeface="+mn-lt"/>
                        </a:rPr>
                        <a:t>15,118</a:t>
                      </a:r>
                      <a:endParaRPr lang="en-US" sz="1400" b="1" i="0" u="none" strike="noStrike">
                        <a:solidFill>
                          <a:srgbClr val="000000"/>
                        </a:solidFill>
                        <a:effectLst/>
                        <a:latin typeface="+mn-lt"/>
                      </a:endParaRPr>
                    </a:p>
                  </a:txBody>
                  <a:tcPr marL="7109" marR="7109" marT="7109" marB="0" anchor="b"/>
                </a:tc>
                <a:tc>
                  <a:txBody>
                    <a:bodyPr/>
                    <a:lstStyle/>
                    <a:p>
                      <a:pPr algn="ctr" fontAlgn="b"/>
                      <a:r>
                        <a:rPr lang="en-US" sz="1400" b="1" u="none" strike="noStrike">
                          <a:effectLst/>
                          <a:latin typeface="+mn-lt"/>
                        </a:rPr>
                        <a:t>3,045</a:t>
                      </a:r>
                      <a:endParaRPr lang="en-US" sz="1400" b="1" i="0" u="none" strike="noStrike">
                        <a:solidFill>
                          <a:srgbClr val="000000"/>
                        </a:solidFill>
                        <a:effectLst/>
                        <a:latin typeface="+mn-lt"/>
                      </a:endParaRPr>
                    </a:p>
                  </a:txBody>
                  <a:tcPr marL="7109" marR="7109" marT="7109" marB="0" anchor="b"/>
                </a:tc>
                <a:tc>
                  <a:txBody>
                    <a:bodyPr/>
                    <a:lstStyle/>
                    <a:p>
                      <a:pPr algn="ctr" fontAlgn="b"/>
                      <a:r>
                        <a:rPr lang="en-US" sz="1400" b="1" u="none" strike="noStrike" dirty="0">
                          <a:effectLst/>
                          <a:latin typeface="+mn-lt"/>
                        </a:rPr>
                        <a:t>10,304</a:t>
                      </a:r>
                      <a:endParaRPr lang="en-US" sz="1400" b="1" i="0" u="none" strike="noStrike" dirty="0">
                        <a:solidFill>
                          <a:srgbClr val="000000"/>
                        </a:solidFill>
                        <a:effectLst/>
                        <a:latin typeface="+mn-lt"/>
                      </a:endParaRPr>
                    </a:p>
                  </a:txBody>
                  <a:tcPr marL="7109" marR="7109" marT="7109" marB="0" anchor="b"/>
                </a:tc>
                <a:tc>
                  <a:txBody>
                    <a:bodyPr/>
                    <a:lstStyle/>
                    <a:p>
                      <a:pPr algn="ctr" fontAlgn="b"/>
                      <a:r>
                        <a:rPr lang="en-US" sz="1400" b="1" u="none" strike="noStrike" dirty="0">
                          <a:effectLst/>
                          <a:latin typeface="+mn-lt"/>
                        </a:rPr>
                        <a:t>306,398</a:t>
                      </a:r>
                      <a:endParaRPr lang="en-US" sz="1400" b="1" i="0" u="none" strike="noStrike" dirty="0">
                        <a:solidFill>
                          <a:srgbClr val="000000"/>
                        </a:solidFill>
                        <a:effectLst/>
                        <a:latin typeface="+mn-lt"/>
                      </a:endParaRPr>
                    </a:p>
                  </a:txBody>
                  <a:tcPr marL="7109" marR="7109" marT="7109" marB="0" anchor="b"/>
                </a:tc>
                <a:extLst>
                  <a:ext uri="{0D108BD9-81ED-4DB2-BD59-A6C34878D82A}">
                    <a16:rowId xmlns:a16="http://schemas.microsoft.com/office/drawing/2014/main" xmlns="" val="877478212"/>
                  </a:ext>
                </a:extLst>
              </a:tr>
            </a:tbl>
          </a:graphicData>
        </a:graphic>
      </p:graphicFrame>
    </p:spTree>
    <p:extLst>
      <p:ext uri="{BB962C8B-B14F-4D97-AF65-F5344CB8AC3E}">
        <p14:creationId xmlns:p14="http://schemas.microsoft.com/office/powerpoint/2010/main" xmlns="" val="40382111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FDA32824-3BB5-4C43-8ED8-7FBF70D63738}"/>
              </a:ext>
            </a:extLst>
          </p:cNvPr>
          <p:cNvSpPr/>
          <p:nvPr/>
        </p:nvSpPr>
        <p:spPr>
          <a:xfrm>
            <a:off x="0" y="1699140"/>
            <a:ext cx="9144000" cy="430161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a:ln>
                <a:noFill/>
              </a:ln>
              <a:solidFill>
                <a:prstClr val="white"/>
              </a:solidFill>
              <a:effectLst/>
              <a:uLnTx/>
              <a:uFillTx/>
              <a:latin typeface="Calibri"/>
              <a:ea typeface="+mn-ea"/>
              <a:cs typeface="+mn-cs"/>
            </a:endParaRPr>
          </a:p>
        </p:txBody>
      </p:sp>
      <p:grpSp>
        <p:nvGrpSpPr>
          <p:cNvPr id="6" name="Group 5">
            <a:extLst>
              <a:ext uri="{FF2B5EF4-FFF2-40B4-BE49-F238E27FC236}">
                <a16:creationId xmlns:a16="http://schemas.microsoft.com/office/drawing/2014/main" xmlns="" id="{3E447A70-E6F7-49EB-B261-CF2FB9E731F5}"/>
              </a:ext>
            </a:extLst>
          </p:cNvPr>
          <p:cNvGrpSpPr/>
          <p:nvPr/>
        </p:nvGrpSpPr>
        <p:grpSpPr>
          <a:xfrm>
            <a:off x="2235937" y="2241730"/>
            <a:ext cx="3293565" cy="3126296"/>
            <a:chOff x="3351902" y="1845972"/>
            <a:chExt cx="4020767" cy="4168395"/>
          </a:xfrm>
        </p:grpSpPr>
        <p:sp>
          <p:nvSpPr>
            <p:cNvPr id="33" name="Google Shape;136;p1">
              <a:extLst>
                <a:ext uri="{FF2B5EF4-FFF2-40B4-BE49-F238E27FC236}">
                  <a16:creationId xmlns:a16="http://schemas.microsoft.com/office/drawing/2014/main" xmlns="" id="{DCE056FE-C92C-4D64-A422-830459F1F89E}"/>
                </a:ext>
              </a:extLst>
            </p:cNvPr>
            <p:cNvSpPr/>
            <p:nvPr/>
          </p:nvSpPr>
          <p:spPr>
            <a:xfrm>
              <a:off x="4242754" y="3438038"/>
              <a:ext cx="1712015" cy="1951607"/>
            </a:xfrm>
            <a:custGeom>
              <a:avLst/>
              <a:gdLst/>
              <a:ahLst/>
              <a:cxnLst/>
              <a:rect l="l" t="t" r="r" b="b"/>
              <a:pathLst>
                <a:path w="7682" h="8000" extrusionOk="0">
                  <a:moveTo>
                    <a:pt x="1156" y="6308"/>
                  </a:moveTo>
                  <a:lnTo>
                    <a:pt x="1240" y="6188"/>
                  </a:lnTo>
                  <a:lnTo>
                    <a:pt x="1324" y="6092"/>
                  </a:lnTo>
                  <a:lnTo>
                    <a:pt x="1348" y="5923"/>
                  </a:lnTo>
                  <a:lnTo>
                    <a:pt x="1480" y="5947"/>
                  </a:lnTo>
                  <a:lnTo>
                    <a:pt x="1588" y="5911"/>
                  </a:lnTo>
                  <a:lnTo>
                    <a:pt x="1648" y="5791"/>
                  </a:lnTo>
                  <a:lnTo>
                    <a:pt x="1684" y="5647"/>
                  </a:lnTo>
                  <a:lnTo>
                    <a:pt x="1816" y="5599"/>
                  </a:lnTo>
                  <a:lnTo>
                    <a:pt x="1864" y="5647"/>
                  </a:lnTo>
                  <a:lnTo>
                    <a:pt x="2007" y="5719"/>
                  </a:lnTo>
                  <a:lnTo>
                    <a:pt x="2091" y="5863"/>
                  </a:lnTo>
                  <a:lnTo>
                    <a:pt x="2163" y="5839"/>
                  </a:lnTo>
                  <a:lnTo>
                    <a:pt x="2115" y="6020"/>
                  </a:lnTo>
                  <a:lnTo>
                    <a:pt x="2127" y="6188"/>
                  </a:lnTo>
                  <a:lnTo>
                    <a:pt x="2187" y="6308"/>
                  </a:lnTo>
                  <a:lnTo>
                    <a:pt x="2259" y="6500"/>
                  </a:lnTo>
                  <a:lnTo>
                    <a:pt x="2259" y="6668"/>
                  </a:lnTo>
                  <a:lnTo>
                    <a:pt x="2283" y="6812"/>
                  </a:lnTo>
                  <a:lnTo>
                    <a:pt x="2319" y="6956"/>
                  </a:lnTo>
                  <a:lnTo>
                    <a:pt x="2415" y="7052"/>
                  </a:lnTo>
                  <a:lnTo>
                    <a:pt x="2523" y="7148"/>
                  </a:lnTo>
                  <a:lnTo>
                    <a:pt x="2655" y="7220"/>
                  </a:lnTo>
                  <a:lnTo>
                    <a:pt x="2655" y="7340"/>
                  </a:lnTo>
                  <a:lnTo>
                    <a:pt x="2583" y="7448"/>
                  </a:lnTo>
                  <a:lnTo>
                    <a:pt x="2679" y="7592"/>
                  </a:lnTo>
                  <a:lnTo>
                    <a:pt x="2643" y="7700"/>
                  </a:lnTo>
                  <a:lnTo>
                    <a:pt x="2751" y="7760"/>
                  </a:lnTo>
                  <a:lnTo>
                    <a:pt x="2751" y="7664"/>
                  </a:lnTo>
                  <a:lnTo>
                    <a:pt x="2799" y="7580"/>
                  </a:lnTo>
                  <a:lnTo>
                    <a:pt x="2871" y="7472"/>
                  </a:lnTo>
                  <a:lnTo>
                    <a:pt x="3015" y="7460"/>
                  </a:lnTo>
                  <a:lnTo>
                    <a:pt x="3087" y="7364"/>
                  </a:lnTo>
                  <a:lnTo>
                    <a:pt x="3195" y="7280"/>
                  </a:lnTo>
                  <a:lnTo>
                    <a:pt x="3267" y="7316"/>
                  </a:lnTo>
                  <a:lnTo>
                    <a:pt x="3219" y="7484"/>
                  </a:lnTo>
                  <a:lnTo>
                    <a:pt x="3171" y="7604"/>
                  </a:lnTo>
                  <a:lnTo>
                    <a:pt x="3243" y="7772"/>
                  </a:lnTo>
                  <a:lnTo>
                    <a:pt x="3267" y="7880"/>
                  </a:lnTo>
                  <a:lnTo>
                    <a:pt x="3423" y="8000"/>
                  </a:lnTo>
                  <a:lnTo>
                    <a:pt x="3567" y="7988"/>
                  </a:lnTo>
                  <a:lnTo>
                    <a:pt x="3687" y="8000"/>
                  </a:lnTo>
                  <a:lnTo>
                    <a:pt x="3783" y="7904"/>
                  </a:lnTo>
                  <a:lnTo>
                    <a:pt x="3819" y="7748"/>
                  </a:lnTo>
                  <a:lnTo>
                    <a:pt x="3915" y="7760"/>
                  </a:lnTo>
                  <a:lnTo>
                    <a:pt x="4059" y="7652"/>
                  </a:lnTo>
                  <a:lnTo>
                    <a:pt x="4023" y="7532"/>
                  </a:lnTo>
                  <a:lnTo>
                    <a:pt x="4155" y="7508"/>
                  </a:lnTo>
                  <a:lnTo>
                    <a:pt x="4263" y="7388"/>
                  </a:lnTo>
                  <a:lnTo>
                    <a:pt x="4359" y="7364"/>
                  </a:lnTo>
                  <a:lnTo>
                    <a:pt x="4371" y="7268"/>
                  </a:lnTo>
                  <a:lnTo>
                    <a:pt x="4527" y="7244"/>
                  </a:lnTo>
                  <a:lnTo>
                    <a:pt x="4635" y="7340"/>
                  </a:lnTo>
                  <a:lnTo>
                    <a:pt x="4719" y="7232"/>
                  </a:lnTo>
                  <a:lnTo>
                    <a:pt x="4851" y="7124"/>
                  </a:lnTo>
                  <a:lnTo>
                    <a:pt x="4791" y="7052"/>
                  </a:lnTo>
                  <a:lnTo>
                    <a:pt x="4863" y="6896"/>
                  </a:lnTo>
                  <a:lnTo>
                    <a:pt x="4995" y="6644"/>
                  </a:lnTo>
                  <a:lnTo>
                    <a:pt x="5163" y="6728"/>
                  </a:lnTo>
                  <a:lnTo>
                    <a:pt x="5271" y="6872"/>
                  </a:lnTo>
                  <a:lnTo>
                    <a:pt x="5475" y="6872"/>
                  </a:lnTo>
                  <a:lnTo>
                    <a:pt x="5583" y="6956"/>
                  </a:lnTo>
                  <a:lnTo>
                    <a:pt x="5727" y="7016"/>
                  </a:lnTo>
                  <a:lnTo>
                    <a:pt x="5763" y="6872"/>
                  </a:lnTo>
                  <a:lnTo>
                    <a:pt x="5906" y="6764"/>
                  </a:lnTo>
                  <a:lnTo>
                    <a:pt x="6134" y="6704"/>
                  </a:lnTo>
                  <a:lnTo>
                    <a:pt x="6290" y="6848"/>
                  </a:lnTo>
                  <a:lnTo>
                    <a:pt x="6434" y="6764"/>
                  </a:lnTo>
                  <a:lnTo>
                    <a:pt x="6542" y="6848"/>
                  </a:lnTo>
                  <a:lnTo>
                    <a:pt x="6794" y="6776"/>
                  </a:lnTo>
                  <a:lnTo>
                    <a:pt x="6830" y="6656"/>
                  </a:lnTo>
                  <a:lnTo>
                    <a:pt x="6890" y="6440"/>
                  </a:lnTo>
                  <a:lnTo>
                    <a:pt x="7070" y="6464"/>
                  </a:lnTo>
                  <a:lnTo>
                    <a:pt x="7238" y="6332"/>
                  </a:lnTo>
                  <a:lnTo>
                    <a:pt x="7428" y="6260"/>
                  </a:lnTo>
                  <a:lnTo>
                    <a:pt x="7586" y="6260"/>
                  </a:lnTo>
                  <a:lnTo>
                    <a:pt x="7682" y="6164"/>
                  </a:lnTo>
                  <a:lnTo>
                    <a:pt x="7682" y="6032"/>
                  </a:lnTo>
                  <a:lnTo>
                    <a:pt x="7670" y="5863"/>
                  </a:lnTo>
                  <a:lnTo>
                    <a:pt x="7670" y="5695"/>
                  </a:lnTo>
                  <a:lnTo>
                    <a:pt x="7490" y="5575"/>
                  </a:lnTo>
                  <a:lnTo>
                    <a:pt x="7274" y="5371"/>
                  </a:lnTo>
                  <a:lnTo>
                    <a:pt x="7058" y="5071"/>
                  </a:lnTo>
                  <a:lnTo>
                    <a:pt x="6854" y="4915"/>
                  </a:lnTo>
                  <a:lnTo>
                    <a:pt x="6698" y="4795"/>
                  </a:lnTo>
                  <a:lnTo>
                    <a:pt x="6734" y="4639"/>
                  </a:lnTo>
                  <a:lnTo>
                    <a:pt x="6926" y="4267"/>
                  </a:lnTo>
                  <a:lnTo>
                    <a:pt x="7082" y="4003"/>
                  </a:lnTo>
                  <a:lnTo>
                    <a:pt x="7178" y="3511"/>
                  </a:lnTo>
                  <a:lnTo>
                    <a:pt x="7226" y="3379"/>
                  </a:lnTo>
                  <a:lnTo>
                    <a:pt x="7274" y="3259"/>
                  </a:lnTo>
                  <a:lnTo>
                    <a:pt x="7310" y="3127"/>
                  </a:lnTo>
                  <a:lnTo>
                    <a:pt x="7238" y="3163"/>
                  </a:lnTo>
                  <a:lnTo>
                    <a:pt x="7082" y="3127"/>
                  </a:lnTo>
                  <a:lnTo>
                    <a:pt x="7070" y="3031"/>
                  </a:lnTo>
                  <a:lnTo>
                    <a:pt x="7178" y="2935"/>
                  </a:lnTo>
                  <a:lnTo>
                    <a:pt x="7310" y="2827"/>
                  </a:lnTo>
                  <a:lnTo>
                    <a:pt x="7166" y="2779"/>
                  </a:lnTo>
                  <a:lnTo>
                    <a:pt x="7046" y="2683"/>
                  </a:lnTo>
                  <a:lnTo>
                    <a:pt x="6986" y="2779"/>
                  </a:lnTo>
                  <a:lnTo>
                    <a:pt x="6986" y="2995"/>
                  </a:lnTo>
                  <a:lnTo>
                    <a:pt x="6866" y="3151"/>
                  </a:lnTo>
                  <a:lnTo>
                    <a:pt x="6806" y="3115"/>
                  </a:lnTo>
                  <a:lnTo>
                    <a:pt x="6758" y="3007"/>
                  </a:lnTo>
                  <a:lnTo>
                    <a:pt x="6794" y="2887"/>
                  </a:lnTo>
                  <a:lnTo>
                    <a:pt x="6710" y="2767"/>
                  </a:lnTo>
                  <a:lnTo>
                    <a:pt x="6590" y="2803"/>
                  </a:lnTo>
                  <a:lnTo>
                    <a:pt x="6494" y="2779"/>
                  </a:lnTo>
                  <a:lnTo>
                    <a:pt x="6470" y="2623"/>
                  </a:lnTo>
                  <a:lnTo>
                    <a:pt x="6410" y="2443"/>
                  </a:lnTo>
                  <a:lnTo>
                    <a:pt x="6314" y="2587"/>
                  </a:lnTo>
                  <a:lnTo>
                    <a:pt x="6170" y="2599"/>
                  </a:lnTo>
                  <a:lnTo>
                    <a:pt x="5954" y="2515"/>
                  </a:lnTo>
                  <a:lnTo>
                    <a:pt x="5774" y="2455"/>
                  </a:lnTo>
                  <a:lnTo>
                    <a:pt x="5547" y="2275"/>
                  </a:lnTo>
                  <a:lnTo>
                    <a:pt x="5535" y="2155"/>
                  </a:lnTo>
                  <a:lnTo>
                    <a:pt x="5631" y="2083"/>
                  </a:lnTo>
                  <a:lnTo>
                    <a:pt x="5559" y="1962"/>
                  </a:lnTo>
                  <a:lnTo>
                    <a:pt x="5535" y="1758"/>
                  </a:lnTo>
                  <a:lnTo>
                    <a:pt x="5427" y="1686"/>
                  </a:lnTo>
                  <a:lnTo>
                    <a:pt x="5271" y="1638"/>
                  </a:lnTo>
                  <a:lnTo>
                    <a:pt x="5307" y="1530"/>
                  </a:lnTo>
                  <a:lnTo>
                    <a:pt x="5319" y="1422"/>
                  </a:lnTo>
                  <a:lnTo>
                    <a:pt x="5271" y="1230"/>
                  </a:lnTo>
                  <a:lnTo>
                    <a:pt x="5199" y="1326"/>
                  </a:lnTo>
                  <a:lnTo>
                    <a:pt x="5079" y="1386"/>
                  </a:lnTo>
                  <a:lnTo>
                    <a:pt x="4935" y="1458"/>
                  </a:lnTo>
                  <a:lnTo>
                    <a:pt x="4839" y="1602"/>
                  </a:lnTo>
                  <a:lnTo>
                    <a:pt x="4767" y="1734"/>
                  </a:lnTo>
                  <a:lnTo>
                    <a:pt x="4635" y="1794"/>
                  </a:lnTo>
                  <a:lnTo>
                    <a:pt x="4527" y="1770"/>
                  </a:lnTo>
                  <a:lnTo>
                    <a:pt x="4455" y="1842"/>
                  </a:lnTo>
                  <a:lnTo>
                    <a:pt x="4479" y="1926"/>
                  </a:lnTo>
                  <a:lnTo>
                    <a:pt x="4311" y="1986"/>
                  </a:lnTo>
                  <a:lnTo>
                    <a:pt x="4179" y="1962"/>
                  </a:lnTo>
                  <a:lnTo>
                    <a:pt x="4035" y="1962"/>
                  </a:lnTo>
                  <a:lnTo>
                    <a:pt x="3891" y="1986"/>
                  </a:lnTo>
                  <a:lnTo>
                    <a:pt x="3759" y="1950"/>
                  </a:lnTo>
                  <a:lnTo>
                    <a:pt x="3603" y="1986"/>
                  </a:lnTo>
                  <a:lnTo>
                    <a:pt x="3483" y="1938"/>
                  </a:lnTo>
                  <a:lnTo>
                    <a:pt x="3471" y="1806"/>
                  </a:lnTo>
                  <a:lnTo>
                    <a:pt x="3435" y="1626"/>
                  </a:lnTo>
                  <a:lnTo>
                    <a:pt x="3555" y="1494"/>
                  </a:lnTo>
                  <a:lnTo>
                    <a:pt x="3615" y="1386"/>
                  </a:lnTo>
                  <a:lnTo>
                    <a:pt x="3663" y="1254"/>
                  </a:lnTo>
                  <a:lnTo>
                    <a:pt x="3663" y="1050"/>
                  </a:lnTo>
                  <a:lnTo>
                    <a:pt x="3543" y="918"/>
                  </a:lnTo>
                  <a:lnTo>
                    <a:pt x="3507" y="774"/>
                  </a:lnTo>
                  <a:lnTo>
                    <a:pt x="3435" y="630"/>
                  </a:lnTo>
                  <a:lnTo>
                    <a:pt x="3195" y="186"/>
                  </a:lnTo>
                  <a:lnTo>
                    <a:pt x="2894" y="0"/>
                  </a:lnTo>
                  <a:lnTo>
                    <a:pt x="2967" y="3535"/>
                  </a:lnTo>
                  <a:lnTo>
                    <a:pt x="2871" y="3619"/>
                  </a:lnTo>
                  <a:lnTo>
                    <a:pt x="2739" y="3607"/>
                  </a:lnTo>
                  <a:lnTo>
                    <a:pt x="2583" y="3691"/>
                  </a:lnTo>
                  <a:lnTo>
                    <a:pt x="2583" y="3835"/>
                  </a:lnTo>
                  <a:lnTo>
                    <a:pt x="2487" y="3955"/>
                  </a:lnTo>
                  <a:lnTo>
                    <a:pt x="2391" y="3871"/>
                  </a:lnTo>
                  <a:lnTo>
                    <a:pt x="2271" y="3919"/>
                  </a:lnTo>
                  <a:lnTo>
                    <a:pt x="2259" y="4039"/>
                  </a:lnTo>
                  <a:lnTo>
                    <a:pt x="2019" y="4003"/>
                  </a:lnTo>
                  <a:lnTo>
                    <a:pt x="1852" y="4003"/>
                  </a:lnTo>
                  <a:lnTo>
                    <a:pt x="1696" y="4039"/>
                  </a:lnTo>
                  <a:lnTo>
                    <a:pt x="1480" y="4087"/>
                  </a:lnTo>
                  <a:lnTo>
                    <a:pt x="1228" y="3955"/>
                  </a:lnTo>
                  <a:lnTo>
                    <a:pt x="1084" y="3871"/>
                  </a:lnTo>
                  <a:lnTo>
                    <a:pt x="904" y="3883"/>
                  </a:lnTo>
                  <a:lnTo>
                    <a:pt x="856" y="3715"/>
                  </a:lnTo>
                  <a:lnTo>
                    <a:pt x="760" y="3523"/>
                  </a:lnTo>
                  <a:lnTo>
                    <a:pt x="628" y="3415"/>
                  </a:lnTo>
                  <a:lnTo>
                    <a:pt x="490" y="3299"/>
                  </a:lnTo>
                  <a:lnTo>
                    <a:pt x="376" y="3283"/>
                  </a:lnTo>
                  <a:lnTo>
                    <a:pt x="289" y="3373"/>
                  </a:lnTo>
                  <a:lnTo>
                    <a:pt x="220" y="3655"/>
                  </a:lnTo>
                  <a:lnTo>
                    <a:pt x="72" y="3703"/>
                  </a:lnTo>
                  <a:lnTo>
                    <a:pt x="0" y="3871"/>
                  </a:lnTo>
                  <a:lnTo>
                    <a:pt x="160" y="4243"/>
                  </a:lnTo>
                  <a:lnTo>
                    <a:pt x="268" y="4279"/>
                  </a:lnTo>
                  <a:lnTo>
                    <a:pt x="604" y="5083"/>
                  </a:lnTo>
                  <a:lnTo>
                    <a:pt x="748" y="5503"/>
                  </a:lnTo>
                  <a:lnTo>
                    <a:pt x="1156" y="6308"/>
                  </a:lnTo>
                  <a:close/>
                </a:path>
              </a:pathLst>
            </a:custGeom>
            <a:solidFill>
              <a:srgbClr val="EC9B20"/>
            </a:solidFill>
            <a:ln w="19050" cap="flat" cmpd="sng">
              <a:solidFill>
                <a:srgbClr val="FFFFFF"/>
              </a:solidFill>
              <a:prstDash val="solid"/>
              <a:round/>
              <a:headEnd type="none" w="sm" len="sm"/>
              <a:tailEnd type="none" w="sm" len="sm"/>
            </a:ln>
            <a:effectLst>
              <a:outerShdw dist="28398" dir="6993903" algn="ctr" rotWithShape="0">
                <a:srgbClr val="B2B2B2">
                  <a:alpha val="49803"/>
                </a:srgbClr>
              </a:outerShdw>
            </a:effectLst>
          </p:spPr>
          <p:txBody>
            <a:bodyPr spcFirstLastPara="1" wrap="square" lIns="68569" tIns="34275" rIns="68569" bIns="34275"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34" name="Google Shape;137;p1">
              <a:extLst>
                <a:ext uri="{FF2B5EF4-FFF2-40B4-BE49-F238E27FC236}">
                  <a16:creationId xmlns:a16="http://schemas.microsoft.com/office/drawing/2014/main" xmlns="" id="{BBFA81A4-B848-42D9-8F7B-89083AF1191C}"/>
                </a:ext>
              </a:extLst>
            </p:cNvPr>
            <p:cNvSpPr/>
            <p:nvPr/>
          </p:nvSpPr>
          <p:spPr>
            <a:xfrm>
              <a:off x="4499556" y="4803190"/>
              <a:ext cx="1214873" cy="1065840"/>
            </a:xfrm>
            <a:custGeom>
              <a:avLst/>
              <a:gdLst/>
              <a:ahLst/>
              <a:cxnLst/>
              <a:rect l="l" t="t" r="r" b="b"/>
              <a:pathLst>
                <a:path w="5448" h="4368" extrusionOk="0">
                  <a:moveTo>
                    <a:pt x="657" y="0"/>
                  </a:moveTo>
                  <a:lnTo>
                    <a:pt x="527" y="47"/>
                  </a:lnTo>
                  <a:lnTo>
                    <a:pt x="491" y="188"/>
                  </a:lnTo>
                  <a:lnTo>
                    <a:pt x="434" y="312"/>
                  </a:lnTo>
                  <a:lnTo>
                    <a:pt x="323" y="347"/>
                  </a:lnTo>
                  <a:lnTo>
                    <a:pt x="191" y="326"/>
                  </a:lnTo>
                  <a:lnTo>
                    <a:pt x="168" y="492"/>
                  </a:lnTo>
                  <a:lnTo>
                    <a:pt x="86" y="584"/>
                  </a:lnTo>
                  <a:lnTo>
                    <a:pt x="0" y="711"/>
                  </a:lnTo>
                  <a:lnTo>
                    <a:pt x="246" y="1074"/>
                  </a:lnTo>
                  <a:lnTo>
                    <a:pt x="480" y="1326"/>
                  </a:lnTo>
                  <a:lnTo>
                    <a:pt x="552" y="1884"/>
                  </a:lnTo>
                  <a:lnTo>
                    <a:pt x="588" y="2172"/>
                  </a:lnTo>
                  <a:lnTo>
                    <a:pt x="426" y="2334"/>
                  </a:lnTo>
                  <a:lnTo>
                    <a:pt x="210" y="2280"/>
                  </a:lnTo>
                  <a:lnTo>
                    <a:pt x="156" y="2442"/>
                  </a:lnTo>
                  <a:lnTo>
                    <a:pt x="174" y="2586"/>
                  </a:lnTo>
                  <a:lnTo>
                    <a:pt x="336" y="2604"/>
                  </a:lnTo>
                  <a:lnTo>
                    <a:pt x="390" y="2820"/>
                  </a:lnTo>
                  <a:lnTo>
                    <a:pt x="354" y="2838"/>
                  </a:lnTo>
                  <a:lnTo>
                    <a:pt x="775" y="3245"/>
                  </a:lnTo>
                  <a:lnTo>
                    <a:pt x="696" y="3486"/>
                  </a:lnTo>
                  <a:lnTo>
                    <a:pt x="588" y="3684"/>
                  </a:lnTo>
                  <a:lnTo>
                    <a:pt x="742" y="3926"/>
                  </a:lnTo>
                  <a:lnTo>
                    <a:pt x="714" y="3720"/>
                  </a:lnTo>
                  <a:lnTo>
                    <a:pt x="840" y="3630"/>
                  </a:lnTo>
                  <a:lnTo>
                    <a:pt x="1010" y="3688"/>
                  </a:lnTo>
                  <a:lnTo>
                    <a:pt x="984" y="3864"/>
                  </a:lnTo>
                  <a:lnTo>
                    <a:pt x="1290" y="3846"/>
                  </a:lnTo>
                  <a:lnTo>
                    <a:pt x="1434" y="4008"/>
                  </a:lnTo>
                  <a:lnTo>
                    <a:pt x="1452" y="4134"/>
                  </a:lnTo>
                  <a:lnTo>
                    <a:pt x="1686" y="4296"/>
                  </a:lnTo>
                  <a:lnTo>
                    <a:pt x="1848" y="4260"/>
                  </a:lnTo>
                  <a:lnTo>
                    <a:pt x="2016" y="4368"/>
                  </a:lnTo>
                  <a:lnTo>
                    <a:pt x="2100" y="4260"/>
                  </a:lnTo>
                  <a:lnTo>
                    <a:pt x="2244" y="4134"/>
                  </a:lnTo>
                  <a:lnTo>
                    <a:pt x="2370" y="4026"/>
                  </a:lnTo>
                  <a:lnTo>
                    <a:pt x="2478" y="3882"/>
                  </a:lnTo>
                  <a:lnTo>
                    <a:pt x="2694" y="3954"/>
                  </a:lnTo>
                  <a:lnTo>
                    <a:pt x="2820" y="3882"/>
                  </a:lnTo>
                  <a:lnTo>
                    <a:pt x="3054" y="3936"/>
                  </a:lnTo>
                  <a:lnTo>
                    <a:pt x="3270" y="3846"/>
                  </a:lnTo>
                  <a:lnTo>
                    <a:pt x="3504" y="3882"/>
                  </a:lnTo>
                  <a:lnTo>
                    <a:pt x="3576" y="3774"/>
                  </a:lnTo>
                  <a:lnTo>
                    <a:pt x="3666" y="3666"/>
                  </a:lnTo>
                  <a:lnTo>
                    <a:pt x="3810" y="3576"/>
                  </a:lnTo>
                  <a:lnTo>
                    <a:pt x="4008" y="3576"/>
                  </a:lnTo>
                  <a:lnTo>
                    <a:pt x="4152" y="3486"/>
                  </a:lnTo>
                  <a:lnTo>
                    <a:pt x="4404" y="3576"/>
                  </a:lnTo>
                  <a:lnTo>
                    <a:pt x="4732" y="3586"/>
                  </a:lnTo>
                  <a:lnTo>
                    <a:pt x="4746" y="3522"/>
                  </a:lnTo>
                  <a:lnTo>
                    <a:pt x="4926" y="3432"/>
                  </a:lnTo>
                  <a:lnTo>
                    <a:pt x="4800" y="3342"/>
                  </a:lnTo>
                  <a:lnTo>
                    <a:pt x="4854" y="3162"/>
                  </a:lnTo>
                  <a:lnTo>
                    <a:pt x="5016" y="3036"/>
                  </a:lnTo>
                  <a:lnTo>
                    <a:pt x="4890" y="2892"/>
                  </a:lnTo>
                  <a:lnTo>
                    <a:pt x="4638" y="2838"/>
                  </a:lnTo>
                  <a:lnTo>
                    <a:pt x="4422" y="2892"/>
                  </a:lnTo>
                  <a:lnTo>
                    <a:pt x="4162" y="2871"/>
                  </a:lnTo>
                  <a:lnTo>
                    <a:pt x="4332" y="2640"/>
                  </a:lnTo>
                  <a:lnTo>
                    <a:pt x="4422" y="2424"/>
                  </a:lnTo>
                  <a:lnTo>
                    <a:pt x="4584" y="2262"/>
                  </a:lnTo>
                  <a:lnTo>
                    <a:pt x="4800" y="2244"/>
                  </a:lnTo>
                  <a:lnTo>
                    <a:pt x="4674" y="2082"/>
                  </a:lnTo>
                  <a:lnTo>
                    <a:pt x="4674" y="1830"/>
                  </a:lnTo>
                  <a:lnTo>
                    <a:pt x="4926" y="1722"/>
                  </a:lnTo>
                  <a:lnTo>
                    <a:pt x="5016" y="1632"/>
                  </a:lnTo>
                  <a:lnTo>
                    <a:pt x="5178" y="1650"/>
                  </a:lnTo>
                  <a:lnTo>
                    <a:pt x="5340" y="1632"/>
                  </a:lnTo>
                  <a:lnTo>
                    <a:pt x="5376" y="1506"/>
                  </a:lnTo>
                  <a:lnTo>
                    <a:pt x="5448" y="1416"/>
                  </a:lnTo>
                  <a:lnTo>
                    <a:pt x="5390" y="1247"/>
                  </a:lnTo>
                  <a:lnTo>
                    <a:pt x="5280" y="1166"/>
                  </a:lnTo>
                  <a:lnTo>
                    <a:pt x="5136" y="1247"/>
                  </a:lnTo>
                  <a:lnTo>
                    <a:pt x="4976" y="1103"/>
                  </a:lnTo>
                  <a:lnTo>
                    <a:pt x="4749" y="1166"/>
                  </a:lnTo>
                  <a:lnTo>
                    <a:pt x="4608" y="1274"/>
                  </a:lnTo>
                  <a:lnTo>
                    <a:pt x="4572" y="1416"/>
                  </a:lnTo>
                  <a:lnTo>
                    <a:pt x="4431" y="1358"/>
                  </a:lnTo>
                  <a:lnTo>
                    <a:pt x="4320" y="1271"/>
                  </a:lnTo>
                  <a:lnTo>
                    <a:pt x="4118" y="1272"/>
                  </a:lnTo>
                  <a:lnTo>
                    <a:pt x="4010" y="1128"/>
                  </a:lnTo>
                  <a:lnTo>
                    <a:pt x="3840" y="1044"/>
                  </a:lnTo>
                  <a:lnTo>
                    <a:pt x="3716" y="1277"/>
                  </a:lnTo>
                  <a:lnTo>
                    <a:pt x="3635" y="1451"/>
                  </a:lnTo>
                  <a:lnTo>
                    <a:pt x="3695" y="1526"/>
                  </a:lnTo>
                  <a:lnTo>
                    <a:pt x="3564" y="1631"/>
                  </a:lnTo>
                  <a:lnTo>
                    <a:pt x="3480" y="1740"/>
                  </a:lnTo>
                  <a:lnTo>
                    <a:pt x="3371" y="1644"/>
                  </a:lnTo>
                  <a:lnTo>
                    <a:pt x="3216" y="1668"/>
                  </a:lnTo>
                  <a:lnTo>
                    <a:pt x="3203" y="1763"/>
                  </a:lnTo>
                  <a:lnTo>
                    <a:pt x="3108" y="1790"/>
                  </a:lnTo>
                  <a:lnTo>
                    <a:pt x="2999" y="1908"/>
                  </a:lnTo>
                  <a:lnTo>
                    <a:pt x="2867" y="1932"/>
                  </a:lnTo>
                  <a:lnTo>
                    <a:pt x="2903" y="2052"/>
                  </a:lnTo>
                  <a:lnTo>
                    <a:pt x="2760" y="2160"/>
                  </a:lnTo>
                  <a:lnTo>
                    <a:pt x="2663" y="2148"/>
                  </a:lnTo>
                  <a:lnTo>
                    <a:pt x="2628" y="2301"/>
                  </a:lnTo>
                  <a:lnTo>
                    <a:pt x="2531" y="2399"/>
                  </a:lnTo>
                  <a:lnTo>
                    <a:pt x="2409" y="2387"/>
                  </a:lnTo>
                  <a:lnTo>
                    <a:pt x="2267" y="2400"/>
                  </a:lnTo>
                  <a:lnTo>
                    <a:pt x="2112" y="2283"/>
                  </a:lnTo>
                  <a:lnTo>
                    <a:pt x="2088" y="2171"/>
                  </a:lnTo>
                  <a:lnTo>
                    <a:pt x="2015" y="2003"/>
                  </a:lnTo>
                  <a:lnTo>
                    <a:pt x="2066" y="1877"/>
                  </a:lnTo>
                  <a:lnTo>
                    <a:pt x="2112" y="1716"/>
                  </a:lnTo>
                  <a:lnTo>
                    <a:pt x="2040" y="1680"/>
                  </a:lnTo>
                  <a:lnTo>
                    <a:pt x="1932" y="1763"/>
                  </a:lnTo>
                  <a:lnTo>
                    <a:pt x="1859" y="1859"/>
                  </a:lnTo>
                  <a:lnTo>
                    <a:pt x="1716" y="1874"/>
                  </a:lnTo>
                  <a:lnTo>
                    <a:pt x="1647" y="1970"/>
                  </a:lnTo>
                  <a:lnTo>
                    <a:pt x="1595" y="2067"/>
                  </a:lnTo>
                  <a:lnTo>
                    <a:pt x="1596" y="2160"/>
                  </a:lnTo>
                  <a:lnTo>
                    <a:pt x="1488" y="2102"/>
                  </a:lnTo>
                  <a:lnTo>
                    <a:pt x="1524" y="1994"/>
                  </a:lnTo>
                  <a:lnTo>
                    <a:pt x="1430" y="1848"/>
                  </a:lnTo>
                  <a:lnTo>
                    <a:pt x="1500" y="1739"/>
                  </a:lnTo>
                  <a:lnTo>
                    <a:pt x="1500" y="1622"/>
                  </a:lnTo>
                  <a:lnTo>
                    <a:pt x="1370" y="1548"/>
                  </a:lnTo>
                  <a:lnTo>
                    <a:pt x="1260" y="1452"/>
                  </a:lnTo>
                  <a:lnTo>
                    <a:pt x="1161" y="1352"/>
                  </a:lnTo>
                  <a:lnTo>
                    <a:pt x="1130" y="1217"/>
                  </a:lnTo>
                  <a:lnTo>
                    <a:pt x="1103" y="1067"/>
                  </a:lnTo>
                  <a:lnTo>
                    <a:pt x="1104" y="899"/>
                  </a:lnTo>
                  <a:lnTo>
                    <a:pt x="1032" y="708"/>
                  </a:lnTo>
                  <a:lnTo>
                    <a:pt x="971" y="591"/>
                  </a:lnTo>
                  <a:lnTo>
                    <a:pt x="960" y="419"/>
                  </a:lnTo>
                  <a:lnTo>
                    <a:pt x="1008" y="240"/>
                  </a:lnTo>
                  <a:lnTo>
                    <a:pt x="935" y="263"/>
                  </a:lnTo>
                  <a:lnTo>
                    <a:pt x="855" y="122"/>
                  </a:lnTo>
                  <a:lnTo>
                    <a:pt x="711" y="48"/>
                  </a:lnTo>
                  <a:lnTo>
                    <a:pt x="657" y="0"/>
                  </a:lnTo>
                  <a:close/>
                </a:path>
              </a:pathLst>
            </a:custGeom>
            <a:solidFill>
              <a:srgbClr val="7030A0"/>
            </a:solidFill>
            <a:ln w="19050" cap="flat" cmpd="sng">
              <a:solidFill>
                <a:srgbClr val="FFFFFF"/>
              </a:solidFill>
              <a:prstDash val="solid"/>
              <a:round/>
              <a:headEnd type="none" w="sm" len="sm"/>
              <a:tailEnd type="none" w="sm" len="sm"/>
            </a:ln>
            <a:effectLst>
              <a:outerShdw dist="28398" dir="6993903" algn="ctr" rotWithShape="0">
                <a:srgbClr val="B2B2B2">
                  <a:alpha val="49803"/>
                </a:srgbClr>
              </a:outerShdw>
            </a:effectLst>
          </p:spPr>
          <p:txBody>
            <a:bodyPr spcFirstLastPara="1" wrap="square" lIns="68569" tIns="34275" rIns="68569" bIns="34275"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1"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35" name="Google Shape;138;p1">
              <a:extLst>
                <a:ext uri="{FF2B5EF4-FFF2-40B4-BE49-F238E27FC236}">
                  <a16:creationId xmlns:a16="http://schemas.microsoft.com/office/drawing/2014/main" xmlns="" id="{2C2E3E7A-F44C-4AFB-96EA-C0C54FD13B65}"/>
                </a:ext>
              </a:extLst>
            </p:cNvPr>
            <p:cNvSpPr/>
            <p:nvPr/>
          </p:nvSpPr>
          <p:spPr>
            <a:xfrm>
              <a:off x="5418119" y="3388153"/>
              <a:ext cx="1077692" cy="821281"/>
            </a:xfrm>
            <a:custGeom>
              <a:avLst/>
              <a:gdLst/>
              <a:ahLst/>
              <a:cxnLst/>
              <a:rect l="l" t="t" r="r" b="b"/>
              <a:pathLst>
                <a:path w="4838" h="3366" extrusionOk="0">
                  <a:moveTo>
                    <a:pt x="0" y="1435"/>
                  </a:moveTo>
                  <a:lnTo>
                    <a:pt x="48" y="1621"/>
                  </a:lnTo>
                  <a:lnTo>
                    <a:pt x="36" y="1731"/>
                  </a:lnTo>
                  <a:lnTo>
                    <a:pt x="0" y="1845"/>
                  </a:lnTo>
                  <a:lnTo>
                    <a:pt x="159" y="1891"/>
                  </a:lnTo>
                  <a:lnTo>
                    <a:pt x="264" y="1965"/>
                  </a:lnTo>
                  <a:lnTo>
                    <a:pt x="288" y="2163"/>
                  </a:lnTo>
                  <a:lnTo>
                    <a:pt x="360" y="2287"/>
                  </a:lnTo>
                  <a:lnTo>
                    <a:pt x="263" y="2361"/>
                  </a:lnTo>
                  <a:lnTo>
                    <a:pt x="278" y="2478"/>
                  </a:lnTo>
                  <a:lnTo>
                    <a:pt x="503" y="2657"/>
                  </a:lnTo>
                  <a:lnTo>
                    <a:pt x="705" y="2727"/>
                  </a:lnTo>
                  <a:lnTo>
                    <a:pt x="899" y="2802"/>
                  </a:lnTo>
                  <a:lnTo>
                    <a:pt x="1044" y="2789"/>
                  </a:lnTo>
                  <a:lnTo>
                    <a:pt x="1140" y="2648"/>
                  </a:lnTo>
                  <a:lnTo>
                    <a:pt x="1199" y="2823"/>
                  </a:lnTo>
                  <a:lnTo>
                    <a:pt x="1223" y="2982"/>
                  </a:lnTo>
                  <a:lnTo>
                    <a:pt x="1323" y="3006"/>
                  </a:lnTo>
                  <a:lnTo>
                    <a:pt x="1440" y="2972"/>
                  </a:lnTo>
                  <a:lnTo>
                    <a:pt x="1524" y="3093"/>
                  </a:lnTo>
                  <a:lnTo>
                    <a:pt x="1488" y="3210"/>
                  </a:lnTo>
                  <a:lnTo>
                    <a:pt x="1536" y="3318"/>
                  </a:lnTo>
                  <a:lnTo>
                    <a:pt x="1598" y="3354"/>
                  </a:lnTo>
                  <a:lnTo>
                    <a:pt x="1716" y="3200"/>
                  </a:lnTo>
                  <a:lnTo>
                    <a:pt x="1716" y="2982"/>
                  </a:lnTo>
                  <a:lnTo>
                    <a:pt x="1778" y="2888"/>
                  </a:lnTo>
                  <a:lnTo>
                    <a:pt x="1896" y="2982"/>
                  </a:lnTo>
                  <a:lnTo>
                    <a:pt x="2039" y="3030"/>
                  </a:lnTo>
                  <a:lnTo>
                    <a:pt x="1916" y="3131"/>
                  </a:lnTo>
                  <a:lnTo>
                    <a:pt x="1800" y="3236"/>
                  </a:lnTo>
                  <a:lnTo>
                    <a:pt x="1814" y="3329"/>
                  </a:lnTo>
                  <a:lnTo>
                    <a:pt x="1962" y="3366"/>
                  </a:lnTo>
                  <a:lnTo>
                    <a:pt x="2037" y="3333"/>
                  </a:lnTo>
                  <a:lnTo>
                    <a:pt x="2149" y="3189"/>
                  </a:lnTo>
                  <a:lnTo>
                    <a:pt x="2259" y="3097"/>
                  </a:lnTo>
                  <a:lnTo>
                    <a:pt x="2396" y="2997"/>
                  </a:lnTo>
                  <a:lnTo>
                    <a:pt x="2534" y="2951"/>
                  </a:lnTo>
                  <a:lnTo>
                    <a:pt x="2726" y="2878"/>
                  </a:lnTo>
                  <a:lnTo>
                    <a:pt x="2827" y="2933"/>
                  </a:lnTo>
                  <a:lnTo>
                    <a:pt x="2927" y="2933"/>
                  </a:lnTo>
                  <a:lnTo>
                    <a:pt x="3110" y="2741"/>
                  </a:lnTo>
                  <a:lnTo>
                    <a:pt x="3284" y="2677"/>
                  </a:lnTo>
                  <a:lnTo>
                    <a:pt x="3266" y="2522"/>
                  </a:lnTo>
                  <a:lnTo>
                    <a:pt x="3384" y="2385"/>
                  </a:lnTo>
                  <a:lnTo>
                    <a:pt x="3503" y="2285"/>
                  </a:lnTo>
                  <a:lnTo>
                    <a:pt x="3686" y="2276"/>
                  </a:lnTo>
                  <a:lnTo>
                    <a:pt x="3896" y="2257"/>
                  </a:lnTo>
                  <a:lnTo>
                    <a:pt x="3970" y="2202"/>
                  </a:lnTo>
                  <a:lnTo>
                    <a:pt x="4107" y="2248"/>
                  </a:lnTo>
                  <a:lnTo>
                    <a:pt x="4171" y="2157"/>
                  </a:lnTo>
                  <a:lnTo>
                    <a:pt x="4262" y="2102"/>
                  </a:lnTo>
                  <a:lnTo>
                    <a:pt x="4427" y="2047"/>
                  </a:lnTo>
                  <a:lnTo>
                    <a:pt x="4317" y="1992"/>
                  </a:lnTo>
                  <a:lnTo>
                    <a:pt x="4280" y="1892"/>
                  </a:lnTo>
                  <a:lnTo>
                    <a:pt x="4162" y="1782"/>
                  </a:lnTo>
                  <a:lnTo>
                    <a:pt x="4015" y="1837"/>
                  </a:lnTo>
                  <a:lnTo>
                    <a:pt x="3906" y="1754"/>
                  </a:lnTo>
                  <a:lnTo>
                    <a:pt x="4006" y="1645"/>
                  </a:lnTo>
                  <a:lnTo>
                    <a:pt x="4098" y="1553"/>
                  </a:lnTo>
                  <a:lnTo>
                    <a:pt x="4125" y="1389"/>
                  </a:lnTo>
                  <a:lnTo>
                    <a:pt x="4125" y="1242"/>
                  </a:lnTo>
                  <a:lnTo>
                    <a:pt x="4207" y="1188"/>
                  </a:lnTo>
                  <a:lnTo>
                    <a:pt x="4344" y="1206"/>
                  </a:lnTo>
                  <a:lnTo>
                    <a:pt x="4472" y="1233"/>
                  </a:lnTo>
                  <a:lnTo>
                    <a:pt x="4564" y="1169"/>
                  </a:lnTo>
                  <a:lnTo>
                    <a:pt x="4573" y="1014"/>
                  </a:lnTo>
                  <a:lnTo>
                    <a:pt x="4719" y="895"/>
                  </a:lnTo>
                  <a:lnTo>
                    <a:pt x="4719" y="768"/>
                  </a:lnTo>
                  <a:lnTo>
                    <a:pt x="4774" y="695"/>
                  </a:lnTo>
                  <a:lnTo>
                    <a:pt x="4774" y="539"/>
                  </a:lnTo>
                  <a:lnTo>
                    <a:pt x="4838" y="512"/>
                  </a:lnTo>
                  <a:lnTo>
                    <a:pt x="4802" y="439"/>
                  </a:lnTo>
                  <a:lnTo>
                    <a:pt x="4600" y="347"/>
                  </a:lnTo>
                  <a:lnTo>
                    <a:pt x="4454" y="384"/>
                  </a:lnTo>
                  <a:lnTo>
                    <a:pt x="4317" y="347"/>
                  </a:lnTo>
                  <a:lnTo>
                    <a:pt x="4290" y="393"/>
                  </a:lnTo>
                  <a:lnTo>
                    <a:pt x="4244" y="466"/>
                  </a:lnTo>
                  <a:lnTo>
                    <a:pt x="4116" y="448"/>
                  </a:lnTo>
                  <a:lnTo>
                    <a:pt x="3970" y="366"/>
                  </a:lnTo>
                  <a:lnTo>
                    <a:pt x="3860" y="274"/>
                  </a:lnTo>
                  <a:lnTo>
                    <a:pt x="3778" y="110"/>
                  </a:lnTo>
                  <a:lnTo>
                    <a:pt x="3622" y="210"/>
                  </a:lnTo>
                  <a:lnTo>
                    <a:pt x="3635" y="243"/>
                  </a:lnTo>
                  <a:lnTo>
                    <a:pt x="3403" y="201"/>
                  </a:lnTo>
                  <a:lnTo>
                    <a:pt x="3275" y="165"/>
                  </a:lnTo>
                  <a:lnTo>
                    <a:pt x="3202" y="73"/>
                  </a:lnTo>
                  <a:lnTo>
                    <a:pt x="3156" y="0"/>
                  </a:lnTo>
                  <a:lnTo>
                    <a:pt x="3031" y="73"/>
                  </a:lnTo>
                  <a:lnTo>
                    <a:pt x="2889" y="114"/>
                  </a:lnTo>
                  <a:lnTo>
                    <a:pt x="2808" y="64"/>
                  </a:lnTo>
                  <a:lnTo>
                    <a:pt x="2746" y="145"/>
                  </a:lnTo>
                  <a:lnTo>
                    <a:pt x="2781" y="201"/>
                  </a:lnTo>
                  <a:lnTo>
                    <a:pt x="2754" y="320"/>
                  </a:lnTo>
                  <a:lnTo>
                    <a:pt x="2690" y="485"/>
                  </a:lnTo>
                  <a:lnTo>
                    <a:pt x="2616" y="622"/>
                  </a:lnTo>
                  <a:lnTo>
                    <a:pt x="2589" y="759"/>
                  </a:lnTo>
                  <a:lnTo>
                    <a:pt x="2479" y="913"/>
                  </a:lnTo>
                  <a:lnTo>
                    <a:pt x="2359" y="1041"/>
                  </a:lnTo>
                  <a:lnTo>
                    <a:pt x="2231" y="1105"/>
                  </a:lnTo>
                  <a:lnTo>
                    <a:pt x="2058" y="1078"/>
                  </a:lnTo>
                  <a:lnTo>
                    <a:pt x="1985" y="1124"/>
                  </a:lnTo>
                  <a:lnTo>
                    <a:pt x="1948" y="1169"/>
                  </a:lnTo>
                  <a:lnTo>
                    <a:pt x="1765" y="1169"/>
                  </a:lnTo>
                  <a:lnTo>
                    <a:pt x="1573" y="1124"/>
                  </a:lnTo>
                  <a:lnTo>
                    <a:pt x="1421" y="1093"/>
                  </a:lnTo>
                  <a:lnTo>
                    <a:pt x="1354" y="996"/>
                  </a:lnTo>
                  <a:lnTo>
                    <a:pt x="1226" y="968"/>
                  </a:lnTo>
                  <a:lnTo>
                    <a:pt x="1107" y="1005"/>
                  </a:lnTo>
                  <a:lnTo>
                    <a:pt x="997" y="959"/>
                  </a:lnTo>
                  <a:lnTo>
                    <a:pt x="887" y="823"/>
                  </a:lnTo>
                  <a:lnTo>
                    <a:pt x="741" y="741"/>
                  </a:lnTo>
                  <a:lnTo>
                    <a:pt x="650" y="649"/>
                  </a:lnTo>
                  <a:lnTo>
                    <a:pt x="556" y="654"/>
                  </a:lnTo>
                  <a:lnTo>
                    <a:pt x="450" y="619"/>
                  </a:lnTo>
                  <a:lnTo>
                    <a:pt x="318" y="675"/>
                  </a:lnTo>
                  <a:lnTo>
                    <a:pt x="198" y="687"/>
                  </a:lnTo>
                  <a:lnTo>
                    <a:pt x="175" y="748"/>
                  </a:lnTo>
                  <a:lnTo>
                    <a:pt x="110" y="849"/>
                  </a:lnTo>
                  <a:lnTo>
                    <a:pt x="110" y="941"/>
                  </a:lnTo>
                  <a:lnTo>
                    <a:pt x="83" y="996"/>
                  </a:lnTo>
                  <a:lnTo>
                    <a:pt x="10" y="1087"/>
                  </a:lnTo>
                  <a:lnTo>
                    <a:pt x="74" y="1188"/>
                  </a:lnTo>
                  <a:lnTo>
                    <a:pt x="28" y="1270"/>
                  </a:lnTo>
                  <a:lnTo>
                    <a:pt x="0" y="1435"/>
                  </a:lnTo>
                  <a:close/>
                </a:path>
              </a:pathLst>
            </a:custGeom>
            <a:solidFill>
              <a:srgbClr val="35B8D7"/>
            </a:solidFill>
            <a:ln w="19050" cap="flat" cmpd="sng">
              <a:solidFill>
                <a:srgbClr val="FFFFFF"/>
              </a:solidFill>
              <a:prstDash val="solid"/>
              <a:round/>
              <a:headEnd type="none" w="sm" len="sm"/>
              <a:tailEnd type="none" w="sm" len="sm"/>
            </a:ln>
            <a:effectLst>
              <a:outerShdw dist="28398" dir="6993903" algn="ctr" rotWithShape="0">
                <a:srgbClr val="B2B2B2">
                  <a:alpha val="49803"/>
                </a:srgbClr>
              </a:outerShdw>
            </a:effectLst>
          </p:spPr>
          <p:txBody>
            <a:bodyPr spcFirstLastPara="1" wrap="square" lIns="68569" tIns="34275" rIns="68569" bIns="34275"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36" name="Google Shape;139;p1">
              <a:extLst>
                <a:ext uri="{FF2B5EF4-FFF2-40B4-BE49-F238E27FC236}">
                  <a16:creationId xmlns:a16="http://schemas.microsoft.com/office/drawing/2014/main" xmlns="" id="{E860D0BE-64C7-4AA0-B869-54D5AB8E13FC}"/>
                </a:ext>
              </a:extLst>
            </p:cNvPr>
            <p:cNvSpPr/>
            <p:nvPr/>
          </p:nvSpPr>
          <p:spPr>
            <a:xfrm>
              <a:off x="5735280" y="3887005"/>
              <a:ext cx="1032697" cy="957553"/>
            </a:xfrm>
            <a:custGeom>
              <a:avLst/>
              <a:gdLst/>
              <a:ahLst/>
              <a:cxnLst/>
              <a:rect l="l" t="t" r="r" b="b"/>
              <a:pathLst>
                <a:path w="4632" h="3922" extrusionOk="0">
                  <a:moveTo>
                    <a:pt x="477" y="1674"/>
                  </a:moveTo>
                  <a:lnTo>
                    <a:pt x="384" y="2158"/>
                  </a:lnTo>
                  <a:lnTo>
                    <a:pt x="231" y="2418"/>
                  </a:lnTo>
                  <a:lnTo>
                    <a:pt x="35" y="2794"/>
                  </a:lnTo>
                  <a:lnTo>
                    <a:pt x="0" y="2949"/>
                  </a:lnTo>
                  <a:lnTo>
                    <a:pt x="359" y="3225"/>
                  </a:lnTo>
                  <a:lnTo>
                    <a:pt x="578" y="3526"/>
                  </a:lnTo>
                  <a:lnTo>
                    <a:pt x="792" y="3730"/>
                  </a:lnTo>
                  <a:lnTo>
                    <a:pt x="972" y="3852"/>
                  </a:lnTo>
                  <a:lnTo>
                    <a:pt x="1104" y="3850"/>
                  </a:lnTo>
                  <a:lnTo>
                    <a:pt x="1224" y="3898"/>
                  </a:lnTo>
                  <a:lnTo>
                    <a:pt x="1308" y="3850"/>
                  </a:lnTo>
                  <a:lnTo>
                    <a:pt x="1368" y="3790"/>
                  </a:lnTo>
                  <a:lnTo>
                    <a:pt x="1488" y="3754"/>
                  </a:lnTo>
                  <a:lnTo>
                    <a:pt x="1572" y="3730"/>
                  </a:lnTo>
                  <a:lnTo>
                    <a:pt x="1668" y="3826"/>
                  </a:lnTo>
                  <a:lnTo>
                    <a:pt x="1812" y="3814"/>
                  </a:lnTo>
                  <a:lnTo>
                    <a:pt x="1908" y="3874"/>
                  </a:lnTo>
                  <a:lnTo>
                    <a:pt x="2052" y="3922"/>
                  </a:lnTo>
                  <a:lnTo>
                    <a:pt x="2172" y="3874"/>
                  </a:lnTo>
                  <a:lnTo>
                    <a:pt x="2244" y="3826"/>
                  </a:lnTo>
                  <a:lnTo>
                    <a:pt x="2328" y="3766"/>
                  </a:lnTo>
                  <a:lnTo>
                    <a:pt x="2484" y="3730"/>
                  </a:lnTo>
                  <a:lnTo>
                    <a:pt x="2616" y="3586"/>
                  </a:lnTo>
                  <a:lnTo>
                    <a:pt x="2544" y="3466"/>
                  </a:lnTo>
                  <a:lnTo>
                    <a:pt x="2496" y="3334"/>
                  </a:lnTo>
                  <a:lnTo>
                    <a:pt x="2448" y="3166"/>
                  </a:lnTo>
                  <a:lnTo>
                    <a:pt x="2340" y="3070"/>
                  </a:lnTo>
                  <a:lnTo>
                    <a:pt x="2316" y="2878"/>
                  </a:lnTo>
                  <a:lnTo>
                    <a:pt x="2472" y="2818"/>
                  </a:lnTo>
                  <a:lnTo>
                    <a:pt x="2604" y="2662"/>
                  </a:lnTo>
                  <a:lnTo>
                    <a:pt x="2700" y="2530"/>
                  </a:lnTo>
                  <a:lnTo>
                    <a:pt x="2760" y="2398"/>
                  </a:lnTo>
                  <a:lnTo>
                    <a:pt x="2904" y="2278"/>
                  </a:lnTo>
                  <a:lnTo>
                    <a:pt x="3012" y="2122"/>
                  </a:lnTo>
                  <a:lnTo>
                    <a:pt x="3192" y="2062"/>
                  </a:lnTo>
                  <a:lnTo>
                    <a:pt x="3300" y="1978"/>
                  </a:lnTo>
                  <a:lnTo>
                    <a:pt x="3480" y="1931"/>
                  </a:lnTo>
                  <a:lnTo>
                    <a:pt x="3636" y="1906"/>
                  </a:lnTo>
                  <a:lnTo>
                    <a:pt x="3756" y="1990"/>
                  </a:lnTo>
                  <a:lnTo>
                    <a:pt x="3888" y="2038"/>
                  </a:lnTo>
                  <a:lnTo>
                    <a:pt x="3936" y="1942"/>
                  </a:lnTo>
                  <a:lnTo>
                    <a:pt x="3996" y="1810"/>
                  </a:lnTo>
                  <a:lnTo>
                    <a:pt x="4140" y="1810"/>
                  </a:lnTo>
                  <a:lnTo>
                    <a:pt x="4284" y="1666"/>
                  </a:lnTo>
                  <a:lnTo>
                    <a:pt x="4428" y="1582"/>
                  </a:lnTo>
                  <a:lnTo>
                    <a:pt x="4584" y="1486"/>
                  </a:lnTo>
                  <a:lnTo>
                    <a:pt x="4572" y="1270"/>
                  </a:lnTo>
                  <a:lnTo>
                    <a:pt x="4620" y="1042"/>
                  </a:lnTo>
                  <a:lnTo>
                    <a:pt x="4632" y="826"/>
                  </a:lnTo>
                  <a:lnTo>
                    <a:pt x="4512" y="742"/>
                  </a:lnTo>
                  <a:lnTo>
                    <a:pt x="4452" y="634"/>
                  </a:lnTo>
                  <a:lnTo>
                    <a:pt x="4332" y="574"/>
                  </a:lnTo>
                  <a:lnTo>
                    <a:pt x="4164" y="442"/>
                  </a:lnTo>
                  <a:lnTo>
                    <a:pt x="4032" y="322"/>
                  </a:lnTo>
                  <a:lnTo>
                    <a:pt x="3912" y="346"/>
                  </a:lnTo>
                  <a:lnTo>
                    <a:pt x="3804" y="274"/>
                  </a:lnTo>
                  <a:lnTo>
                    <a:pt x="3732" y="310"/>
                  </a:lnTo>
                  <a:lnTo>
                    <a:pt x="3636" y="286"/>
                  </a:lnTo>
                  <a:lnTo>
                    <a:pt x="3444" y="226"/>
                  </a:lnTo>
                  <a:lnTo>
                    <a:pt x="3276" y="142"/>
                  </a:lnTo>
                  <a:lnTo>
                    <a:pt x="3096" y="10"/>
                  </a:lnTo>
                  <a:lnTo>
                    <a:pt x="2996" y="0"/>
                  </a:lnTo>
                  <a:lnTo>
                    <a:pt x="2835" y="54"/>
                  </a:lnTo>
                  <a:lnTo>
                    <a:pt x="2744" y="108"/>
                  </a:lnTo>
                  <a:lnTo>
                    <a:pt x="2678" y="198"/>
                  </a:lnTo>
                  <a:lnTo>
                    <a:pt x="2540" y="154"/>
                  </a:lnTo>
                  <a:lnTo>
                    <a:pt x="2466" y="210"/>
                  </a:lnTo>
                  <a:lnTo>
                    <a:pt x="2261" y="226"/>
                  </a:lnTo>
                  <a:lnTo>
                    <a:pt x="2075" y="237"/>
                  </a:lnTo>
                  <a:lnTo>
                    <a:pt x="1956" y="336"/>
                  </a:lnTo>
                  <a:lnTo>
                    <a:pt x="1838" y="475"/>
                  </a:lnTo>
                  <a:lnTo>
                    <a:pt x="1854" y="630"/>
                  </a:lnTo>
                  <a:lnTo>
                    <a:pt x="1679" y="693"/>
                  </a:lnTo>
                  <a:lnTo>
                    <a:pt x="1499" y="886"/>
                  </a:lnTo>
                  <a:lnTo>
                    <a:pt x="1400" y="886"/>
                  </a:lnTo>
                  <a:lnTo>
                    <a:pt x="1296" y="832"/>
                  </a:lnTo>
                  <a:lnTo>
                    <a:pt x="1086" y="910"/>
                  </a:lnTo>
                  <a:lnTo>
                    <a:pt x="974" y="946"/>
                  </a:lnTo>
                  <a:lnTo>
                    <a:pt x="831" y="1050"/>
                  </a:lnTo>
                  <a:lnTo>
                    <a:pt x="725" y="1138"/>
                  </a:lnTo>
                  <a:lnTo>
                    <a:pt x="612" y="1279"/>
                  </a:lnTo>
                  <a:lnTo>
                    <a:pt x="576" y="1408"/>
                  </a:lnTo>
                  <a:lnTo>
                    <a:pt x="477" y="1674"/>
                  </a:lnTo>
                  <a:close/>
                </a:path>
              </a:pathLst>
            </a:custGeom>
            <a:solidFill>
              <a:srgbClr val="833C0C"/>
            </a:solidFill>
            <a:ln w="19050" cap="flat" cmpd="sng">
              <a:solidFill>
                <a:srgbClr val="FFFFFF"/>
              </a:solidFill>
              <a:prstDash val="solid"/>
              <a:round/>
              <a:headEnd type="none" w="sm" len="sm"/>
              <a:tailEnd type="none" w="sm" len="sm"/>
            </a:ln>
            <a:effectLst>
              <a:outerShdw dist="28398" dir="6993903" algn="ctr" rotWithShape="0">
                <a:srgbClr val="B2B2B2">
                  <a:alpha val="49803"/>
                </a:srgbClr>
              </a:outerShdw>
            </a:effectLst>
          </p:spPr>
          <p:txBody>
            <a:bodyPr spcFirstLastPara="1" wrap="square" lIns="68569" tIns="34275" rIns="68569" bIns="34275"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37" name="Google Shape;140;p1">
              <a:extLst>
                <a:ext uri="{FF2B5EF4-FFF2-40B4-BE49-F238E27FC236}">
                  <a16:creationId xmlns:a16="http://schemas.microsoft.com/office/drawing/2014/main" xmlns="" id="{F5051533-C3D2-4969-92BE-28F610D8A02F}"/>
                </a:ext>
              </a:extLst>
            </p:cNvPr>
            <p:cNvSpPr/>
            <p:nvPr/>
          </p:nvSpPr>
          <p:spPr>
            <a:xfrm>
              <a:off x="6564949" y="3945407"/>
              <a:ext cx="807720" cy="1018389"/>
            </a:xfrm>
            <a:custGeom>
              <a:avLst/>
              <a:gdLst/>
              <a:ahLst/>
              <a:cxnLst/>
              <a:rect l="l" t="t" r="r" b="b"/>
              <a:pathLst>
                <a:path w="3624" h="4173" extrusionOk="0">
                  <a:moveTo>
                    <a:pt x="914" y="587"/>
                  </a:moveTo>
                  <a:lnTo>
                    <a:pt x="899" y="803"/>
                  </a:lnTo>
                  <a:lnTo>
                    <a:pt x="851" y="1032"/>
                  </a:lnTo>
                  <a:lnTo>
                    <a:pt x="864" y="1248"/>
                  </a:lnTo>
                  <a:lnTo>
                    <a:pt x="716" y="1338"/>
                  </a:lnTo>
                  <a:lnTo>
                    <a:pt x="563" y="1428"/>
                  </a:lnTo>
                  <a:lnTo>
                    <a:pt x="420" y="1572"/>
                  </a:lnTo>
                  <a:lnTo>
                    <a:pt x="276" y="1572"/>
                  </a:lnTo>
                  <a:lnTo>
                    <a:pt x="218" y="1698"/>
                  </a:lnTo>
                  <a:lnTo>
                    <a:pt x="167" y="1800"/>
                  </a:lnTo>
                  <a:lnTo>
                    <a:pt x="264" y="1944"/>
                  </a:lnTo>
                  <a:lnTo>
                    <a:pt x="348" y="2016"/>
                  </a:lnTo>
                  <a:lnTo>
                    <a:pt x="480" y="2100"/>
                  </a:lnTo>
                  <a:lnTo>
                    <a:pt x="588" y="2232"/>
                  </a:lnTo>
                  <a:lnTo>
                    <a:pt x="588" y="2376"/>
                  </a:lnTo>
                  <a:lnTo>
                    <a:pt x="564" y="2475"/>
                  </a:lnTo>
                  <a:lnTo>
                    <a:pt x="504" y="2568"/>
                  </a:lnTo>
                  <a:lnTo>
                    <a:pt x="468" y="2652"/>
                  </a:lnTo>
                  <a:lnTo>
                    <a:pt x="396" y="2688"/>
                  </a:lnTo>
                  <a:lnTo>
                    <a:pt x="348" y="2784"/>
                  </a:lnTo>
                  <a:lnTo>
                    <a:pt x="372" y="2856"/>
                  </a:lnTo>
                  <a:lnTo>
                    <a:pt x="324" y="2928"/>
                  </a:lnTo>
                  <a:lnTo>
                    <a:pt x="245" y="3012"/>
                  </a:lnTo>
                  <a:lnTo>
                    <a:pt x="336" y="3143"/>
                  </a:lnTo>
                  <a:lnTo>
                    <a:pt x="240" y="3213"/>
                  </a:lnTo>
                  <a:lnTo>
                    <a:pt x="140" y="3324"/>
                  </a:lnTo>
                  <a:lnTo>
                    <a:pt x="36" y="3363"/>
                  </a:lnTo>
                  <a:lnTo>
                    <a:pt x="0" y="3458"/>
                  </a:lnTo>
                  <a:lnTo>
                    <a:pt x="18" y="3561"/>
                  </a:lnTo>
                  <a:lnTo>
                    <a:pt x="129" y="3573"/>
                  </a:lnTo>
                  <a:lnTo>
                    <a:pt x="248" y="3555"/>
                  </a:lnTo>
                  <a:lnTo>
                    <a:pt x="365" y="3645"/>
                  </a:lnTo>
                  <a:lnTo>
                    <a:pt x="488" y="3672"/>
                  </a:lnTo>
                  <a:lnTo>
                    <a:pt x="638" y="3648"/>
                  </a:lnTo>
                  <a:lnTo>
                    <a:pt x="698" y="3758"/>
                  </a:lnTo>
                  <a:lnTo>
                    <a:pt x="726" y="3894"/>
                  </a:lnTo>
                  <a:lnTo>
                    <a:pt x="810" y="3738"/>
                  </a:lnTo>
                  <a:lnTo>
                    <a:pt x="876" y="3587"/>
                  </a:lnTo>
                  <a:lnTo>
                    <a:pt x="758" y="3546"/>
                  </a:lnTo>
                  <a:lnTo>
                    <a:pt x="750" y="3446"/>
                  </a:lnTo>
                  <a:lnTo>
                    <a:pt x="689" y="3396"/>
                  </a:lnTo>
                  <a:lnTo>
                    <a:pt x="680" y="3345"/>
                  </a:lnTo>
                  <a:lnTo>
                    <a:pt x="629" y="3269"/>
                  </a:lnTo>
                  <a:lnTo>
                    <a:pt x="612" y="3186"/>
                  </a:lnTo>
                  <a:lnTo>
                    <a:pt x="653" y="3063"/>
                  </a:lnTo>
                  <a:lnTo>
                    <a:pt x="738" y="3078"/>
                  </a:lnTo>
                  <a:lnTo>
                    <a:pt x="809" y="3114"/>
                  </a:lnTo>
                  <a:lnTo>
                    <a:pt x="882" y="3119"/>
                  </a:lnTo>
                  <a:lnTo>
                    <a:pt x="935" y="3191"/>
                  </a:lnTo>
                  <a:lnTo>
                    <a:pt x="992" y="3248"/>
                  </a:lnTo>
                  <a:lnTo>
                    <a:pt x="1035" y="3320"/>
                  </a:lnTo>
                  <a:lnTo>
                    <a:pt x="1128" y="3404"/>
                  </a:lnTo>
                  <a:lnTo>
                    <a:pt x="1121" y="3498"/>
                  </a:lnTo>
                  <a:lnTo>
                    <a:pt x="1076" y="3599"/>
                  </a:lnTo>
                  <a:lnTo>
                    <a:pt x="935" y="3599"/>
                  </a:lnTo>
                  <a:lnTo>
                    <a:pt x="876" y="3587"/>
                  </a:lnTo>
                  <a:lnTo>
                    <a:pt x="812" y="3740"/>
                  </a:lnTo>
                  <a:lnTo>
                    <a:pt x="938" y="3833"/>
                  </a:lnTo>
                  <a:lnTo>
                    <a:pt x="1073" y="3912"/>
                  </a:lnTo>
                  <a:lnTo>
                    <a:pt x="1154" y="4013"/>
                  </a:lnTo>
                  <a:lnTo>
                    <a:pt x="1163" y="4112"/>
                  </a:lnTo>
                  <a:lnTo>
                    <a:pt x="1179" y="4173"/>
                  </a:lnTo>
                  <a:lnTo>
                    <a:pt x="1644" y="3480"/>
                  </a:lnTo>
                  <a:lnTo>
                    <a:pt x="1764" y="3312"/>
                  </a:lnTo>
                  <a:lnTo>
                    <a:pt x="1812" y="3168"/>
                  </a:lnTo>
                  <a:lnTo>
                    <a:pt x="1944" y="2952"/>
                  </a:lnTo>
                  <a:lnTo>
                    <a:pt x="2076" y="2688"/>
                  </a:lnTo>
                  <a:lnTo>
                    <a:pt x="2256" y="2400"/>
                  </a:lnTo>
                  <a:lnTo>
                    <a:pt x="2400" y="2316"/>
                  </a:lnTo>
                  <a:lnTo>
                    <a:pt x="2544" y="2148"/>
                  </a:lnTo>
                  <a:lnTo>
                    <a:pt x="2700" y="2064"/>
                  </a:lnTo>
                  <a:lnTo>
                    <a:pt x="2868" y="1944"/>
                  </a:lnTo>
                  <a:lnTo>
                    <a:pt x="3024" y="1812"/>
                  </a:lnTo>
                  <a:lnTo>
                    <a:pt x="3144" y="1692"/>
                  </a:lnTo>
                  <a:lnTo>
                    <a:pt x="3156" y="1560"/>
                  </a:lnTo>
                  <a:lnTo>
                    <a:pt x="3264" y="1440"/>
                  </a:lnTo>
                  <a:lnTo>
                    <a:pt x="3214" y="1216"/>
                  </a:lnTo>
                  <a:lnTo>
                    <a:pt x="3204" y="1104"/>
                  </a:lnTo>
                  <a:lnTo>
                    <a:pt x="3360" y="1092"/>
                  </a:lnTo>
                  <a:lnTo>
                    <a:pt x="3408" y="876"/>
                  </a:lnTo>
                  <a:lnTo>
                    <a:pt x="3480" y="564"/>
                  </a:lnTo>
                  <a:lnTo>
                    <a:pt x="3588" y="384"/>
                  </a:lnTo>
                  <a:lnTo>
                    <a:pt x="3624" y="192"/>
                  </a:lnTo>
                  <a:lnTo>
                    <a:pt x="3612" y="48"/>
                  </a:lnTo>
                  <a:lnTo>
                    <a:pt x="3456" y="36"/>
                  </a:lnTo>
                  <a:lnTo>
                    <a:pt x="3312" y="36"/>
                  </a:lnTo>
                  <a:lnTo>
                    <a:pt x="3132" y="48"/>
                  </a:lnTo>
                  <a:lnTo>
                    <a:pt x="2976" y="0"/>
                  </a:lnTo>
                  <a:lnTo>
                    <a:pt x="2868" y="24"/>
                  </a:lnTo>
                  <a:lnTo>
                    <a:pt x="2868" y="156"/>
                  </a:lnTo>
                  <a:lnTo>
                    <a:pt x="2856" y="300"/>
                  </a:lnTo>
                  <a:lnTo>
                    <a:pt x="2892" y="432"/>
                  </a:lnTo>
                  <a:lnTo>
                    <a:pt x="2820" y="504"/>
                  </a:lnTo>
                  <a:lnTo>
                    <a:pt x="2736" y="432"/>
                  </a:lnTo>
                  <a:lnTo>
                    <a:pt x="2640" y="480"/>
                  </a:lnTo>
                  <a:lnTo>
                    <a:pt x="2508" y="468"/>
                  </a:lnTo>
                  <a:lnTo>
                    <a:pt x="2388" y="420"/>
                  </a:lnTo>
                  <a:lnTo>
                    <a:pt x="2256" y="420"/>
                  </a:lnTo>
                  <a:lnTo>
                    <a:pt x="2172" y="456"/>
                  </a:lnTo>
                  <a:lnTo>
                    <a:pt x="2016" y="468"/>
                  </a:lnTo>
                  <a:lnTo>
                    <a:pt x="1860" y="432"/>
                  </a:lnTo>
                  <a:lnTo>
                    <a:pt x="1740" y="408"/>
                  </a:lnTo>
                  <a:lnTo>
                    <a:pt x="1608" y="432"/>
                  </a:lnTo>
                  <a:lnTo>
                    <a:pt x="1500" y="372"/>
                  </a:lnTo>
                  <a:lnTo>
                    <a:pt x="1344" y="456"/>
                  </a:lnTo>
                  <a:lnTo>
                    <a:pt x="1212" y="456"/>
                  </a:lnTo>
                  <a:lnTo>
                    <a:pt x="1068" y="456"/>
                  </a:lnTo>
                  <a:lnTo>
                    <a:pt x="996" y="516"/>
                  </a:lnTo>
                  <a:lnTo>
                    <a:pt x="914" y="587"/>
                  </a:lnTo>
                  <a:close/>
                </a:path>
              </a:pathLst>
            </a:custGeom>
            <a:solidFill>
              <a:srgbClr val="0000FF"/>
            </a:solidFill>
            <a:ln w="19050" cap="flat" cmpd="sng">
              <a:solidFill>
                <a:srgbClr val="FFFFFF"/>
              </a:solidFill>
              <a:prstDash val="solid"/>
              <a:round/>
              <a:headEnd type="none" w="sm" len="sm"/>
              <a:tailEnd type="none" w="sm" len="sm"/>
            </a:ln>
            <a:effectLst>
              <a:outerShdw dist="28398" dir="6993903" algn="ctr" rotWithShape="0">
                <a:srgbClr val="B2B2B2">
                  <a:alpha val="49803"/>
                </a:srgbClr>
              </a:outerShdw>
            </a:effectLst>
          </p:spPr>
          <p:txBody>
            <a:bodyPr spcFirstLastPara="1" wrap="square" lIns="68569" tIns="34275" rIns="68569" bIns="34275"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1"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38" name="Google Shape;141;p1">
              <a:extLst>
                <a:ext uri="{FF2B5EF4-FFF2-40B4-BE49-F238E27FC236}">
                  <a16:creationId xmlns:a16="http://schemas.microsoft.com/office/drawing/2014/main" xmlns="" id="{920CE571-8C7F-41BA-B728-7C979611AD91}"/>
                </a:ext>
              </a:extLst>
            </p:cNvPr>
            <p:cNvSpPr/>
            <p:nvPr/>
          </p:nvSpPr>
          <p:spPr>
            <a:xfrm>
              <a:off x="5426898" y="4681518"/>
              <a:ext cx="1400341" cy="1013522"/>
            </a:xfrm>
            <a:custGeom>
              <a:avLst/>
              <a:gdLst/>
              <a:ahLst/>
              <a:cxnLst/>
              <a:rect l="l" t="t" r="r" b="b"/>
              <a:pathLst>
                <a:path w="6280" h="4155" extrusionOk="0">
                  <a:moveTo>
                    <a:pt x="1177" y="2133"/>
                  </a:moveTo>
                  <a:lnTo>
                    <a:pt x="1018" y="2150"/>
                  </a:lnTo>
                  <a:lnTo>
                    <a:pt x="852" y="2133"/>
                  </a:lnTo>
                  <a:lnTo>
                    <a:pt x="760" y="2225"/>
                  </a:lnTo>
                  <a:lnTo>
                    <a:pt x="511" y="2331"/>
                  </a:lnTo>
                  <a:lnTo>
                    <a:pt x="510" y="2580"/>
                  </a:lnTo>
                  <a:lnTo>
                    <a:pt x="636" y="2744"/>
                  </a:lnTo>
                  <a:lnTo>
                    <a:pt x="420" y="2763"/>
                  </a:lnTo>
                  <a:lnTo>
                    <a:pt x="258" y="2925"/>
                  </a:lnTo>
                  <a:lnTo>
                    <a:pt x="168" y="3141"/>
                  </a:lnTo>
                  <a:lnTo>
                    <a:pt x="0" y="3372"/>
                  </a:lnTo>
                  <a:lnTo>
                    <a:pt x="253" y="3393"/>
                  </a:lnTo>
                  <a:lnTo>
                    <a:pt x="475" y="3339"/>
                  </a:lnTo>
                  <a:lnTo>
                    <a:pt x="729" y="3393"/>
                  </a:lnTo>
                  <a:lnTo>
                    <a:pt x="852" y="3537"/>
                  </a:lnTo>
                  <a:lnTo>
                    <a:pt x="690" y="3665"/>
                  </a:lnTo>
                  <a:lnTo>
                    <a:pt x="637" y="3842"/>
                  </a:lnTo>
                  <a:lnTo>
                    <a:pt x="763" y="3933"/>
                  </a:lnTo>
                  <a:lnTo>
                    <a:pt x="893" y="3981"/>
                  </a:lnTo>
                  <a:lnTo>
                    <a:pt x="1057" y="4009"/>
                  </a:lnTo>
                  <a:lnTo>
                    <a:pt x="1249" y="4027"/>
                  </a:lnTo>
                  <a:lnTo>
                    <a:pt x="1386" y="4064"/>
                  </a:lnTo>
                  <a:lnTo>
                    <a:pt x="1505" y="4128"/>
                  </a:lnTo>
                  <a:lnTo>
                    <a:pt x="1615" y="4128"/>
                  </a:lnTo>
                  <a:lnTo>
                    <a:pt x="1743" y="4155"/>
                  </a:lnTo>
                  <a:lnTo>
                    <a:pt x="1807" y="4109"/>
                  </a:lnTo>
                  <a:lnTo>
                    <a:pt x="1853" y="4045"/>
                  </a:lnTo>
                  <a:lnTo>
                    <a:pt x="1862" y="3972"/>
                  </a:lnTo>
                  <a:lnTo>
                    <a:pt x="1962" y="3936"/>
                  </a:lnTo>
                  <a:lnTo>
                    <a:pt x="2102" y="3940"/>
                  </a:lnTo>
                  <a:lnTo>
                    <a:pt x="2194" y="3977"/>
                  </a:lnTo>
                  <a:lnTo>
                    <a:pt x="2285" y="4023"/>
                  </a:lnTo>
                  <a:lnTo>
                    <a:pt x="2422" y="4032"/>
                  </a:lnTo>
                  <a:lnTo>
                    <a:pt x="2459" y="3959"/>
                  </a:lnTo>
                  <a:lnTo>
                    <a:pt x="2468" y="3876"/>
                  </a:lnTo>
                  <a:lnTo>
                    <a:pt x="2495" y="3794"/>
                  </a:lnTo>
                  <a:lnTo>
                    <a:pt x="2578" y="3758"/>
                  </a:lnTo>
                  <a:lnTo>
                    <a:pt x="2669" y="3703"/>
                  </a:lnTo>
                  <a:lnTo>
                    <a:pt x="2788" y="3703"/>
                  </a:lnTo>
                  <a:lnTo>
                    <a:pt x="2888" y="3748"/>
                  </a:lnTo>
                  <a:lnTo>
                    <a:pt x="2998" y="3776"/>
                  </a:lnTo>
                  <a:lnTo>
                    <a:pt x="3105" y="3762"/>
                  </a:lnTo>
                  <a:lnTo>
                    <a:pt x="3227" y="3721"/>
                  </a:lnTo>
                  <a:lnTo>
                    <a:pt x="3318" y="3694"/>
                  </a:lnTo>
                  <a:lnTo>
                    <a:pt x="3410" y="3611"/>
                  </a:lnTo>
                  <a:lnTo>
                    <a:pt x="3574" y="3556"/>
                  </a:lnTo>
                  <a:lnTo>
                    <a:pt x="3720" y="3474"/>
                  </a:lnTo>
                  <a:lnTo>
                    <a:pt x="3839" y="3410"/>
                  </a:lnTo>
                  <a:lnTo>
                    <a:pt x="4004" y="3282"/>
                  </a:lnTo>
                  <a:lnTo>
                    <a:pt x="4123" y="3172"/>
                  </a:lnTo>
                  <a:lnTo>
                    <a:pt x="4296" y="3072"/>
                  </a:lnTo>
                  <a:lnTo>
                    <a:pt x="4488" y="2916"/>
                  </a:lnTo>
                  <a:lnTo>
                    <a:pt x="4644" y="2770"/>
                  </a:lnTo>
                  <a:lnTo>
                    <a:pt x="4827" y="2624"/>
                  </a:lnTo>
                  <a:lnTo>
                    <a:pt x="5000" y="2432"/>
                  </a:lnTo>
                  <a:lnTo>
                    <a:pt x="5165" y="2295"/>
                  </a:lnTo>
                  <a:lnTo>
                    <a:pt x="5302" y="2112"/>
                  </a:lnTo>
                  <a:lnTo>
                    <a:pt x="5458" y="1930"/>
                  </a:lnTo>
                  <a:lnTo>
                    <a:pt x="5640" y="1729"/>
                  </a:lnTo>
                  <a:lnTo>
                    <a:pt x="5787" y="1665"/>
                  </a:lnTo>
                  <a:lnTo>
                    <a:pt x="5906" y="1500"/>
                  </a:lnTo>
                  <a:lnTo>
                    <a:pt x="6125" y="1354"/>
                  </a:lnTo>
                  <a:lnTo>
                    <a:pt x="6280" y="1162"/>
                  </a:lnTo>
                  <a:lnTo>
                    <a:pt x="6262" y="1089"/>
                  </a:lnTo>
                  <a:lnTo>
                    <a:pt x="6257" y="997"/>
                  </a:lnTo>
                  <a:lnTo>
                    <a:pt x="6171" y="897"/>
                  </a:lnTo>
                  <a:lnTo>
                    <a:pt x="6034" y="815"/>
                  </a:lnTo>
                  <a:lnTo>
                    <a:pt x="5911" y="726"/>
                  </a:lnTo>
                  <a:lnTo>
                    <a:pt x="5977" y="574"/>
                  </a:lnTo>
                  <a:lnTo>
                    <a:pt x="5989" y="578"/>
                  </a:lnTo>
                  <a:lnTo>
                    <a:pt x="6175" y="586"/>
                  </a:lnTo>
                  <a:lnTo>
                    <a:pt x="6223" y="484"/>
                  </a:lnTo>
                  <a:lnTo>
                    <a:pt x="6229" y="388"/>
                  </a:lnTo>
                  <a:lnTo>
                    <a:pt x="6139" y="310"/>
                  </a:lnTo>
                  <a:lnTo>
                    <a:pt x="6091" y="232"/>
                  </a:lnTo>
                  <a:lnTo>
                    <a:pt x="6037" y="178"/>
                  </a:lnTo>
                  <a:lnTo>
                    <a:pt x="5983" y="106"/>
                  </a:lnTo>
                  <a:lnTo>
                    <a:pt x="5911" y="100"/>
                  </a:lnTo>
                  <a:lnTo>
                    <a:pt x="5839" y="64"/>
                  </a:lnTo>
                  <a:lnTo>
                    <a:pt x="5755" y="46"/>
                  </a:lnTo>
                  <a:lnTo>
                    <a:pt x="5713" y="172"/>
                  </a:lnTo>
                  <a:lnTo>
                    <a:pt x="5731" y="256"/>
                  </a:lnTo>
                  <a:lnTo>
                    <a:pt x="5779" y="328"/>
                  </a:lnTo>
                  <a:lnTo>
                    <a:pt x="5791" y="382"/>
                  </a:lnTo>
                  <a:lnTo>
                    <a:pt x="5851" y="430"/>
                  </a:lnTo>
                  <a:lnTo>
                    <a:pt x="5857" y="532"/>
                  </a:lnTo>
                  <a:lnTo>
                    <a:pt x="5979" y="571"/>
                  </a:lnTo>
                  <a:lnTo>
                    <a:pt x="5911" y="724"/>
                  </a:lnTo>
                  <a:lnTo>
                    <a:pt x="5827" y="880"/>
                  </a:lnTo>
                  <a:lnTo>
                    <a:pt x="5803" y="741"/>
                  </a:lnTo>
                  <a:lnTo>
                    <a:pt x="5740" y="634"/>
                  </a:lnTo>
                  <a:lnTo>
                    <a:pt x="5593" y="658"/>
                  </a:lnTo>
                  <a:lnTo>
                    <a:pt x="5467" y="632"/>
                  </a:lnTo>
                  <a:lnTo>
                    <a:pt x="5348" y="540"/>
                  </a:lnTo>
                  <a:lnTo>
                    <a:pt x="5229" y="559"/>
                  </a:lnTo>
                  <a:lnTo>
                    <a:pt x="5119" y="549"/>
                  </a:lnTo>
                  <a:lnTo>
                    <a:pt x="5101" y="440"/>
                  </a:lnTo>
                  <a:lnTo>
                    <a:pt x="5138" y="348"/>
                  </a:lnTo>
                  <a:lnTo>
                    <a:pt x="5238" y="312"/>
                  </a:lnTo>
                  <a:lnTo>
                    <a:pt x="5339" y="202"/>
                  </a:lnTo>
                  <a:lnTo>
                    <a:pt x="5439" y="129"/>
                  </a:lnTo>
                  <a:lnTo>
                    <a:pt x="5347" y="0"/>
                  </a:lnTo>
                  <a:lnTo>
                    <a:pt x="5275" y="65"/>
                  </a:lnTo>
                  <a:lnTo>
                    <a:pt x="5202" y="120"/>
                  </a:lnTo>
                  <a:lnTo>
                    <a:pt x="5083" y="156"/>
                  </a:lnTo>
                  <a:lnTo>
                    <a:pt x="4982" y="156"/>
                  </a:lnTo>
                  <a:lnTo>
                    <a:pt x="4900" y="165"/>
                  </a:lnTo>
                  <a:lnTo>
                    <a:pt x="4781" y="193"/>
                  </a:lnTo>
                  <a:lnTo>
                    <a:pt x="4735" y="284"/>
                  </a:lnTo>
                  <a:lnTo>
                    <a:pt x="4662" y="357"/>
                  </a:lnTo>
                  <a:lnTo>
                    <a:pt x="4605" y="458"/>
                  </a:lnTo>
                  <a:lnTo>
                    <a:pt x="4516" y="650"/>
                  </a:lnTo>
                  <a:lnTo>
                    <a:pt x="4397" y="650"/>
                  </a:lnTo>
                  <a:lnTo>
                    <a:pt x="4269" y="623"/>
                  </a:lnTo>
                  <a:lnTo>
                    <a:pt x="4178" y="540"/>
                  </a:lnTo>
                  <a:lnTo>
                    <a:pt x="4095" y="440"/>
                  </a:lnTo>
                  <a:lnTo>
                    <a:pt x="3996" y="336"/>
                  </a:lnTo>
                  <a:lnTo>
                    <a:pt x="3865" y="478"/>
                  </a:lnTo>
                  <a:lnTo>
                    <a:pt x="3709" y="513"/>
                  </a:lnTo>
                  <a:lnTo>
                    <a:pt x="3561" y="618"/>
                  </a:lnTo>
                  <a:lnTo>
                    <a:pt x="3436" y="670"/>
                  </a:lnTo>
                  <a:lnTo>
                    <a:pt x="3291" y="624"/>
                  </a:lnTo>
                  <a:lnTo>
                    <a:pt x="3192" y="562"/>
                  </a:lnTo>
                  <a:lnTo>
                    <a:pt x="3051" y="574"/>
                  </a:lnTo>
                  <a:lnTo>
                    <a:pt x="2952" y="478"/>
                  </a:lnTo>
                  <a:lnTo>
                    <a:pt x="2749" y="537"/>
                  </a:lnTo>
                  <a:lnTo>
                    <a:pt x="2691" y="595"/>
                  </a:lnTo>
                  <a:lnTo>
                    <a:pt x="2605" y="645"/>
                  </a:lnTo>
                  <a:lnTo>
                    <a:pt x="2485" y="598"/>
                  </a:lnTo>
                  <a:lnTo>
                    <a:pt x="2355" y="601"/>
                  </a:lnTo>
                  <a:lnTo>
                    <a:pt x="2353" y="760"/>
                  </a:lnTo>
                  <a:lnTo>
                    <a:pt x="2367" y="936"/>
                  </a:lnTo>
                  <a:lnTo>
                    <a:pt x="2364" y="1065"/>
                  </a:lnTo>
                  <a:lnTo>
                    <a:pt x="2271" y="1161"/>
                  </a:lnTo>
                  <a:lnTo>
                    <a:pt x="2113" y="1161"/>
                  </a:lnTo>
                  <a:lnTo>
                    <a:pt x="1920" y="1233"/>
                  </a:lnTo>
                  <a:lnTo>
                    <a:pt x="1755" y="1365"/>
                  </a:lnTo>
                  <a:lnTo>
                    <a:pt x="1573" y="1342"/>
                  </a:lnTo>
                  <a:lnTo>
                    <a:pt x="1479" y="1677"/>
                  </a:lnTo>
                  <a:lnTo>
                    <a:pt x="1228" y="1749"/>
                  </a:lnTo>
                  <a:lnTo>
                    <a:pt x="1285" y="1920"/>
                  </a:lnTo>
                  <a:lnTo>
                    <a:pt x="1212" y="2008"/>
                  </a:lnTo>
                  <a:lnTo>
                    <a:pt x="1177" y="2133"/>
                  </a:lnTo>
                  <a:close/>
                </a:path>
              </a:pathLst>
            </a:custGeom>
            <a:solidFill>
              <a:srgbClr val="FFFF00"/>
            </a:solidFill>
            <a:ln w="19050" cap="flat" cmpd="sng">
              <a:solidFill>
                <a:srgbClr val="FFFFFF"/>
              </a:solidFill>
              <a:prstDash val="solid"/>
              <a:round/>
              <a:headEnd type="none" w="sm" len="sm"/>
              <a:tailEnd type="none" w="sm" len="sm"/>
            </a:ln>
            <a:effectLst>
              <a:outerShdw dist="28398" dir="6993903" algn="ctr" rotWithShape="0">
                <a:srgbClr val="B2B2B2">
                  <a:alpha val="49803"/>
                </a:srgbClr>
              </a:outerShdw>
            </a:effectLst>
          </p:spPr>
          <p:txBody>
            <a:bodyPr spcFirstLastPara="1" wrap="square" lIns="68569" tIns="34275" rIns="68569" bIns="34275"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39" name="Google Shape;142;p1">
              <a:extLst>
                <a:ext uri="{FF2B5EF4-FFF2-40B4-BE49-F238E27FC236}">
                  <a16:creationId xmlns:a16="http://schemas.microsoft.com/office/drawing/2014/main" xmlns="" id="{45C31317-9821-4A13-8A35-90DF97A642D6}"/>
                </a:ext>
              </a:extLst>
            </p:cNvPr>
            <p:cNvSpPr/>
            <p:nvPr/>
          </p:nvSpPr>
          <p:spPr>
            <a:xfrm>
              <a:off x="6121581" y="2806564"/>
              <a:ext cx="1085374" cy="731245"/>
            </a:xfrm>
            <a:custGeom>
              <a:avLst/>
              <a:gdLst/>
              <a:ahLst/>
              <a:cxnLst/>
              <a:rect l="l" t="t" r="r" b="b"/>
              <a:pathLst>
                <a:path w="4870" h="2993" extrusionOk="0">
                  <a:moveTo>
                    <a:pt x="4870" y="1841"/>
                  </a:moveTo>
                  <a:lnTo>
                    <a:pt x="4815" y="1895"/>
                  </a:lnTo>
                  <a:lnTo>
                    <a:pt x="4687" y="1905"/>
                  </a:lnTo>
                  <a:lnTo>
                    <a:pt x="4568" y="1923"/>
                  </a:lnTo>
                  <a:lnTo>
                    <a:pt x="4422" y="2005"/>
                  </a:lnTo>
                  <a:lnTo>
                    <a:pt x="4449" y="2179"/>
                  </a:lnTo>
                  <a:lnTo>
                    <a:pt x="4431" y="2343"/>
                  </a:lnTo>
                  <a:lnTo>
                    <a:pt x="4504" y="2407"/>
                  </a:lnTo>
                  <a:lnTo>
                    <a:pt x="4541" y="2453"/>
                  </a:lnTo>
                  <a:lnTo>
                    <a:pt x="4641" y="2499"/>
                  </a:lnTo>
                  <a:lnTo>
                    <a:pt x="4568" y="2581"/>
                  </a:lnTo>
                  <a:lnTo>
                    <a:pt x="4459" y="2572"/>
                  </a:lnTo>
                  <a:lnTo>
                    <a:pt x="4385" y="2654"/>
                  </a:lnTo>
                  <a:lnTo>
                    <a:pt x="4523" y="2746"/>
                  </a:lnTo>
                  <a:lnTo>
                    <a:pt x="4449" y="2846"/>
                  </a:lnTo>
                  <a:lnTo>
                    <a:pt x="4331" y="2883"/>
                  </a:lnTo>
                  <a:lnTo>
                    <a:pt x="4239" y="2883"/>
                  </a:lnTo>
                  <a:lnTo>
                    <a:pt x="4203" y="2787"/>
                  </a:lnTo>
                  <a:lnTo>
                    <a:pt x="4203" y="2645"/>
                  </a:lnTo>
                  <a:lnTo>
                    <a:pt x="4257" y="2590"/>
                  </a:lnTo>
                  <a:lnTo>
                    <a:pt x="4276" y="2517"/>
                  </a:lnTo>
                  <a:lnTo>
                    <a:pt x="4102" y="2398"/>
                  </a:lnTo>
                  <a:lnTo>
                    <a:pt x="4001" y="2362"/>
                  </a:lnTo>
                  <a:lnTo>
                    <a:pt x="3901" y="2311"/>
                  </a:lnTo>
                  <a:lnTo>
                    <a:pt x="3791" y="2353"/>
                  </a:lnTo>
                  <a:lnTo>
                    <a:pt x="3736" y="2453"/>
                  </a:lnTo>
                  <a:lnTo>
                    <a:pt x="3636" y="2407"/>
                  </a:lnTo>
                  <a:lnTo>
                    <a:pt x="3499" y="2389"/>
                  </a:lnTo>
                  <a:lnTo>
                    <a:pt x="3407" y="2426"/>
                  </a:lnTo>
                  <a:lnTo>
                    <a:pt x="3334" y="2407"/>
                  </a:lnTo>
                  <a:lnTo>
                    <a:pt x="3307" y="2517"/>
                  </a:lnTo>
                  <a:lnTo>
                    <a:pt x="3343" y="2590"/>
                  </a:lnTo>
                  <a:lnTo>
                    <a:pt x="3206" y="2682"/>
                  </a:lnTo>
                  <a:lnTo>
                    <a:pt x="3124" y="2746"/>
                  </a:lnTo>
                  <a:lnTo>
                    <a:pt x="3023" y="2874"/>
                  </a:lnTo>
                  <a:lnTo>
                    <a:pt x="3032" y="2956"/>
                  </a:lnTo>
                  <a:lnTo>
                    <a:pt x="2941" y="2993"/>
                  </a:lnTo>
                  <a:lnTo>
                    <a:pt x="2813" y="2983"/>
                  </a:lnTo>
                  <a:lnTo>
                    <a:pt x="2740" y="2883"/>
                  </a:lnTo>
                  <a:lnTo>
                    <a:pt x="2694" y="2746"/>
                  </a:lnTo>
                  <a:lnTo>
                    <a:pt x="2721" y="2645"/>
                  </a:lnTo>
                  <a:lnTo>
                    <a:pt x="2740" y="2545"/>
                  </a:lnTo>
                  <a:lnTo>
                    <a:pt x="2593" y="2583"/>
                  </a:lnTo>
                  <a:lnTo>
                    <a:pt x="2511" y="2645"/>
                  </a:lnTo>
                  <a:lnTo>
                    <a:pt x="2493" y="2727"/>
                  </a:lnTo>
                  <a:lnTo>
                    <a:pt x="2401" y="2737"/>
                  </a:lnTo>
                  <a:lnTo>
                    <a:pt x="2319" y="2673"/>
                  </a:lnTo>
                  <a:lnTo>
                    <a:pt x="2219" y="2755"/>
                  </a:lnTo>
                  <a:lnTo>
                    <a:pt x="2091" y="2746"/>
                  </a:lnTo>
                  <a:lnTo>
                    <a:pt x="1990" y="2773"/>
                  </a:lnTo>
                  <a:lnTo>
                    <a:pt x="1972" y="2837"/>
                  </a:lnTo>
                  <a:lnTo>
                    <a:pt x="1880" y="2865"/>
                  </a:lnTo>
                  <a:lnTo>
                    <a:pt x="1789" y="2947"/>
                  </a:lnTo>
                  <a:lnTo>
                    <a:pt x="1617" y="2918"/>
                  </a:lnTo>
                  <a:lnTo>
                    <a:pt x="1677" y="2891"/>
                  </a:lnTo>
                  <a:lnTo>
                    <a:pt x="1644" y="2819"/>
                  </a:lnTo>
                  <a:lnTo>
                    <a:pt x="1438" y="2727"/>
                  </a:lnTo>
                  <a:lnTo>
                    <a:pt x="1296" y="2765"/>
                  </a:lnTo>
                  <a:lnTo>
                    <a:pt x="1159" y="2726"/>
                  </a:lnTo>
                  <a:lnTo>
                    <a:pt x="1084" y="2846"/>
                  </a:lnTo>
                  <a:lnTo>
                    <a:pt x="960" y="2829"/>
                  </a:lnTo>
                  <a:lnTo>
                    <a:pt x="814" y="2748"/>
                  </a:lnTo>
                  <a:lnTo>
                    <a:pt x="700" y="2654"/>
                  </a:lnTo>
                  <a:lnTo>
                    <a:pt x="619" y="2489"/>
                  </a:lnTo>
                  <a:lnTo>
                    <a:pt x="463" y="2589"/>
                  </a:lnTo>
                  <a:lnTo>
                    <a:pt x="475" y="2622"/>
                  </a:lnTo>
                  <a:lnTo>
                    <a:pt x="253" y="2583"/>
                  </a:lnTo>
                  <a:lnTo>
                    <a:pt x="118" y="2547"/>
                  </a:lnTo>
                  <a:lnTo>
                    <a:pt x="39" y="2450"/>
                  </a:lnTo>
                  <a:lnTo>
                    <a:pt x="0" y="2381"/>
                  </a:lnTo>
                  <a:lnTo>
                    <a:pt x="159" y="2268"/>
                  </a:lnTo>
                  <a:lnTo>
                    <a:pt x="315" y="2100"/>
                  </a:lnTo>
                  <a:lnTo>
                    <a:pt x="423" y="2028"/>
                  </a:lnTo>
                  <a:lnTo>
                    <a:pt x="538" y="1968"/>
                  </a:lnTo>
                  <a:lnTo>
                    <a:pt x="483" y="1824"/>
                  </a:lnTo>
                  <a:lnTo>
                    <a:pt x="615" y="1428"/>
                  </a:lnTo>
                  <a:lnTo>
                    <a:pt x="735" y="1320"/>
                  </a:lnTo>
                  <a:lnTo>
                    <a:pt x="891" y="1212"/>
                  </a:lnTo>
                  <a:lnTo>
                    <a:pt x="1035" y="1140"/>
                  </a:lnTo>
                  <a:lnTo>
                    <a:pt x="1143" y="1044"/>
                  </a:lnTo>
                  <a:lnTo>
                    <a:pt x="1311" y="972"/>
                  </a:lnTo>
                  <a:lnTo>
                    <a:pt x="1462" y="852"/>
                  </a:lnTo>
                  <a:lnTo>
                    <a:pt x="1522" y="756"/>
                  </a:lnTo>
                  <a:lnTo>
                    <a:pt x="1546" y="660"/>
                  </a:lnTo>
                  <a:lnTo>
                    <a:pt x="1642" y="600"/>
                  </a:lnTo>
                  <a:lnTo>
                    <a:pt x="1714" y="480"/>
                  </a:lnTo>
                  <a:lnTo>
                    <a:pt x="1846" y="420"/>
                  </a:lnTo>
                  <a:lnTo>
                    <a:pt x="2074" y="420"/>
                  </a:lnTo>
                  <a:lnTo>
                    <a:pt x="2218" y="336"/>
                  </a:lnTo>
                  <a:lnTo>
                    <a:pt x="2350" y="288"/>
                  </a:lnTo>
                  <a:lnTo>
                    <a:pt x="2365" y="131"/>
                  </a:lnTo>
                  <a:lnTo>
                    <a:pt x="2475" y="94"/>
                  </a:lnTo>
                  <a:lnTo>
                    <a:pt x="2650" y="36"/>
                  </a:lnTo>
                  <a:lnTo>
                    <a:pt x="2770" y="72"/>
                  </a:lnTo>
                  <a:lnTo>
                    <a:pt x="2962" y="0"/>
                  </a:lnTo>
                  <a:lnTo>
                    <a:pt x="3118" y="36"/>
                  </a:lnTo>
                  <a:lnTo>
                    <a:pt x="3224" y="67"/>
                  </a:lnTo>
                  <a:lnTo>
                    <a:pt x="3298" y="72"/>
                  </a:lnTo>
                  <a:lnTo>
                    <a:pt x="3380" y="177"/>
                  </a:lnTo>
                  <a:lnTo>
                    <a:pt x="3499" y="195"/>
                  </a:lnTo>
                  <a:lnTo>
                    <a:pt x="3608" y="259"/>
                  </a:lnTo>
                  <a:lnTo>
                    <a:pt x="3718" y="241"/>
                  </a:lnTo>
                  <a:lnTo>
                    <a:pt x="3837" y="222"/>
                  </a:lnTo>
                  <a:lnTo>
                    <a:pt x="3928" y="222"/>
                  </a:lnTo>
                  <a:lnTo>
                    <a:pt x="4056" y="213"/>
                  </a:lnTo>
                  <a:lnTo>
                    <a:pt x="4148" y="222"/>
                  </a:lnTo>
                  <a:lnTo>
                    <a:pt x="4248" y="250"/>
                  </a:lnTo>
                  <a:lnTo>
                    <a:pt x="4349" y="259"/>
                  </a:lnTo>
                  <a:lnTo>
                    <a:pt x="4449" y="332"/>
                  </a:lnTo>
                  <a:lnTo>
                    <a:pt x="4459" y="487"/>
                  </a:lnTo>
                  <a:lnTo>
                    <a:pt x="4513" y="625"/>
                  </a:lnTo>
                  <a:lnTo>
                    <a:pt x="4559" y="743"/>
                  </a:lnTo>
                  <a:lnTo>
                    <a:pt x="4587" y="935"/>
                  </a:lnTo>
                  <a:lnTo>
                    <a:pt x="4623" y="1073"/>
                  </a:lnTo>
                  <a:lnTo>
                    <a:pt x="4641" y="1237"/>
                  </a:lnTo>
                  <a:lnTo>
                    <a:pt x="4596" y="1356"/>
                  </a:lnTo>
                  <a:lnTo>
                    <a:pt x="4715" y="1502"/>
                  </a:lnTo>
                  <a:lnTo>
                    <a:pt x="4779" y="1685"/>
                  </a:lnTo>
                  <a:lnTo>
                    <a:pt x="4870" y="1841"/>
                  </a:lnTo>
                  <a:close/>
                </a:path>
              </a:pathLst>
            </a:custGeom>
            <a:solidFill>
              <a:srgbClr val="008000"/>
            </a:solidFill>
            <a:ln w="19050" cap="flat" cmpd="sng">
              <a:solidFill>
                <a:srgbClr val="FFFFFF"/>
              </a:solidFill>
              <a:prstDash val="solid"/>
              <a:round/>
              <a:headEnd type="none" w="sm" len="sm"/>
              <a:tailEnd type="none" w="sm" len="sm"/>
            </a:ln>
            <a:effectLst>
              <a:outerShdw dist="28398" dir="6993903" algn="ctr" rotWithShape="0">
                <a:srgbClr val="B2B2B2">
                  <a:alpha val="49803"/>
                </a:srgbClr>
              </a:outerShdw>
            </a:effectLst>
          </p:spPr>
          <p:txBody>
            <a:bodyPr spcFirstLastPara="1" wrap="square" lIns="68569" tIns="34275" rIns="68569" bIns="34275"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40" name="Google Shape;143;p1">
              <a:extLst>
                <a:ext uri="{FF2B5EF4-FFF2-40B4-BE49-F238E27FC236}">
                  <a16:creationId xmlns:a16="http://schemas.microsoft.com/office/drawing/2014/main" xmlns="" id="{4ED09AEF-9E9C-4414-8180-1BF069912464}"/>
                </a:ext>
              </a:extLst>
            </p:cNvPr>
            <p:cNvSpPr/>
            <p:nvPr/>
          </p:nvSpPr>
          <p:spPr>
            <a:xfrm>
              <a:off x="6288393" y="3512257"/>
              <a:ext cx="398373" cy="424633"/>
            </a:xfrm>
            <a:custGeom>
              <a:avLst/>
              <a:gdLst/>
              <a:ahLst/>
              <a:cxnLst/>
              <a:rect l="l" t="t" r="r" b="b"/>
              <a:pathLst>
                <a:path w="1792" h="1740" extrusionOk="0">
                  <a:moveTo>
                    <a:pt x="1362" y="27"/>
                  </a:moveTo>
                  <a:lnTo>
                    <a:pt x="1252" y="46"/>
                  </a:lnTo>
                  <a:lnTo>
                    <a:pt x="1142" y="128"/>
                  </a:lnTo>
                  <a:lnTo>
                    <a:pt x="1042" y="54"/>
                  </a:lnTo>
                  <a:lnTo>
                    <a:pt x="868" y="27"/>
                  </a:lnTo>
                  <a:lnTo>
                    <a:pt x="868" y="183"/>
                  </a:lnTo>
                  <a:lnTo>
                    <a:pt x="813" y="257"/>
                  </a:lnTo>
                  <a:lnTo>
                    <a:pt x="813" y="383"/>
                  </a:lnTo>
                  <a:lnTo>
                    <a:pt x="669" y="501"/>
                  </a:lnTo>
                  <a:lnTo>
                    <a:pt x="658" y="657"/>
                  </a:lnTo>
                  <a:lnTo>
                    <a:pt x="567" y="720"/>
                  </a:lnTo>
                  <a:lnTo>
                    <a:pt x="438" y="695"/>
                  </a:lnTo>
                  <a:lnTo>
                    <a:pt x="300" y="677"/>
                  </a:lnTo>
                  <a:lnTo>
                    <a:pt x="219" y="729"/>
                  </a:lnTo>
                  <a:lnTo>
                    <a:pt x="219" y="873"/>
                  </a:lnTo>
                  <a:lnTo>
                    <a:pt x="192" y="1041"/>
                  </a:lnTo>
                  <a:lnTo>
                    <a:pt x="97" y="1137"/>
                  </a:lnTo>
                  <a:lnTo>
                    <a:pt x="0" y="1244"/>
                  </a:lnTo>
                  <a:lnTo>
                    <a:pt x="111" y="1326"/>
                  </a:lnTo>
                  <a:lnTo>
                    <a:pt x="255" y="1272"/>
                  </a:lnTo>
                  <a:lnTo>
                    <a:pt x="375" y="1383"/>
                  </a:lnTo>
                  <a:lnTo>
                    <a:pt x="411" y="1481"/>
                  </a:lnTo>
                  <a:lnTo>
                    <a:pt x="520" y="1536"/>
                  </a:lnTo>
                  <a:lnTo>
                    <a:pt x="615" y="1548"/>
                  </a:lnTo>
                  <a:lnTo>
                    <a:pt x="796" y="1679"/>
                  </a:lnTo>
                  <a:lnTo>
                    <a:pt x="921" y="1740"/>
                  </a:lnTo>
                  <a:lnTo>
                    <a:pt x="983" y="1647"/>
                  </a:lnTo>
                  <a:lnTo>
                    <a:pt x="1047" y="1555"/>
                  </a:lnTo>
                  <a:lnTo>
                    <a:pt x="1197" y="1463"/>
                  </a:lnTo>
                  <a:lnTo>
                    <a:pt x="1344" y="1435"/>
                  </a:lnTo>
                  <a:lnTo>
                    <a:pt x="1417" y="1353"/>
                  </a:lnTo>
                  <a:lnTo>
                    <a:pt x="1472" y="1262"/>
                  </a:lnTo>
                  <a:lnTo>
                    <a:pt x="1371" y="1225"/>
                  </a:lnTo>
                  <a:lnTo>
                    <a:pt x="1298" y="1189"/>
                  </a:lnTo>
                  <a:lnTo>
                    <a:pt x="1197" y="1152"/>
                  </a:lnTo>
                  <a:lnTo>
                    <a:pt x="1115" y="1088"/>
                  </a:lnTo>
                  <a:lnTo>
                    <a:pt x="1124" y="1006"/>
                  </a:lnTo>
                  <a:lnTo>
                    <a:pt x="1170" y="914"/>
                  </a:lnTo>
                  <a:lnTo>
                    <a:pt x="1298" y="914"/>
                  </a:lnTo>
                  <a:lnTo>
                    <a:pt x="1426" y="896"/>
                  </a:lnTo>
                  <a:lnTo>
                    <a:pt x="1481" y="805"/>
                  </a:lnTo>
                  <a:lnTo>
                    <a:pt x="1508" y="667"/>
                  </a:lnTo>
                  <a:lnTo>
                    <a:pt x="1572" y="567"/>
                  </a:lnTo>
                  <a:lnTo>
                    <a:pt x="1618" y="466"/>
                  </a:lnTo>
                  <a:lnTo>
                    <a:pt x="1627" y="393"/>
                  </a:lnTo>
                  <a:lnTo>
                    <a:pt x="1700" y="347"/>
                  </a:lnTo>
                  <a:lnTo>
                    <a:pt x="1792" y="302"/>
                  </a:lnTo>
                  <a:lnTo>
                    <a:pt x="1792" y="201"/>
                  </a:lnTo>
                  <a:lnTo>
                    <a:pt x="1682" y="183"/>
                  </a:lnTo>
                  <a:lnTo>
                    <a:pt x="1645" y="82"/>
                  </a:lnTo>
                  <a:lnTo>
                    <a:pt x="1545" y="18"/>
                  </a:lnTo>
                  <a:lnTo>
                    <a:pt x="1444" y="0"/>
                  </a:lnTo>
                  <a:lnTo>
                    <a:pt x="1362" y="27"/>
                  </a:lnTo>
                  <a:close/>
                </a:path>
              </a:pathLst>
            </a:custGeom>
            <a:solidFill>
              <a:srgbClr val="FF0000"/>
            </a:solidFill>
            <a:ln w="19050" cap="flat" cmpd="sng">
              <a:solidFill>
                <a:srgbClr val="FFFFFF"/>
              </a:solidFill>
              <a:prstDash val="solid"/>
              <a:round/>
              <a:headEnd type="none" w="sm" len="sm"/>
              <a:tailEnd type="none" w="sm" len="sm"/>
            </a:ln>
            <a:effectLst>
              <a:outerShdw dist="28398" dir="6993903" algn="ctr" rotWithShape="0">
                <a:srgbClr val="B2B2B2">
                  <a:alpha val="49803"/>
                </a:srgbClr>
              </a:outerShdw>
            </a:effectLst>
          </p:spPr>
          <p:txBody>
            <a:bodyPr spcFirstLastPara="1" wrap="square" lIns="68569" tIns="34275" rIns="68569" bIns="34275"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1"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43" name="Google Shape;144;p1">
              <a:extLst>
                <a:ext uri="{FF2B5EF4-FFF2-40B4-BE49-F238E27FC236}">
                  <a16:creationId xmlns:a16="http://schemas.microsoft.com/office/drawing/2014/main" xmlns="" id="{56FBDC6C-979A-4150-BC7F-D8D80CFBFC01}"/>
                </a:ext>
              </a:extLst>
            </p:cNvPr>
            <p:cNvSpPr/>
            <p:nvPr/>
          </p:nvSpPr>
          <p:spPr>
            <a:xfrm>
              <a:off x="6492518" y="3256748"/>
              <a:ext cx="742971" cy="832231"/>
            </a:xfrm>
            <a:custGeom>
              <a:avLst/>
              <a:gdLst/>
              <a:ahLst/>
              <a:cxnLst/>
              <a:rect l="l" t="t" r="r" b="b"/>
              <a:pathLst>
                <a:path w="3330" h="3414" extrusionOk="0">
                  <a:moveTo>
                    <a:pt x="121" y="1107"/>
                  </a:moveTo>
                  <a:lnTo>
                    <a:pt x="211" y="1024"/>
                  </a:lnTo>
                  <a:lnTo>
                    <a:pt x="306" y="997"/>
                  </a:lnTo>
                  <a:lnTo>
                    <a:pt x="321" y="933"/>
                  </a:lnTo>
                  <a:lnTo>
                    <a:pt x="424" y="904"/>
                  </a:lnTo>
                  <a:lnTo>
                    <a:pt x="550" y="913"/>
                  </a:lnTo>
                  <a:lnTo>
                    <a:pt x="649" y="831"/>
                  </a:lnTo>
                  <a:lnTo>
                    <a:pt x="733" y="897"/>
                  </a:lnTo>
                  <a:lnTo>
                    <a:pt x="825" y="886"/>
                  </a:lnTo>
                  <a:lnTo>
                    <a:pt x="844" y="805"/>
                  </a:lnTo>
                  <a:lnTo>
                    <a:pt x="927" y="741"/>
                  </a:lnTo>
                  <a:lnTo>
                    <a:pt x="1071" y="705"/>
                  </a:lnTo>
                  <a:lnTo>
                    <a:pt x="1053" y="805"/>
                  </a:lnTo>
                  <a:lnTo>
                    <a:pt x="1026" y="904"/>
                  </a:lnTo>
                  <a:lnTo>
                    <a:pt x="1074" y="1050"/>
                  </a:lnTo>
                  <a:lnTo>
                    <a:pt x="1147" y="1143"/>
                  </a:lnTo>
                  <a:lnTo>
                    <a:pt x="1270" y="1153"/>
                  </a:lnTo>
                  <a:lnTo>
                    <a:pt x="1363" y="1114"/>
                  </a:lnTo>
                  <a:lnTo>
                    <a:pt x="1356" y="1035"/>
                  </a:lnTo>
                  <a:lnTo>
                    <a:pt x="1453" y="906"/>
                  </a:lnTo>
                  <a:lnTo>
                    <a:pt x="1551" y="832"/>
                  </a:lnTo>
                  <a:lnTo>
                    <a:pt x="1675" y="748"/>
                  </a:lnTo>
                  <a:lnTo>
                    <a:pt x="1638" y="675"/>
                  </a:lnTo>
                  <a:lnTo>
                    <a:pt x="1666" y="568"/>
                  </a:lnTo>
                  <a:lnTo>
                    <a:pt x="1740" y="585"/>
                  </a:lnTo>
                  <a:lnTo>
                    <a:pt x="1830" y="547"/>
                  </a:lnTo>
                  <a:lnTo>
                    <a:pt x="1972" y="567"/>
                  </a:lnTo>
                  <a:lnTo>
                    <a:pt x="2070" y="613"/>
                  </a:lnTo>
                  <a:lnTo>
                    <a:pt x="2121" y="513"/>
                  </a:lnTo>
                  <a:lnTo>
                    <a:pt x="2235" y="469"/>
                  </a:lnTo>
                  <a:lnTo>
                    <a:pt x="2331" y="520"/>
                  </a:lnTo>
                  <a:lnTo>
                    <a:pt x="2439" y="559"/>
                  </a:lnTo>
                  <a:lnTo>
                    <a:pt x="2608" y="678"/>
                  </a:lnTo>
                  <a:lnTo>
                    <a:pt x="2589" y="748"/>
                  </a:lnTo>
                  <a:lnTo>
                    <a:pt x="2535" y="807"/>
                  </a:lnTo>
                  <a:lnTo>
                    <a:pt x="2535" y="946"/>
                  </a:lnTo>
                  <a:lnTo>
                    <a:pt x="2572" y="1042"/>
                  </a:lnTo>
                  <a:lnTo>
                    <a:pt x="2661" y="1042"/>
                  </a:lnTo>
                  <a:lnTo>
                    <a:pt x="2782" y="1003"/>
                  </a:lnTo>
                  <a:lnTo>
                    <a:pt x="2856" y="906"/>
                  </a:lnTo>
                  <a:lnTo>
                    <a:pt x="2718" y="813"/>
                  </a:lnTo>
                  <a:lnTo>
                    <a:pt x="2793" y="729"/>
                  </a:lnTo>
                  <a:lnTo>
                    <a:pt x="2902" y="741"/>
                  </a:lnTo>
                  <a:lnTo>
                    <a:pt x="2973" y="657"/>
                  </a:lnTo>
                  <a:lnTo>
                    <a:pt x="2875" y="615"/>
                  </a:lnTo>
                  <a:lnTo>
                    <a:pt x="2842" y="571"/>
                  </a:lnTo>
                  <a:lnTo>
                    <a:pt x="2764" y="501"/>
                  </a:lnTo>
                  <a:lnTo>
                    <a:pt x="2781" y="339"/>
                  </a:lnTo>
                  <a:lnTo>
                    <a:pt x="2755" y="165"/>
                  </a:lnTo>
                  <a:lnTo>
                    <a:pt x="2898" y="82"/>
                  </a:lnTo>
                  <a:lnTo>
                    <a:pt x="3028" y="61"/>
                  </a:lnTo>
                  <a:lnTo>
                    <a:pt x="3147" y="55"/>
                  </a:lnTo>
                  <a:lnTo>
                    <a:pt x="3202" y="0"/>
                  </a:lnTo>
                  <a:lnTo>
                    <a:pt x="3239" y="118"/>
                  </a:lnTo>
                  <a:lnTo>
                    <a:pt x="3239" y="265"/>
                  </a:lnTo>
                  <a:lnTo>
                    <a:pt x="3284" y="384"/>
                  </a:lnTo>
                  <a:lnTo>
                    <a:pt x="3330" y="530"/>
                  </a:lnTo>
                  <a:lnTo>
                    <a:pt x="3303" y="694"/>
                  </a:lnTo>
                  <a:lnTo>
                    <a:pt x="3293" y="886"/>
                  </a:lnTo>
                  <a:lnTo>
                    <a:pt x="3293" y="1161"/>
                  </a:lnTo>
                  <a:lnTo>
                    <a:pt x="3266" y="1426"/>
                  </a:lnTo>
                  <a:lnTo>
                    <a:pt x="3229" y="1545"/>
                  </a:lnTo>
                  <a:lnTo>
                    <a:pt x="3248" y="1664"/>
                  </a:lnTo>
                  <a:lnTo>
                    <a:pt x="3184" y="1746"/>
                  </a:lnTo>
                  <a:lnTo>
                    <a:pt x="3202" y="1856"/>
                  </a:lnTo>
                  <a:lnTo>
                    <a:pt x="3193" y="1984"/>
                  </a:lnTo>
                  <a:lnTo>
                    <a:pt x="3129" y="2011"/>
                  </a:lnTo>
                  <a:lnTo>
                    <a:pt x="2983" y="1901"/>
                  </a:lnTo>
                  <a:lnTo>
                    <a:pt x="2891" y="1837"/>
                  </a:lnTo>
                  <a:lnTo>
                    <a:pt x="2791" y="1755"/>
                  </a:lnTo>
                  <a:lnTo>
                    <a:pt x="2708" y="1764"/>
                  </a:lnTo>
                  <a:lnTo>
                    <a:pt x="2617" y="1810"/>
                  </a:lnTo>
                  <a:lnTo>
                    <a:pt x="2589" y="1865"/>
                  </a:lnTo>
                  <a:lnTo>
                    <a:pt x="2480" y="1974"/>
                  </a:lnTo>
                  <a:lnTo>
                    <a:pt x="2434" y="2066"/>
                  </a:lnTo>
                  <a:lnTo>
                    <a:pt x="2352" y="2185"/>
                  </a:lnTo>
                  <a:lnTo>
                    <a:pt x="2224" y="2322"/>
                  </a:lnTo>
                  <a:lnTo>
                    <a:pt x="2178" y="2432"/>
                  </a:lnTo>
                  <a:lnTo>
                    <a:pt x="2187" y="2569"/>
                  </a:lnTo>
                  <a:lnTo>
                    <a:pt x="2187" y="2651"/>
                  </a:lnTo>
                  <a:lnTo>
                    <a:pt x="2205" y="2742"/>
                  </a:lnTo>
                  <a:lnTo>
                    <a:pt x="2288" y="2779"/>
                  </a:lnTo>
                  <a:lnTo>
                    <a:pt x="2297" y="2916"/>
                  </a:lnTo>
                  <a:lnTo>
                    <a:pt x="2361" y="3008"/>
                  </a:lnTo>
                  <a:lnTo>
                    <a:pt x="2407" y="3108"/>
                  </a:lnTo>
                  <a:lnTo>
                    <a:pt x="2498" y="3181"/>
                  </a:lnTo>
                  <a:lnTo>
                    <a:pt x="2575" y="3247"/>
                  </a:lnTo>
                  <a:lnTo>
                    <a:pt x="2494" y="3283"/>
                  </a:lnTo>
                  <a:lnTo>
                    <a:pt x="2341" y="3294"/>
                  </a:lnTo>
                  <a:lnTo>
                    <a:pt x="2065" y="3235"/>
                  </a:lnTo>
                  <a:lnTo>
                    <a:pt x="1930" y="3259"/>
                  </a:lnTo>
                  <a:lnTo>
                    <a:pt x="1824" y="3198"/>
                  </a:lnTo>
                  <a:lnTo>
                    <a:pt x="1666" y="3282"/>
                  </a:lnTo>
                  <a:lnTo>
                    <a:pt x="1389" y="3283"/>
                  </a:lnTo>
                  <a:lnTo>
                    <a:pt x="1236" y="3414"/>
                  </a:lnTo>
                  <a:lnTo>
                    <a:pt x="1116" y="3334"/>
                  </a:lnTo>
                  <a:lnTo>
                    <a:pt x="1057" y="3225"/>
                  </a:lnTo>
                  <a:lnTo>
                    <a:pt x="933" y="3160"/>
                  </a:lnTo>
                  <a:lnTo>
                    <a:pt x="774" y="3037"/>
                  </a:lnTo>
                  <a:lnTo>
                    <a:pt x="633" y="2913"/>
                  </a:lnTo>
                  <a:lnTo>
                    <a:pt x="514" y="2935"/>
                  </a:lnTo>
                  <a:lnTo>
                    <a:pt x="405" y="2863"/>
                  </a:lnTo>
                  <a:lnTo>
                    <a:pt x="337" y="2899"/>
                  </a:lnTo>
                  <a:lnTo>
                    <a:pt x="235" y="2874"/>
                  </a:lnTo>
                  <a:lnTo>
                    <a:pt x="54" y="2820"/>
                  </a:lnTo>
                  <a:lnTo>
                    <a:pt x="0" y="2790"/>
                  </a:lnTo>
                  <a:lnTo>
                    <a:pt x="127" y="2604"/>
                  </a:lnTo>
                  <a:lnTo>
                    <a:pt x="277" y="2514"/>
                  </a:lnTo>
                  <a:lnTo>
                    <a:pt x="423" y="2485"/>
                  </a:lnTo>
                  <a:lnTo>
                    <a:pt x="502" y="2395"/>
                  </a:lnTo>
                  <a:lnTo>
                    <a:pt x="550" y="2313"/>
                  </a:lnTo>
                  <a:lnTo>
                    <a:pt x="451" y="2277"/>
                  </a:lnTo>
                  <a:lnTo>
                    <a:pt x="382" y="2244"/>
                  </a:lnTo>
                  <a:lnTo>
                    <a:pt x="277" y="2203"/>
                  </a:lnTo>
                  <a:lnTo>
                    <a:pt x="195" y="2139"/>
                  </a:lnTo>
                  <a:lnTo>
                    <a:pt x="204" y="2058"/>
                  </a:lnTo>
                  <a:lnTo>
                    <a:pt x="247" y="1966"/>
                  </a:lnTo>
                  <a:lnTo>
                    <a:pt x="375" y="1965"/>
                  </a:lnTo>
                  <a:lnTo>
                    <a:pt x="507" y="1947"/>
                  </a:lnTo>
                  <a:lnTo>
                    <a:pt x="559" y="1852"/>
                  </a:lnTo>
                  <a:lnTo>
                    <a:pt x="588" y="1717"/>
                  </a:lnTo>
                  <a:lnTo>
                    <a:pt x="654" y="1614"/>
                  </a:lnTo>
                  <a:lnTo>
                    <a:pt x="697" y="1516"/>
                  </a:lnTo>
                  <a:lnTo>
                    <a:pt x="706" y="1444"/>
                  </a:lnTo>
                  <a:lnTo>
                    <a:pt x="783" y="1395"/>
                  </a:lnTo>
                  <a:lnTo>
                    <a:pt x="871" y="1353"/>
                  </a:lnTo>
                  <a:lnTo>
                    <a:pt x="871" y="1252"/>
                  </a:lnTo>
                  <a:lnTo>
                    <a:pt x="762" y="1236"/>
                  </a:lnTo>
                  <a:lnTo>
                    <a:pt x="726" y="1134"/>
                  </a:lnTo>
                  <a:lnTo>
                    <a:pt x="624" y="1069"/>
                  </a:lnTo>
                  <a:lnTo>
                    <a:pt x="523" y="1050"/>
                  </a:lnTo>
                  <a:lnTo>
                    <a:pt x="441" y="1077"/>
                  </a:lnTo>
                  <a:lnTo>
                    <a:pt x="333" y="1098"/>
                  </a:lnTo>
                  <a:lnTo>
                    <a:pt x="220" y="1179"/>
                  </a:lnTo>
                  <a:lnTo>
                    <a:pt x="121" y="1107"/>
                  </a:lnTo>
                  <a:close/>
                </a:path>
              </a:pathLst>
            </a:custGeom>
            <a:solidFill>
              <a:srgbClr val="FF00FF"/>
            </a:solidFill>
            <a:ln w="19050" cap="flat" cmpd="sng">
              <a:solidFill>
                <a:srgbClr val="FFFFFF"/>
              </a:solidFill>
              <a:prstDash val="solid"/>
              <a:round/>
              <a:headEnd type="none" w="sm" len="sm"/>
              <a:tailEnd type="none" w="sm" len="sm"/>
            </a:ln>
            <a:effectLst>
              <a:outerShdw dist="28398" dir="6993903" algn="ctr" rotWithShape="0">
                <a:srgbClr val="B2B2B2">
                  <a:alpha val="49803"/>
                </a:srgbClr>
              </a:outerShdw>
            </a:effectLst>
          </p:spPr>
          <p:txBody>
            <a:bodyPr spcFirstLastPara="1" wrap="square" lIns="68569" tIns="34275" rIns="68569" bIns="34275"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cxnSp>
          <p:nvCxnSpPr>
            <p:cNvPr id="50" name="Google Shape;149;p1">
              <a:extLst>
                <a:ext uri="{FF2B5EF4-FFF2-40B4-BE49-F238E27FC236}">
                  <a16:creationId xmlns:a16="http://schemas.microsoft.com/office/drawing/2014/main" xmlns="" id="{8DD2EE55-119E-4644-BDE8-DE7245BED33C}"/>
                </a:ext>
              </a:extLst>
            </p:cNvPr>
            <p:cNvCxnSpPr>
              <a:cxnSpLocks/>
              <a:stCxn id="54" idx="0"/>
              <a:endCxn id="46" idx="1"/>
            </p:cNvCxnSpPr>
            <p:nvPr/>
          </p:nvCxnSpPr>
          <p:spPr>
            <a:xfrm rot="5400000" flipH="1" flipV="1">
              <a:off x="5680828" y="2623341"/>
              <a:ext cx="1851116" cy="296378"/>
            </a:xfrm>
            <a:prstGeom prst="bentConnector2">
              <a:avLst/>
            </a:prstGeom>
            <a:noFill/>
            <a:ln w="9525" cap="flat" cmpd="sng">
              <a:solidFill>
                <a:schemeClr val="accent2"/>
              </a:solidFill>
              <a:prstDash val="dash"/>
              <a:miter lim="800000"/>
              <a:headEnd type="none" w="med" len="med"/>
              <a:tailEnd type="none" w="med" len="med"/>
            </a:ln>
          </p:spPr>
        </p:cxnSp>
        <p:sp>
          <p:nvSpPr>
            <p:cNvPr id="54" name="Google Shape;150;p1">
              <a:extLst>
                <a:ext uri="{FF2B5EF4-FFF2-40B4-BE49-F238E27FC236}">
                  <a16:creationId xmlns:a16="http://schemas.microsoft.com/office/drawing/2014/main" xmlns="" id="{7AD94C13-29D9-49BB-BE04-152C66DF8DA8}"/>
                </a:ext>
              </a:extLst>
            </p:cNvPr>
            <p:cNvSpPr/>
            <p:nvPr/>
          </p:nvSpPr>
          <p:spPr>
            <a:xfrm>
              <a:off x="6420582" y="3697088"/>
              <a:ext cx="75228" cy="83404"/>
            </a:xfrm>
            <a:prstGeom prst="ellipse">
              <a:avLst/>
            </a:prstGeom>
            <a:solidFill>
              <a:schemeClr val="accent2"/>
            </a:solidFill>
            <a:ln w="12700" cap="flat" cmpd="sng">
              <a:solidFill>
                <a:schemeClr val="lt1"/>
              </a:solidFill>
              <a:prstDash val="solid"/>
              <a:round/>
              <a:headEnd type="none" w="sm" len="sm"/>
              <a:tailEnd type="none" w="sm" len="sm"/>
            </a:ln>
            <a:effectLst>
              <a:outerShdw dist="35921" dir="2700000" sx="66000" sy="66000" algn="ctr" rotWithShape="0">
                <a:srgbClr val="1C1C1C">
                  <a:alpha val="49803"/>
                </a:srgbClr>
              </a:outerShdw>
            </a:effectLst>
          </p:spPr>
          <p:txBody>
            <a:bodyPr spcFirstLastPara="1" wrap="square" lIns="68569" tIns="34275" rIns="68569" bIns="34275"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cxnSp>
          <p:nvCxnSpPr>
            <p:cNvPr id="70" name="Google Shape;161;p1">
              <a:extLst>
                <a:ext uri="{FF2B5EF4-FFF2-40B4-BE49-F238E27FC236}">
                  <a16:creationId xmlns:a16="http://schemas.microsoft.com/office/drawing/2014/main" xmlns="" id="{87D0B817-D95F-47A7-BB2F-53CA98CCC084}"/>
                </a:ext>
              </a:extLst>
            </p:cNvPr>
            <p:cNvCxnSpPr>
              <a:cxnSpLocks/>
              <a:stCxn id="71" idx="4"/>
              <a:endCxn id="67" idx="1"/>
            </p:cNvCxnSpPr>
            <p:nvPr/>
          </p:nvCxnSpPr>
          <p:spPr>
            <a:xfrm rot="16200000" flipH="1">
              <a:off x="6248961" y="5508753"/>
              <a:ext cx="744806" cy="266422"/>
            </a:xfrm>
            <a:prstGeom prst="bentConnector2">
              <a:avLst/>
            </a:prstGeom>
            <a:noFill/>
            <a:ln w="9525" cap="flat" cmpd="sng">
              <a:solidFill>
                <a:schemeClr val="accent2"/>
              </a:solidFill>
              <a:prstDash val="dash"/>
              <a:miter lim="800000"/>
              <a:headEnd type="none" w="med" len="med"/>
              <a:tailEnd type="none" w="med" len="med"/>
            </a:ln>
          </p:spPr>
        </p:cxnSp>
        <p:cxnSp>
          <p:nvCxnSpPr>
            <p:cNvPr id="76" name="Google Shape;167;p1">
              <a:extLst>
                <a:ext uri="{FF2B5EF4-FFF2-40B4-BE49-F238E27FC236}">
                  <a16:creationId xmlns:a16="http://schemas.microsoft.com/office/drawing/2014/main" xmlns="" id="{E627B393-5FC1-4061-9B0B-C2230A0BEC19}"/>
                </a:ext>
              </a:extLst>
            </p:cNvPr>
            <p:cNvCxnSpPr>
              <a:cxnSpLocks/>
              <a:stCxn id="77" idx="0"/>
              <a:endCxn id="73" idx="3"/>
            </p:cNvCxnSpPr>
            <p:nvPr/>
          </p:nvCxnSpPr>
          <p:spPr>
            <a:xfrm rot="16200000" flipH="1" flipV="1">
              <a:off x="4262258" y="5458058"/>
              <a:ext cx="383073" cy="690227"/>
            </a:xfrm>
            <a:prstGeom prst="bentConnector4">
              <a:avLst>
                <a:gd name="adj1" fmla="val -59675"/>
                <a:gd name="adj2" fmla="val 52388"/>
              </a:avLst>
            </a:prstGeom>
            <a:noFill/>
            <a:ln w="9525" cap="flat" cmpd="sng">
              <a:solidFill>
                <a:schemeClr val="accent2"/>
              </a:solidFill>
              <a:prstDash val="dash"/>
              <a:miter lim="800000"/>
              <a:headEnd type="none" w="med" len="med"/>
              <a:tailEnd type="none" w="med" len="med"/>
            </a:ln>
          </p:spPr>
        </p:cxnSp>
        <p:cxnSp>
          <p:nvCxnSpPr>
            <p:cNvPr id="95" name="Google Shape;186;p1">
              <a:extLst>
                <a:ext uri="{FF2B5EF4-FFF2-40B4-BE49-F238E27FC236}">
                  <a16:creationId xmlns:a16="http://schemas.microsoft.com/office/drawing/2014/main" xmlns="" id="{1F1CAEAB-7594-4B89-BAA6-67043299ADCE}"/>
                </a:ext>
              </a:extLst>
            </p:cNvPr>
            <p:cNvCxnSpPr>
              <a:cxnSpLocks/>
              <a:stCxn id="85" idx="3"/>
              <a:endCxn id="94" idx="3"/>
            </p:cNvCxnSpPr>
            <p:nvPr/>
          </p:nvCxnSpPr>
          <p:spPr>
            <a:xfrm>
              <a:off x="3351902" y="2928276"/>
              <a:ext cx="2531667" cy="922515"/>
            </a:xfrm>
            <a:prstGeom prst="bentConnector4">
              <a:avLst>
                <a:gd name="adj1" fmla="val 49801"/>
                <a:gd name="adj2" fmla="val 124780"/>
              </a:avLst>
            </a:prstGeom>
            <a:noFill/>
            <a:ln w="9525" cap="flat" cmpd="sng">
              <a:solidFill>
                <a:schemeClr val="accent2"/>
              </a:solidFill>
              <a:prstDash val="dash"/>
              <a:miter lim="800000"/>
              <a:headEnd type="none" w="med" len="med"/>
              <a:tailEnd type="none" w="med" len="med"/>
            </a:ln>
          </p:spPr>
        </p:cxnSp>
        <p:cxnSp>
          <p:nvCxnSpPr>
            <p:cNvPr id="107" name="Google Shape;197;p1">
              <a:extLst>
                <a:ext uri="{FF2B5EF4-FFF2-40B4-BE49-F238E27FC236}">
                  <a16:creationId xmlns:a16="http://schemas.microsoft.com/office/drawing/2014/main" xmlns="" id="{26AAD829-5A80-41AD-BB70-0A84B166D737}"/>
                </a:ext>
              </a:extLst>
            </p:cNvPr>
            <p:cNvCxnSpPr>
              <a:cxnSpLocks/>
              <a:stCxn id="104" idx="3"/>
              <a:endCxn id="108" idx="3"/>
            </p:cNvCxnSpPr>
            <p:nvPr/>
          </p:nvCxnSpPr>
          <p:spPr>
            <a:xfrm>
              <a:off x="5154826" y="1959287"/>
              <a:ext cx="1133538" cy="2369828"/>
            </a:xfrm>
            <a:prstGeom prst="bentConnector4">
              <a:avLst>
                <a:gd name="adj1" fmla="val 49555"/>
                <a:gd name="adj2" fmla="val 109646"/>
              </a:avLst>
            </a:prstGeom>
            <a:noFill/>
            <a:ln w="9525" cap="flat" cmpd="sng">
              <a:solidFill>
                <a:schemeClr val="accent2"/>
              </a:solidFill>
              <a:prstDash val="dash"/>
              <a:miter lim="800000"/>
              <a:headEnd type="none" w="med" len="med"/>
              <a:tailEnd type="none" w="med" len="med"/>
            </a:ln>
          </p:spPr>
        </p:cxnSp>
      </p:grpSp>
      <p:sp>
        <p:nvSpPr>
          <p:cNvPr id="2" name="Title 1">
            <a:extLst>
              <a:ext uri="{FF2B5EF4-FFF2-40B4-BE49-F238E27FC236}">
                <a16:creationId xmlns:a16="http://schemas.microsoft.com/office/drawing/2014/main" xmlns="" id="{318F81D0-C7C0-4F02-AACC-4D3B549DF028}"/>
              </a:ext>
            </a:extLst>
          </p:cNvPr>
          <p:cNvSpPr>
            <a:spLocks noGrp="1"/>
          </p:cNvSpPr>
          <p:nvPr>
            <p:ph type="title"/>
          </p:nvPr>
        </p:nvSpPr>
        <p:spPr/>
        <p:txBody>
          <a:bodyPr/>
          <a:lstStyle/>
          <a:p>
            <a:r>
              <a:rPr lang="en-US" sz="2400" u="none" dirty="0"/>
              <a:t>Primary Distribution Plan Status</a:t>
            </a:r>
            <a:endParaRPr lang="en-ZA" sz="2400" u="none" dirty="0"/>
          </a:p>
        </p:txBody>
      </p:sp>
      <p:grpSp>
        <p:nvGrpSpPr>
          <p:cNvPr id="45" name="Google Shape;145;p1">
            <a:extLst>
              <a:ext uri="{FF2B5EF4-FFF2-40B4-BE49-F238E27FC236}">
                <a16:creationId xmlns:a16="http://schemas.microsoft.com/office/drawing/2014/main" xmlns="" id="{C2E8DD38-8055-4F3C-ABCD-08A139CDE4D7}"/>
              </a:ext>
            </a:extLst>
          </p:cNvPr>
          <p:cNvGrpSpPr/>
          <p:nvPr/>
        </p:nvGrpSpPr>
        <p:grpSpPr>
          <a:xfrm>
            <a:off x="4980782" y="1674076"/>
            <a:ext cx="1405803" cy="1063039"/>
            <a:chOff x="350889" y="4774171"/>
            <a:chExt cx="2175289" cy="1849326"/>
          </a:xfrm>
        </p:grpSpPr>
        <p:sp>
          <p:nvSpPr>
            <p:cNvPr id="46" name="Google Shape;146;p1">
              <a:extLst>
                <a:ext uri="{FF2B5EF4-FFF2-40B4-BE49-F238E27FC236}">
                  <a16:creationId xmlns:a16="http://schemas.microsoft.com/office/drawing/2014/main" xmlns="" id="{9166FD9B-BDCF-4F30-9579-84EB5FA2D983}"/>
                </a:ext>
              </a:extLst>
            </p:cNvPr>
            <p:cNvSpPr/>
            <p:nvPr/>
          </p:nvSpPr>
          <p:spPr>
            <a:xfrm>
              <a:off x="416520" y="4964088"/>
              <a:ext cx="2109658" cy="1595217"/>
            </a:xfrm>
            <a:prstGeom prst="roundRect">
              <a:avLst>
                <a:gd name="adj" fmla="val 11361"/>
              </a:avLst>
            </a:prstGeom>
            <a:noFill/>
            <a:ln w="9525" cap="flat" cmpd="sng">
              <a:solidFill>
                <a:srgbClr val="A5A5A5"/>
              </a:solidFill>
              <a:prstDash val="dash"/>
              <a:miter lim="800000"/>
              <a:headEnd type="none" w="sm" len="sm"/>
              <a:tailEnd type="none" w="sm" len="sm"/>
            </a:ln>
          </p:spPr>
          <p:txBody>
            <a:bodyPr spcFirstLastPara="1" wrap="square" lIns="68550" tIns="34275" rIns="68550" bIns="34275"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a:ea typeface="Calibri"/>
                  <a:cs typeface="Calibri"/>
                  <a:sym typeface="Calibri"/>
                </a:rPr>
                <a:t>          </a:t>
              </a: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47" name="Google Shape;147;p1">
              <a:extLst>
                <a:ext uri="{FF2B5EF4-FFF2-40B4-BE49-F238E27FC236}">
                  <a16:creationId xmlns:a16="http://schemas.microsoft.com/office/drawing/2014/main" xmlns="" id="{7B90A432-5102-413A-B8AF-11C2CB4ABF4D}"/>
                </a:ext>
              </a:extLst>
            </p:cNvPr>
            <p:cNvSpPr/>
            <p:nvPr/>
          </p:nvSpPr>
          <p:spPr>
            <a:xfrm>
              <a:off x="680339" y="4774171"/>
              <a:ext cx="1582020" cy="422783"/>
            </a:xfrm>
            <a:prstGeom prst="roundRect">
              <a:avLst>
                <a:gd name="adj" fmla="val 50000"/>
              </a:avLst>
            </a:prstGeom>
            <a:solidFill>
              <a:srgbClr val="FF0000"/>
            </a:solidFill>
            <a:ln w="19050" cap="flat" cmpd="sng">
              <a:solidFill>
                <a:srgbClr val="FFFFFF"/>
              </a:solidFill>
              <a:prstDash val="solid"/>
              <a:round/>
              <a:headEnd type="none" w="sm" len="sm"/>
              <a:tailEnd type="none" w="sm" len="sm"/>
            </a:ln>
            <a:effectLst>
              <a:outerShdw dist="28398" dir="6993903" algn="ctr" rotWithShape="0">
                <a:srgbClr val="B2B2B2">
                  <a:alpha val="49803"/>
                </a:srgbClr>
              </a:outerShdw>
            </a:effectLst>
          </p:spPr>
          <p:txBody>
            <a:bodyPr spcFirstLastPara="1" wrap="square" lIns="0" tIns="34275" rIns="0" bIns="34275" anchor="ctr" anchorCtr="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a:ea typeface="Calibri"/>
                  <a:cs typeface="Calibri"/>
                  <a:sym typeface="Calibri"/>
                </a:rPr>
                <a:t>Gauteng</a:t>
              </a: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48" name="Google Shape;148;p1">
              <a:extLst>
                <a:ext uri="{FF2B5EF4-FFF2-40B4-BE49-F238E27FC236}">
                  <a16:creationId xmlns:a16="http://schemas.microsoft.com/office/drawing/2014/main" xmlns="" id="{D14C2058-B697-4AD6-9B10-89CD6199BBE1}"/>
                </a:ext>
              </a:extLst>
            </p:cNvPr>
            <p:cNvSpPr txBox="1"/>
            <p:nvPr/>
          </p:nvSpPr>
          <p:spPr>
            <a:xfrm>
              <a:off x="350889" y="5129933"/>
              <a:ext cx="2109658" cy="1493564"/>
            </a:xfrm>
            <a:prstGeom prst="rect">
              <a:avLst/>
            </a:prstGeom>
            <a:noFill/>
            <a:ln>
              <a:noFill/>
            </a:ln>
          </p:spPr>
          <p:txBody>
            <a:bodyPr spcFirstLastPara="1" wrap="square" lIns="68569" tIns="34275" rIns="68569" bIns="34275" anchor="t" anchorCtr="0">
              <a:spAutoFit/>
            </a:bodyPr>
            <a:lstStyle/>
            <a:p>
              <a:pPr marL="88106" marR="0" lvl="0" indent="-88106"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Depot for buffer</a:t>
              </a:r>
              <a:endParaRPr kumimoji="0" sz="1350" b="0" i="0" u="none" strike="noStrike" kern="1200" cap="none" spc="0" normalizeH="0" baseline="0" noProof="0" dirty="0">
                <a:ln>
                  <a:noFill/>
                </a:ln>
                <a:solidFill>
                  <a:prstClr val="black"/>
                </a:solidFill>
                <a:effectLst/>
                <a:uLnTx/>
                <a:uFillTx/>
                <a:latin typeface="Calibri"/>
                <a:ea typeface="+mn-ea"/>
                <a:cs typeface="+mn-cs"/>
              </a:endParaRPr>
            </a:p>
            <a:p>
              <a:pPr marL="88106" marR="0" lvl="0" indent="-88106"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Direct delivery to</a:t>
              </a:r>
              <a:endParaRPr kumimoji="0" sz="1350" b="0" i="0" u="none" strike="noStrike" kern="1200" cap="none" spc="0" normalizeH="0" baseline="0" noProof="0" dirty="0">
                <a:ln>
                  <a:noFill/>
                </a:ln>
                <a:solidFill>
                  <a:prstClr val="black"/>
                </a:solidFill>
                <a:effectLst/>
                <a:uLnTx/>
                <a:uFillTx/>
                <a:latin typeface="Calibri"/>
                <a:ea typeface="+mn-ea"/>
                <a:cs typeface="+mn-cs"/>
              </a:endParaRPr>
            </a:p>
            <a:p>
              <a:pPr marL="335756" marR="0" lvl="1" indent="-133350"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5 District Pharmacies</a:t>
              </a:r>
              <a:endParaRPr kumimoji="0" sz="1350" b="0" i="0" u="none" strike="noStrike" kern="1200" cap="none" spc="0" normalizeH="0" baseline="0" noProof="0" dirty="0">
                <a:ln>
                  <a:noFill/>
                </a:ln>
                <a:solidFill>
                  <a:prstClr val="black"/>
                </a:solidFill>
                <a:effectLst/>
                <a:uLnTx/>
                <a:uFillTx/>
                <a:latin typeface="Calibri"/>
                <a:ea typeface="+mn-ea"/>
                <a:cs typeface="+mn-cs"/>
              </a:endParaRPr>
            </a:p>
            <a:p>
              <a:pPr marL="335756" marR="0" lvl="1" indent="-133350"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29 Hospitals</a:t>
              </a:r>
              <a:endParaRPr kumimoji="0" sz="135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56" name="Google Shape;151;p1">
            <a:extLst>
              <a:ext uri="{FF2B5EF4-FFF2-40B4-BE49-F238E27FC236}">
                <a16:creationId xmlns:a16="http://schemas.microsoft.com/office/drawing/2014/main" xmlns="" id="{291913BC-F94A-45B5-B60A-F3210947A17F}"/>
              </a:ext>
            </a:extLst>
          </p:cNvPr>
          <p:cNvGrpSpPr/>
          <p:nvPr/>
        </p:nvGrpSpPr>
        <p:grpSpPr>
          <a:xfrm>
            <a:off x="6782287" y="4321260"/>
            <a:ext cx="1519894" cy="1086583"/>
            <a:chOff x="416520" y="4774171"/>
            <a:chExt cx="2109658" cy="1890286"/>
          </a:xfrm>
        </p:grpSpPr>
        <p:sp>
          <p:nvSpPr>
            <p:cNvPr id="57" name="Google Shape;152;p1">
              <a:extLst>
                <a:ext uri="{FF2B5EF4-FFF2-40B4-BE49-F238E27FC236}">
                  <a16:creationId xmlns:a16="http://schemas.microsoft.com/office/drawing/2014/main" xmlns="" id="{E840A4F0-8D4B-4A59-95FF-6EB3FC0A23C0}"/>
                </a:ext>
              </a:extLst>
            </p:cNvPr>
            <p:cNvSpPr/>
            <p:nvPr/>
          </p:nvSpPr>
          <p:spPr>
            <a:xfrm>
              <a:off x="416520" y="4964086"/>
              <a:ext cx="2109658" cy="1700371"/>
            </a:xfrm>
            <a:prstGeom prst="roundRect">
              <a:avLst>
                <a:gd name="adj" fmla="val 11361"/>
              </a:avLst>
            </a:prstGeom>
            <a:noFill/>
            <a:ln w="9525" cap="flat" cmpd="sng">
              <a:solidFill>
                <a:srgbClr val="A5A5A5"/>
              </a:solidFill>
              <a:prstDash val="dash"/>
              <a:miter lim="800000"/>
              <a:headEnd type="none" w="sm" len="sm"/>
              <a:tailEnd type="none" w="sm" len="sm"/>
            </a:ln>
          </p:spPr>
          <p:txBody>
            <a:bodyPr spcFirstLastPara="1" wrap="square" lIns="68550" tIns="34275" rIns="68550" bIns="34275"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a:ea typeface="Calibri"/>
                  <a:cs typeface="Calibri"/>
                  <a:sym typeface="Calibri"/>
                </a:rPr>
                <a:t>          </a:t>
              </a: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58" name="Google Shape;153;p1">
              <a:extLst>
                <a:ext uri="{FF2B5EF4-FFF2-40B4-BE49-F238E27FC236}">
                  <a16:creationId xmlns:a16="http://schemas.microsoft.com/office/drawing/2014/main" xmlns="" id="{84398D16-8B28-4C3B-9493-16388A01F345}"/>
                </a:ext>
              </a:extLst>
            </p:cNvPr>
            <p:cNvSpPr/>
            <p:nvPr/>
          </p:nvSpPr>
          <p:spPr>
            <a:xfrm>
              <a:off x="680339" y="4774171"/>
              <a:ext cx="1582020" cy="422783"/>
            </a:xfrm>
            <a:prstGeom prst="roundRect">
              <a:avLst>
                <a:gd name="adj" fmla="val 50000"/>
              </a:avLst>
            </a:prstGeom>
            <a:solidFill>
              <a:srgbClr val="0000FF"/>
            </a:solidFill>
            <a:ln w="19050" cap="flat" cmpd="sng">
              <a:solidFill>
                <a:srgbClr val="FFFFFF"/>
              </a:solidFill>
              <a:prstDash val="solid"/>
              <a:round/>
              <a:headEnd type="none" w="sm" len="sm"/>
              <a:tailEnd type="none" w="sm" len="sm"/>
            </a:ln>
            <a:effectLst>
              <a:outerShdw dist="28398" dir="6993903" algn="ctr" rotWithShape="0">
                <a:srgbClr val="B2B2B2">
                  <a:alpha val="49803"/>
                </a:srgbClr>
              </a:outerShdw>
            </a:effectLst>
          </p:spPr>
          <p:txBody>
            <a:bodyPr spcFirstLastPara="1" wrap="square" lIns="0" tIns="34275" rIns="0" bIns="34275" anchor="ctr" anchorCtr="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a:ea typeface="Calibri"/>
                  <a:cs typeface="Calibri"/>
                  <a:sym typeface="Calibri"/>
                </a:rPr>
                <a:t>KwaZulu-Natal</a:t>
              </a: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60" name="Google Shape;154;p1">
              <a:extLst>
                <a:ext uri="{FF2B5EF4-FFF2-40B4-BE49-F238E27FC236}">
                  <a16:creationId xmlns:a16="http://schemas.microsoft.com/office/drawing/2014/main" xmlns="" id="{67820F6C-B242-4037-A10E-F5412EC15B22}"/>
                </a:ext>
              </a:extLst>
            </p:cNvPr>
            <p:cNvSpPr txBox="1"/>
            <p:nvPr/>
          </p:nvSpPr>
          <p:spPr>
            <a:xfrm>
              <a:off x="482152" y="5162195"/>
              <a:ext cx="1978393" cy="1459431"/>
            </a:xfrm>
            <a:prstGeom prst="rect">
              <a:avLst/>
            </a:prstGeom>
            <a:noFill/>
            <a:ln>
              <a:noFill/>
            </a:ln>
          </p:spPr>
          <p:txBody>
            <a:bodyPr spcFirstLastPara="1" wrap="square" lIns="68569" tIns="34275" rIns="68569" bIns="34275" anchor="t" anchorCtr="0">
              <a:spAutoFit/>
            </a:bodyPr>
            <a:lstStyle/>
            <a:p>
              <a:pPr marL="88106" marR="0" lvl="0" indent="-88106"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Depot</a:t>
              </a:r>
              <a:endParaRPr kumimoji="0" sz="1350" b="0" i="0" u="none" strike="noStrike" kern="1200" cap="none" spc="0" normalizeH="0" baseline="0" noProof="0" dirty="0">
                <a:ln>
                  <a:noFill/>
                </a:ln>
                <a:solidFill>
                  <a:prstClr val="black"/>
                </a:solidFill>
                <a:effectLst/>
                <a:uLnTx/>
                <a:uFillTx/>
                <a:latin typeface="Calibri"/>
                <a:ea typeface="+mn-ea"/>
                <a:cs typeface="+mn-cs"/>
              </a:endParaRPr>
            </a:p>
            <a:p>
              <a:pPr marL="88106" marR="0" lvl="0" indent="-88106"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Direct delivery to</a:t>
              </a:r>
              <a:endParaRPr kumimoji="0" sz="1350" b="0" i="0" u="none" strike="noStrike" kern="1200" cap="none" spc="0" normalizeH="0" baseline="0" noProof="0" dirty="0">
                <a:ln>
                  <a:noFill/>
                </a:ln>
                <a:solidFill>
                  <a:prstClr val="black"/>
                </a:solidFill>
                <a:effectLst/>
                <a:uLnTx/>
                <a:uFillTx/>
                <a:latin typeface="Calibri"/>
                <a:ea typeface="+mn-ea"/>
                <a:cs typeface="+mn-cs"/>
              </a:endParaRPr>
            </a:p>
            <a:p>
              <a:pPr marL="335756" marR="0" lvl="1" indent="-133350"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68 Hospitals</a:t>
              </a:r>
              <a:endParaRPr kumimoji="0" sz="1350" b="0" i="0" u="none" strike="noStrike" kern="1200" cap="none" spc="0" normalizeH="0" baseline="0" noProof="0" dirty="0">
                <a:ln>
                  <a:noFill/>
                </a:ln>
                <a:solidFill>
                  <a:prstClr val="black"/>
                </a:solidFill>
                <a:effectLst/>
                <a:uLnTx/>
                <a:uFillTx/>
                <a:latin typeface="Calibri"/>
                <a:ea typeface="+mn-ea"/>
                <a:cs typeface="+mn-cs"/>
              </a:endParaRPr>
            </a:p>
            <a:p>
              <a:pPr marL="335756" marR="0" lvl="1" indent="-133350"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22 CHC</a:t>
              </a:r>
              <a:endParaRPr kumimoji="0" sz="135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685800" rtl="0" eaLnBrk="1" fontAlgn="auto" latinLnBrk="0" hangingPunct="1">
                <a:lnSpc>
                  <a:spcPct val="114000"/>
                </a:lnSpc>
                <a:spcBef>
                  <a:spcPts val="0"/>
                </a:spcBef>
                <a:spcAft>
                  <a:spcPts val="0"/>
                </a:spcAft>
                <a:buClr>
                  <a:srgbClr val="7F7F7F"/>
                </a:buClr>
                <a:buSzPts val="600"/>
                <a:buFontTx/>
                <a:buNone/>
                <a:tabLst/>
                <a:defRPr/>
              </a:pPr>
              <a:r>
                <a:rPr kumimoji="0" lang="en-US" sz="788" b="0" i="1" u="none" strike="noStrike" kern="1200" cap="none" spc="0" normalizeH="0" baseline="0" noProof="0" dirty="0">
                  <a:ln>
                    <a:noFill/>
                  </a:ln>
                  <a:solidFill>
                    <a:prstClr val="black">
                      <a:lumMod val="50000"/>
                      <a:lumOff val="50000"/>
                    </a:prstClr>
                  </a:solidFill>
                  <a:effectLst/>
                  <a:uLnTx/>
                  <a:uFillTx/>
                  <a:latin typeface="Calibri"/>
                  <a:ea typeface="Calibri"/>
                  <a:cs typeface="Calibri"/>
                  <a:sym typeface="Calibri"/>
                </a:rPr>
                <a:t>Phase I direct delivery sites TBC</a:t>
              </a:r>
              <a:endParaRPr kumimoji="0" lang="en-US" sz="750" b="0" i="1" u="none" strike="noStrike" kern="1200" cap="none" spc="0" normalizeH="0" baseline="0" noProof="0" dirty="0">
                <a:ln>
                  <a:noFill/>
                </a:ln>
                <a:solidFill>
                  <a:prstClr val="black">
                    <a:lumMod val="50000"/>
                    <a:lumOff val="50000"/>
                  </a:prstClr>
                </a:solidFill>
                <a:effectLst/>
                <a:uLnTx/>
                <a:uFillTx/>
                <a:latin typeface="Calibri"/>
                <a:ea typeface="Calibri"/>
                <a:cs typeface="Calibri"/>
                <a:sym typeface="Calibri"/>
              </a:endParaRPr>
            </a:p>
          </p:txBody>
        </p:sp>
      </p:grpSp>
      <p:cxnSp>
        <p:nvCxnSpPr>
          <p:cNvPr id="61" name="Google Shape;155;p1">
            <a:extLst>
              <a:ext uri="{FF2B5EF4-FFF2-40B4-BE49-F238E27FC236}">
                <a16:creationId xmlns:a16="http://schemas.microsoft.com/office/drawing/2014/main" xmlns="" id="{6D6D9CEA-6CA6-4CA3-8F69-10C9A5973A76}"/>
              </a:ext>
            </a:extLst>
          </p:cNvPr>
          <p:cNvCxnSpPr>
            <a:cxnSpLocks/>
            <a:stCxn id="65" idx="4"/>
            <a:endCxn id="57" idx="1"/>
          </p:cNvCxnSpPr>
          <p:nvPr/>
        </p:nvCxnSpPr>
        <p:spPr>
          <a:xfrm rot="16200000" flipH="1">
            <a:off x="5646371" y="3783218"/>
            <a:ext cx="720227" cy="1551605"/>
          </a:xfrm>
          <a:prstGeom prst="bentConnector2">
            <a:avLst/>
          </a:prstGeom>
          <a:noFill/>
          <a:ln w="9525" cap="flat" cmpd="sng">
            <a:solidFill>
              <a:schemeClr val="accent2"/>
            </a:solidFill>
            <a:prstDash val="dash"/>
            <a:miter lim="800000"/>
            <a:headEnd type="none" w="med" len="med"/>
            <a:tailEnd type="none" w="med" len="med"/>
          </a:ln>
        </p:spPr>
      </p:cxnSp>
      <p:sp>
        <p:nvSpPr>
          <p:cNvPr id="65" name="Google Shape;156;p1">
            <a:extLst>
              <a:ext uri="{FF2B5EF4-FFF2-40B4-BE49-F238E27FC236}">
                <a16:creationId xmlns:a16="http://schemas.microsoft.com/office/drawing/2014/main" xmlns="" id="{334BA26C-097B-4F63-813A-46E3A231DED5}"/>
              </a:ext>
            </a:extLst>
          </p:cNvPr>
          <p:cNvSpPr/>
          <p:nvPr/>
        </p:nvSpPr>
        <p:spPr>
          <a:xfrm>
            <a:off x="5202471" y="4136354"/>
            <a:ext cx="56421" cy="62553"/>
          </a:xfrm>
          <a:prstGeom prst="ellipse">
            <a:avLst/>
          </a:prstGeom>
          <a:solidFill>
            <a:schemeClr val="accent2"/>
          </a:solidFill>
          <a:ln w="12700" cap="flat" cmpd="sng">
            <a:solidFill>
              <a:schemeClr val="lt1"/>
            </a:solidFill>
            <a:prstDash val="solid"/>
            <a:round/>
            <a:headEnd type="none" w="sm" len="sm"/>
            <a:tailEnd type="none" w="sm" len="sm"/>
          </a:ln>
          <a:effectLst>
            <a:outerShdw dist="35921" dir="2700000" sx="66000" sy="66000" algn="ctr" rotWithShape="0">
              <a:srgbClr val="1C1C1C">
                <a:alpha val="49803"/>
              </a:srgbClr>
            </a:outerShdw>
          </a:effectLst>
        </p:spPr>
        <p:txBody>
          <a:bodyPr spcFirstLastPara="1" wrap="square" lIns="68569" tIns="34275" rIns="68569" bIns="34275"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66" name="Google Shape;157;p1">
            <a:extLst>
              <a:ext uri="{FF2B5EF4-FFF2-40B4-BE49-F238E27FC236}">
                <a16:creationId xmlns:a16="http://schemas.microsoft.com/office/drawing/2014/main" xmlns="" id="{8326421F-DDD0-46E1-BFAA-F6937C0E3824}"/>
              </a:ext>
            </a:extLst>
          </p:cNvPr>
          <p:cNvGrpSpPr/>
          <p:nvPr/>
        </p:nvGrpSpPr>
        <p:grpSpPr>
          <a:xfrm>
            <a:off x="5023197" y="4899486"/>
            <a:ext cx="1519894" cy="839305"/>
            <a:chOff x="416520" y="4774171"/>
            <a:chExt cx="2109658" cy="1630250"/>
          </a:xfrm>
        </p:grpSpPr>
        <p:sp>
          <p:nvSpPr>
            <p:cNvPr id="67" name="Google Shape;158;p1">
              <a:extLst>
                <a:ext uri="{FF2B5EF4-FFF2-40B4-BE49-F238E27FC236}">
                  <a16:creationId xmlns:a16="http://schemas.microsoft.com/office/drawing/2014/main" xmlns="" id="{4AC04C54-51D5-47A1-822B-F1E1C1713405}"/>
                </a:ext>
              </a:extLst>
            </p:cNvPr>
            <p:cNvSpPr/>
            <p:nvPr/>
          </p:nvSpPr>
          <p:spPr>
            <a:xfrm>
              <a:off x="416520" y="4964086"/>
              <a:ext cx="2109658" cy="1440335"/>
            </a:xfrm>
            <a:prstGeom prst="roundRect">
              <a:avLst>
                <a:gd name="adj" fmla="val 11361"/>
              </a:avLst>
            </a:prstGeom>
            <a:noFill/>
            <a:ln w="9525" cap="flat" cmpd="sng">
              <a:solidFill>
                <a:srgbClr val="A5A5A5"/>
              </a:solidFill>
              <a:prstDash val="dash"/>
              <a:miter lim="800000"/>
              <a:headEnd type="none" w="sm" len="sm"/>
              <a:tailEnd type="none" w="sm" len="sm"/>
            </a:ln>
          </p:spPr>
          <p:txBody>
            <a:bodyPr spcFirstLastPara="1" wrap="square" lIns="68550" tIns="34275" rIns="68550" bIns="34275"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a:ea typeface="Calibri"/>
                  <a:cs typeface="Calibri"/>
                  <a:sym typeface="Calibri"/>
                </a:rPr>
                <a:t>          </a:t>
              </a: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8" name="Google Shape;159;p1">
              <a:extLst>
                <a:ext uri="{FF2B5EF4-FFF2-40B4-BE49-F238E27FC236}">
                  <a16:creationId xmlns:a16="http://schemas.microsoft.com/office/drawing/2014/main" xmlns="" id="{40EFC6F0-D372-423E-9C9A-82610FBC3BBE}"/>
                </a:ext>
              </a:extLst>
            </p:cNvPr>
            <p:cNvSpPr/>
            <p:nvPr/>
          </p:nvSpPr>
          <p:spPr>
            <a:xfrm>
              <a:off x="680339" y="4774171"/>
              <a:ext cx="1582020" cy="422783"/>
            </a:xfrm>
            <a:prstGeom prst="roundRect">
              <a:avLst>
                <a:gd name="adj" fmla="val 50000"/>
              </a:avLst>
            </a:prstGeom>
            <a:solidFill>
              <a:srgbClr val="FFFF00"/>
            </a:solidFill>
            <a:ln w="19050" cap="flat" cmpd="sng">
              <a:solidFill>
                <a:srgbClr val="FFFFFF"/>
              </a:solidFill>
              <a:prstDash val="solid"/>
              <a:round/>
              <a:headEnd type="none" w="sm" len="sm"/>
              <a:tailEnd type="none" w="sm" len="sm"/>
            </a:ln>
            <a:effectLst>
              <a:outerShdw dist="28398" dir="6993903" algn="ctr" rotWithShape="0">
                <a:srgbClr val="B2B2B2">
                  <a:alpha val="49803"/>
                </a:srgbClr>
              </a:outerShdw>
            </a:effectLst>
          </p:spPr>
          <p:txBody>
            <a:bodyPr spcFirstLastPara="1" wrap="square" lIns="0" tIns="34275" rIns="0" bIns="34275" anchor="ctr" anchorCtr="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Calibri"/>
                  <a:cs typeface="Calibri"/>
                  <a:sym typeface="Calibri"/>
                </a:rPr>
                <a:t>Eastern Cape</a:t>
              </a: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69" name="Google Shape;160;p1">
              <a:extLst>
                <a:ext uri="{FF2B5EF4-FFF2-40B4-BE49-F238E27FC236}">
                  <a16:creationId xmlns:a16="http://schemas.microsoft.com/office/drawing/2014/main" xmlns="" id="{E76925FB-5A2F-4685-8970-597C58C27C10}"/>
                </a:ext>
              </a:extLst>
            </p:cNvPr>
            <p:cNvSpPr txBox="1"/>
            <p:nvPr/>
          </p:nvSpPr>
          <p:spPr>
            <a:xfrm>
              <a:off x="481277" y="5301819"/>
              <a:ext cx="1978393" cy="1054346"/>
            </a:xfrm>
            <a:prstGeom prst="rect">
              <a:avLst/>
            </a:prstGeom>
            <a:noFill/>
            <a:ln>
              <a:noFill/>
            </a:ln>
          </p:spPr>
          <p:txBody>
            <a:bodyPr spcFirstLastPara="1" wrap="square" lIns="68569" tIns="34275" rIns="68569" bIns="34275" anchor="t" anchorCtr="0">
              <a:spAutoFit/>
            </a:bodyPr>
            <a:lstStyle/>
            <a:p>
              <a:pPr marL="88106" marR="0" lvl="0" indent="-88106"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Depots – PE and Mthatha</a:t>
              </a:r>
              <a:endParaRPr kumimoji="0" sz="1350" b="0" i="0" u="none" strike="noStrike" kern="1200" cap="none" spc="0" normalizeH="0" baseline="0" noProof="0" dirty="0">
                <a:ln>
                  <a:noFill/>
                </a:ln>
                <a:solidFill>
                  <a:prstClr val="black"/>
                </a:solidFill>
                <a:effectLst/>
                <a:uLnTx/>
                <a:uFillTx/>
                <a:latin typeface="Calibri"/>
                <a:ea typeface="+mn-ea"/>
                <a:cs typeface="+mn-cs"/>
              </a:endParaRPr>
            </a:p>
            <a:p>
              <a:pPr marL="88106" marR="0" lvl="0" indent="-88106"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Direct delivery to </a:t>
              </a:r>
              <a:r>
                <a:rPr kumimoji="0" lang="en-US" sz="900" b="0" i="0" u="none" strike="noStrike" kern="1200" cap="none" spc="0" normalizeH="0" baseline="0" noProof="0" dirty="0">
                  <a:ln>
                    <a:noFill/>
                  </a:ln>
                  <a:solidFill>
                    <a:prstClr val="black"/>
                  </a:solidFill>
                  <a:effectLst/>
                  <a:uLnTx/>
                  <a:uFillTx/>
                  <a:latin typeface="Calibri"/>
                  <a:ea typeface="+mn-ea"/>
                  <a:cs typeface="Calibri"/>
                  <a:sym typeface="Calibri"/>
                </a:rPr>
                <a:t>8 hospitals</a:t>
              </a:r>
              <a:endParaRPr kumimoji="0" sz="900" b="0" i="0" u="none" strike="noStrike" kern="1200" cap="none" spc="0" normalizeH="0" baseline="0" noProof="0" dirty="0">
                <a:ln>
                  <a:noFill/>
                </a:ln>
                <a:solidFill>
                  <a:prstClr val="black"/>
                </a:solidFill>
                <a:effectLst/>
                <a:uLnTx/>
                <a:uFillTx/>
                <a:latin typeface="Calibri"/>
                <a:ea typeface="+mn-ea"/>
                <a:cs typeface="Calibri"/>
              </a:endParaRPr>
            </a:p>
          </p:txBody>
        </p:sp>
      </p:grpSp>
      <p:sp>
        <p:nvSpPr>
          <p:cNvPr id="71" name="Google Shape;162;p1">
            <a:extLst>
              <a:ext uri="{FF2B5EF4-FFF2-40B4-BE49-F238E27FC236}">
                <a16:creationId xmlns:a16="http://schemas.microsoft.com/office/drawing/2014/main" xmlns="" id="{2DE39EFC-0BE8-46C8-B9C4-49980C031D42}"/>
              </a:ext>
            </a:extLst>
          </p:cNvPr>
          <p:cNvSpPr/>
          <p:nvPr/>
        </p:nvSpPr>
        <p:spPr>
          <a:xfrm>
            <a:off x="4776750" y="4746868"/>
            <a:ext cx="56421" cy="62553"/>
          </a:xfrm>
          <a:prstGeom prst="ellipse">
            <a:avLst/>
          </a:prstGeom>
          <a:solidFill>
            <a:schemeClr val="accent2"/>
          </a:solidFill>
          <a:ln w="12700" cap="flat" cmpd="sng">
            <a:solidFill>
              <a:schemeClr val="lt1"/>
            </a:solidFill>
            <a:prstDash val="solid"/>
            <a:round/>
            <a:headEnd type="none" w="sm" len="sm"/>
            <a:tailEnd type="none" w="sm" len="sm"/>
          </a:ln>
          <a:effectLst>
            <a:outerShdw dist="35921" dir="2700000" sx="66000" sy="66000" algn="ctr" rotWithShape="0">
              <a:srgbClr val="1C1C1C">
                <a:alpha val="49803"/>
              </a:srgbClr>
            </a:outerShdw>
          </a:effectLst>
        </p:spPr>
        <p:txBody>
          <a:bodyPr spcFirstLastPara="1" wrap="square" lIns="68569" tIns="34275" rIns="68569" bIns="34275"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72" name="Google Shape;163;p1">
            <a:extLst>
              <a:ext uri="{FF2B5EF4-FFF2-40B4-BE49-F238E27FC236}">
                <a16:creationId xmlns:a16="http://schemas.microsoft.com/office/drawing/2014/main" xmlns="" id="{8E208E9A-B1ED-4AD6-A929-565F32B2D679}"/>
              </a:ext>
            </a:extLst>
          </p:cNvPr>
          <p:cNvGrpSpPr/>
          <p:nvPr/>
        </p:nvGrpSpPr>
        <p:grpSpPr>
          <a:xfrm>
            <a:off x="1762032" y="4940056"/>
            <a:ext cx="1093812" cy="717283"/>
            <a:chOff x="416520" y="4774171"/>
            <a:chExt cx="2109658" cy="1247828"/>
          </a:xfrm>
        </p:grpSpPr>
        <p:sp>
          <p:nvSpPr>
            <p:cNvPr id="73" name="Google Shape;164;p1">
              <a:extLst>
                <a:ext uri="{FF2B5EF4-FFF2-40B4-BE49-F238E27FC236}">
                  <a16:creationId xmlns:a16="http://schemas.microsoft.com/office/drawing/2014/main" xmlns="" id="{978BE654-68EA-48E7-8CA3-408D43A6975B}"/>
                </a:ext>
              </a:extLst>
            </p:cNvPr>
            <p:cNvSpPr/>
            <p:nvPr/>
          </p:nvSpPr>
          <p:spPr>
            <a:xfrm>
              <a:off x="416520" y="4964088"/>
              <a:ext cx="2109658" cy="1057911"/>
            </a:xfrm>
            <a:prstGeom prst="roundRect">
              <a:avLst>
                <a:gd name="adj" fmla="val 11361"/>
              </a:avLst>
            </a:prstGeom>
            <a:noFill/>
            <a:ln w="9525" cap="flat" cmpd="sng">
              <a:solidFill>
                <a:srgbClr val="A5A5A5"/>
              </a:solidFill>
              <a:prstDash val="dash"/>
              <a:miter lim="800000"/>
              <a:headEnd type="none" w="sm" len="sm"/>
              <a:tailEnd type="none" w="sm" len="sm"/>
            </a:ln>
          </p:spPr>
          <p:txBody>
            <a:bodyPr spcFirstLastPara="1" wrap="square" lIns="68550" tIns="34275" rIns="68550" bIns="34275"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a:ea typeface="Calibri"/>
                  <a:cs typeface="Calibri"/>
                  <a:sym typeface="Calibri"/>
                </a:rPr>
                <a:t>          </a:t>
              </a: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4" name="Google Shape;165;p1">
              <a:extLst>
                <a:ext uri="{FF2B5EF4-FFF2-40B4-BE49-F238E27FC236}">
                  <a16:creationId xmlns:a16="http://schemas.microsoft.com/office/drawing/2014/main" xmlns="" id="{AF624C93-089B-40E5-9CA3-C42BD3CBB962}"/>
                </a:ext>
              </a:extLst>
            </p:cNvPr>
            <p:cNvSpPr/>
            <p:nvPr/>
          </p:nvSpPr>
          <p:spPr>
            <a:xfrm>
              <a:off x="680339" y="4774171"/>
              <a:ext cx="1582020" cy="422783"/>
            </a:xfrm>
            <a:prstGeom prst="roundRect">
              <a:avLst>
                <a:gd name="adj" fmla="val 50000"/>
              </a:avLst>
            </a:prstGeom>
            <a:solidFill>
              <a:srgbClr val="7030A0"/>
            </a:solidFill>
            <a:ln w="19050" cap="flat" cmpd="sng">
              <a:solidFill>
                <a:srgbClr val="FFFFFF"/>
              </a:solidFill>
              <a:prstDash val="solid"/>
              <a:round/>
              <a:headEnd type="none" w="sm" len="sm"/>
              <a:tailEnd type="none" w="sm" len="sm"/>
            </a:ln>
            <a:effectLst>
              <a:outerShdw dist="28398" dir="6993903" algn="ctr" rotWithShape="0">
                <a:srgbClr val="B2B2B2">
                  <a:alpha val="49803"/>
                </a:srgbClr>
              </a:outerShdw>
            </a:effectLst>
          </p:spPr>
          <p:txBody>
            <a:bodyPr spcFirstLastPara="1" wrap="square" lIns="0" tIns="34275" rIns="0" bIns="34275" anchor="ctr" anchorCtr="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a:ea typeface="Calibri"/>
                  <a:cs typeface="Calibri"/>
                  <a:sym typeface="Calibri"/>
                </a:rPr>
                <a:t>Western Cape</a:t>
              </a: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75" name="Google Shape;166;p1">
              <a:extLst>
                <a:ext uri="{FF2B5EF4-FFF2-40B4-BE49-F238E27FC236}">
                  <a16:creationId xmlns:a16="http://schemas.microsoft.com/office/drawing/2014/main" xmlns="" id="{5695249C-39D3-48AB-A9A7-610EF7A366D1}"/>
                </a:ext>
              </a:extLst>
            </p:cNvPr>
            <p:cNvSpPr txBox="1"/>
            <p:nvPr/>
          </p:nvSpPr>
          <p:spPr>
            <a:xfrm>
              <a:off x="481277" y="5301818"/>
              <a:ext cx="1978393" cy="669677"/>
            </a:xfrm>
            <a:prstGeom prst="rect">
              <a:avLst/>
            </a:prstGeom>
            <a:noFill/>
            <a:ln>
              <a:noFill/>
            </a:ln>
          </p:spPr>
          <p:txBody>
            <a:bodyPr spcFirstLastPara="1" wrap="square" lIns="68569" tIns="34275" rIns="68569" bIns="34275" anchor="t" anchorCtr="0">
              <a:spAutoFit/>
            </a:bodyPr>
            <a:lstStyle/>
            <a:p>
              <a:pPr marL="88106" marR="0" lvl="0" indent="-88106"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Cape Medical Depot (CMD)</a:t>
              </a:r>
              <a:endParaRPr kumimoji="0" sz="135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77" name="Google Shape;168;p1">
            <a:extLst>
              <a:ext uri="{FF2B5EF4-FFF2-40B4-BE49-F238E27FC236}">
                <a16:creationId xmlns:a16="http://schemas.microsoft.com/office/drawing/2014/main" xmlns="" id="{6CC285B1-4046-4D53-AF0F-ABFC2093459F}"/>
              </a:ext>
            </a:extLst>
          </p:cNvPr>
          <p:cNvSpPr/>
          <p:nvPr/>
        </p:nvSpPr>
        <p:spPr>
          <a:xfrm>
            <a:off x="3394235" y="5065977"/>
            <a:ext cx="54000" cy="54000"/>
          </a:xfrm>
          <a:prstGeom prst="ellipse">
            <a:avLst/>
          </a:prstGeom>
          <a:solidFill>
            <a:schemeClr val="accent2"/>
          </a:solidFill>
          <a:ln w="12700" cap="flat" cmpd="sng">
            <a:solidFill>
              <a:schemeClr val="lt1"/>
            </a:solidFill>
            <a:prstDash val="solid"/>
            <a:round/>
            <a:headEnd type="none" w="sm" len="sm"/>
            <a:tailEnd type="none" w="sm" len="sm"/>
          </a:ln>
          <a:effectLst>
            <a:outerShdw dist="35921" dir="2700000" sx="66000" sy="66000" algn="ctr" rotWithShape="0">
              <a:srgbClr val="1C1C1C">
                <a:alpha val="49803"/>
              </a:srgbClr>
            </a:outerShdw>
          </a:effectLst>
        </p:spPr>
        <p:txBody>
          <a:bodyPr spcFirstLastPara="1" wrap="square" lIns="68569" tIns="34275" rIns="68569" bIns="34275"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8" name="Google Shape;169;p1">
            <a:extLst>
              <a:ext uri="{FF2B5EF4-FFF2-40B4-BE49-F238E27FC236}">
                <a16:creationId xmlns:a16="http://schemas.microsoft.com/office/drawing/2014/main" xmlns="" id="{033717FE-77A4-4B28-8B62-58BB46243CE9}"/>
              </a:ext>
            </a:extLst>
          </p:cNvPr>
          <p:cNvSpPr/>
          <p:nvPr/>
        </p:nvSpPr>
        <p:spPr>
          <a:xfrm>
            <a:off x="4023032" y="4115377"/>
            <a:ext cx="56421" cy="62553"/>
          </a:xfrm>
          <a:prstGeom prst="ellipse">
            <a:avLst/>
          </a:prstGeom>
          <a:solidFill>
            <a:schemeClr val="accent2"/>
          </a:solidFill>
          <a:ln w="12700" cap="flat" cmpd="sng">
            <a:solidFill>
              <a:schemeClr val="lt1"/>
            </a:solidFill>
            <a:prstDash val="solid"/>
            <a:round/>
            <a:headEnd type="none" w="sm" len="sm"/>
            <a:tailEnd type="none" w="sm" len="sm"/>
          </a:ln>
          <a:effectLst>
            <a:outerShdw dist="35921" dir="2700000" sx="66000" sy="66000" algn="ctr" rotWithShape="0">
              <a:srgbClr val="1C1C1C">
                <a:alpha val="49803"/>
              </a:srgbClr>
            </a:outerShdw>
          </a:effectLst>
        </p:spPr>
        <p:txBody>
          <a:bodyPr spcFirstLastPara="1" wrap="square" lIns="68569" tIns="34275" rIns="68569" bIns="34275"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cxnSp>
        <p:nvCxnSpPr>
          <p:cNvPr id="79" name="Google Shape;170;p1">
            <a:extLst>
              <a:ext uri="{FF2B5EF4-FFF2-40B4-BE49-F238E27FC236}">
                <a16:creationId xmlns:a16="http://schemas.microsoft.com/office/drawing/2014/main" xmlns="" id="{5289D8BA-C392-4BAF-8BD2-D626CD96B4CD}"/>
              </a:ext>
            </a:extLst>
          </p:cNvPr>
          <p:cNvCxnSpPr>
            <a:cxnSpLocks/>
            <a:stCxn id="81" idx="3"/>
            <a:endCxn id="78" idx="7"/>
          </p:cNvCxnSpPr>
          <p:nvPr/>
        </p:nvCxnSpPr>
        <p:spPr>
          <a:xfrm flipV="1">
            <a:off x="2044185" y="4124538"/>
            <a:ext cx="2027005" cy="38482"/>
          </a:xfrm>
          <a:prstGeom prst="bentConnector4">
            <a:avLst>
              <a:gd name="adj1" fmla="val 48812"/>
              <a:gd name="adj2" fmla="val 1216354"/>
            </a:avLst>
          </a:prstGeom>
          <a:noFill/>
          <a:ln w="9525" cap="flat" cmpd="sng">
            <a:solidFill>
              <a:schemeClr val="accent2"/>
            </a:solidFill>
            <a:prstDash val="dash"/>
            <a:miter lim="800000"/>
            <a:headEnd type="none" w="med" len="med"/>
            <a:tailEnd type="none" w="med" len="med"/>
          </a:ln>
        </p:spPr>
      </p:cxnSp>
      <p:grpSp>
        <p:nvGrpSpPr>
          <p:cNvPr id="80" name="Google Shape;172;p1">
            <a:extLst>
              <a:ext uri="{FF2B5EF4-FFF2-40B4-BE49-F238E27FC236}">
                <a16:creationId xmlns:a16="http://schemas.microsoft.com/office/drawing/2014/main" xmlns="" id="{26A78939-F6A1-4E85-81F6-437F3B767DEE}"/>
              </a:ext>
            </a:extLst>
          </p:cNvPr>
          <p:cNvGrpSpPr/>
          <p:nvPr/>
        </p:nvGrpSpPr>
        <p:grpSpPr>
          <a:xfrm>
            <a:off x="950373" y="3757227"/>
            <a:ext cx="1093812" cy="702416"/>
            <a:chOff x="1267164" y="3866635"/>
            <a:chExt cx="1458416" cy="936555"/>
          </a:xfrm>
        </p:grpSpPr>
        <p:sp>
          <p:nvSpPr>
            <p:cNvPr id="81" name="Google Shape;171;p1">
              <a:extLst>
                <a:ext uri="{FF2B5EF4-FFF2-40B4-BE49-F238E27FC236}">
                  <a16:creationId xmlns:a16="http://schemas.microsoft.com/office/drawing/2014/main" xmlns="" id="{B75CFE8F-E20E-4AF3-A4F6-5E5814B14AB2}"/>
                </a:ext>
              </a:extLst>
            </p:cNvPr>
            <p:cNvSpPr/>
            <p:nvPr/>
          </p:nvSpPr>
          <p:spPr>
            <a:xfrm>
              <a:off x="1267164" y="4012193"/>
              <a:ext cx="1458416" cy="790997"/>
            </a:xfrm>
            <a:prstGeom prst="roundRect">
              <a:avLst>
                <a:gd name="adj" fmla="val 11361"/>
              </a:avLst>
            </a:prstGeom>
            <a:noFill/>
            <a:ln w="9525" cap="flat" cmpd="sng">
              <a:solidFill>
                <a:srgbClr val="A5A5A5"/>
              </a:solidFill>
              <a:prstDash val="dash"/>
              <a:miter lim="800000"/>
              <a:headEnd type="none" w="sm" len="sm"/>
              <a:tailEnd type="none" w="sm" len="sm"/>
            </a:ln>
          </p:spPr>
          <p:txBody>
            <a:bodyPr spcFirstLastPara="1" wrap="square" lIns="68550" tIns="34275" rIns="68550" bIns="34275"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a:ea typeface="Calibri"/>
                  <a:cs typeface="Calibri"/>
                  <a:sym typeface="Calibri"/>
                </a:rPr>
                <a:t>          </a:t>
              </a: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82" name="Google Shape;173;p1">
              <a:extLst>
                <a:ext uri="{FF2B5EF4-FFF2-40B4-BE49-F238E27FC236}">
                  <a16:creationId xmlns:a16="http://schemas.microsoft.com/office/drawing/2014/main" xmlns="" id="{34A9240A-9B68-44D3-AE28-E93CC05CEBAD}"/>
                </a:ext>
              </a:extLst>
            </p:cNvPr>
            <p:cNvSpPr/>
            <p:nvPr/>
          </p:nvSpPr>
          <p:spPr>
            <a:xfrm>
              <a:off x="1449543" y="3866635"/>
              <a:ext cx="1093657" cy="324035"/>
            </a:xfrm>
            <a:prstGeom prst="roundRect">
              <a:avLst>
                <a:gd name="adj" fmla="val 50000"/>
              </a:avLst>
            </a:prstGeom>
            <a:solidFill>
              <a:srgbClr val="EC9B20"/>
            </a:solidFill>
            <a:ln w="19050" cap="flat" cmpd="sng">
              <a:solidFill>
                <a:srgbClr val="FFFFFF"/>
              </a:solidFill>
              <a:prstDash val="solid"/>
              <a:round/>
              <a:headEnd type="none" w="sm" len="sm"/>
              <a:tailEnd type="none" w="sm" len="sm"/>
            </a:ln>
            <a:effectLst>
              <a:outerShdw dist="28398" dir="6993903" algn="ctr" rotWithShape="0">
                <a:srgbClr val="B2B2B2">
                  <a:alpha val="49803"/>
                </a:srgbClr>
              </a:outerShdw>
            </a:effectLst>
          </p:spPr>
          <p:txBody>
            <a:bodyPr spcFirstLastPara="1" wrap="square" lIns="0" tIns="34275" rIns="0" bIns="34275" anchor="ctr" anchorCtr="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a:ea typeface="Calibri"/>
                  <a:cs typeface="Calibri"/>
                  <a:sym typeface="Calibri"/>
                </a:rPr>
                <a:t>Northern Cape</a:t>
              </a: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83" name="Google Shape;174;p1">
              <a:extLst>
                <a:ext uri="{FF2B5EF4-FFF2-40B4-BE49-F238E27FC236}">
                  <a16:creationId xmlns:a16="http://schemas.microsoft.com/office/drawing/2014/main" xmlns="" id="{AC657239-B965-4CA1-AD33-D7AA89FFED89}"/>
                </a:ext>
              </a:extLst>
            </p:cNvPr>
            <p:cNvSpPr txBox="1"/>
            <p:nvPr/>
          </p:nvSpPr>
          <p:spPr>
            <a:xfrm>
              <a:off x="1312535" y="4209434"/>
              <a:ext cx="1367672" cy="513263"/>
            </a:xfrm>
            <a:prstGeom prst="rect">
              <a:avLst/>
            </a:prstGeom>
            <a:noFill/>
            <a:ln>
              <a:noFill/>
            </a:ln>
          </p:spPr>
          <p:txBody>
            <a:bodyPr spcFirstLastPara="1" wrap="square" lIns="68569" tIns="34275" rIns="68569" bIns="34275" anchor="t" anchorCtr="0">
              <a:spAutoFit/>
            </a:bodyPr>
            <a:lstStyle/>
            <a:p>
              <a:pPr marL="88106" marR="0" lvl="0" indent="-88106"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Direct delivery to 15 Hospitals</a:t>
              </a:r>
              <a:endParaRPr kumimoji="0" sz="135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84" name="Google Shape;175;p1">
            <a:extLst>
              <a:ext uri="{FF2B5EF4-FFF2-40B4-BE49-F238E27FC236}">
                <a16:creationId xmlns:a16="http://schemas.microsoft.com/office/drawing/2014/main" xmlns="" id="{FBBEFD50-E67E-48D4-AC12-23713E7A4372}"/>
              </a:ext>
            </a:extLst>
          </p:cNvPr>
          <p:cNvGrpSpPr/>
          <p:nvPr/>
        </p:nvGrpSpPr>
        <p:grpSpPr>
          <a:xfrm>
            <a:off x="1142125" y="2611282"/>
            <a:ext cx="1093812" cy="823098"/>
            <a:chOff x="1526849" y="2348543"/>
            <a:chExt cx="1458416" cy="1097464"/>
          </a:xfrm>
        </p:grpSpPr>
        <p:sp>
          <p:nvSpPr>
            <p:cNvPr id="85" name="Google Shape;176;p1">
              <a:extLst>
                <a:ext uri="{FF2B5EF4-FFF2-40B4-BE49-F238E27FC236}">
                  <a16:creationId xmlns:a16="http://schemas.microsoft.com/office/drawing/2014/main" xmlns="" id="{498D24BD-E420-4E75-A99C-7A039AACE293}"/>
                </a:ext>
              </a:extLst>
            </p:cNvPr>
            <p:cNvSpPr/>
            <p:nvPr/>
          </p:nvSpPr>
          <p:spPr>
            <a:xfrm>
              <a:off x="1526849" y="2494102"/>
              <a:ext cx="1458416" cy="888014"/>
            </a:xfrm>
            <a:prstGeom prst="roundRect">
              <a:avLst>
                <a:gd name="adj" fmla="val 11361"/>
              </a:avLst>
            </a:prstGeom>
            <a:noFill/>
            <a:ln w="9525" cap="flat" cmpd="sng">
              <a:solidFill>
                <a:srgbClr val="A5A5A5"/>
              </a:solidFill>
              <a:prstDash val="dash"/>
              <a:miter lim="800000"/>
              <a:headEnd type="none" w="sm" len="sm"/>
              <a:tailEnd type="none" w="sm" len="sm"/>
            </a:ln>
          </p:spPr>
          <p:txBody>
            <a:bodyPr spcFirstLastPara="1" wrap="square" lIns="68550" tIns="34275" rIns="68550" bIns="34275"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sym typeface="Calibri"/>
                </a:rPr>
                <a:t>          </a:t>
              </a:r>
              <a:endParaRPr kumimoji="0" sz="9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86" name="Google Shape;177;p1">
              <a:extLst>
                <a:ext uri="{FF2B5EF4-FFF2-40B4-BE49-F238E27FC236}">
                  <a16:creationId xmlns:a16="http://schemas.microsoft.com/office/drawing/2014/main" xmlns="" id="{E6C350A3-3C2C-4A46-93AD-FC376F7B2205}"/>
                </a:ext>
              </a:extLst>
            </p:cNvPr>
            <p:cNvSpPr/>
            <p:nvPr/>
          </p:nvSpPr>
          <p:spPr>
            <a:xfrm>
              <a:off x="1709228" y="2348543"/>
              <a:ext cx="1093657" cy="324035"/>
            </a:xfrm>
            <a:prstGeom prst="roundRect">
              <a:avLst>
                <a:gd name="adj" fmla="val 50000"/>
              </a:avLst>
            </a:prstGeom>
            <a:solidFill>
              <a:srgbClr val="35B8D7"/>
            </a:solidFill>
            <a:ln w="19050" cap="flat" cmpd="sng">
              <a:solidFill>
                <a:srgbClr val="FFFFFF"/>
              </a:solidFill>
              <a:prstDash val="solid"/>
              <a:round/>
              <a:headEnd type="none" w="sm" len="sm"/>
              <a:tailEnd type="none" w="sm" len="sm"/>
            </a:ln>
            <a:effectLst>
              <a:outerShdw dist="28398" dir="6993903" algn="ctr" rotWithShape="0">
                <a:srgbClr val="B2B2B2">
                  <a:alpha val="49803"/>
                </a:srgbClr>
              </a:outerShdw>
            </a:effectLst>
          </p:spPr>
          <p:txBody>
            <a:bodyPr spcFirstLastPara="1" wrap="square" lIns="0" tIns="34275" rIns="0" bIns="34275" anchor="ctr" anchorCtr="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a:ea typeface="Calibri"/>
                  <a:cs typeface="Calibri"/>
                  <a:sym typeface="Calibri"/>
                </a:rPr>
                <a:t>North West</a:t>
              </a: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87" name="Google Shape;178;p1">
              <a:extLst>
                <a:ext uri="{FF2B5EF4-FFF2-40B4-BE49-F238E27FC236}">
                  <a16:creationId xmlns:a16="http://schemas.microsoft.com/office/drawing/2014/main" xmlns="" id="{A7E31729-04A0-4969-980B-73DB625E9CF4}"/>
                </a:ext>
              </a:extLst>
            </p:cNvPr>
            <p:cNvSpPr txBox="1"/>
            <p:nvPr/>
          </p:nvSpPr>
          <p:spPr>
            <a:xfrm>
              <a:off x="1544980" y="2722259"/>
              <a:ext cx="1367672" cy="723748"/>
            </a:xfrm>
            <a:prstGeom prst="rect">
              <a:avLst/>
            </a:prstGeom>
            <a:noFill/>
            <a:ln>
              <a:noFill/>
            </a:ln>
          </p:spPr>
          <p:txBody>
            <a:bodyPr spcFirstLastPara="1" wrap="square" lIns="68569" tIns="34275" rIns="68569" bIns="34275" anchor="t" anchorCtr="0">
              <a:spAutoFit/>
            </a:bodyPr>
            <a:lstStyle/>
            <a:p>
              <a:pPr marL="88106" marR="0" lvl="0" indent="-88106"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Direct delivery to 17 hospitals</a:t>
              </a:r>
              <a:endParaRPr kumimoji="0" lang="en-US" sz="1350" b="0" i="0" u="none" strike="noStrike" kern="1200" cap="none" spc="0" normalizeH="0" baseline="0" noProof="0" dirty="0">
                <a:ln>
                  <a:noFill/>
                </a:ln>
                <a:solidFill>
                  <a:prstClr val="black"/>
                </a:solidFill>
                <a:effectLst/>
                <a:uLnTx/>
                <a:uFillTx/>
                <a:latin typeface="Calibri"/>
                <a:ea typeface="Calibri"/>
                <a:cs typeface="+mn-cs"/>
              </a:endParaRPr>
            </a:p>
            <a:p>
              <a:pPr marL="0" marR="0" lvl="0" indent="0" algn="l" defTabSz="685800" rtl="0" eaLnBrk="1" fontAlgn="auto" latinLnBrk="0" hangingPunct="1">
                <a:lnSpc>
                  <a:spcPct val="114000"/>
                </a:lnSpc>
                <a:spcBef>
                  <a:spcPts val="0"/>
                </a:spcBef>
                <a:spcAft>
                  <a:spcPts val="0"/>
                </a:spcAft>
                <a:buClrTx/>
                <a:buSzTx/>
                <a:buFontTx/>
                <a:buNone/>
                <a:tabLst/>
                <a:defRPr/>
              </a:pPr>
              <a:endParaRPr kumimoji="0" sz="900" b="0"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grpSp>
      <p:grpSp>
        <p:nvGrpSpPr>
          <p:cNvPr id="88" name="Google Shape;179;p1">
            <a:extLst>
              <a:ext uri="{FF2B5EF4-FFF2-40B4-BE49-F238E27FC236}">
                <a16:creationId xmlns:a16="http://schemas.microsoft.com/office/drawing/2014/main" xmlns="" id="{DCF04879-0F0E-4105-8531-4144C646AA1E}"/>
              </a:ext>
            </a:extLst>
          </p:cNvPr>
          <p:cNvGrpSpPr/>
          <p:nvPr/>
        </p:nvGrpSpPr>
        <p:grpSpPr>
          <a:xfrm>
            <a:off x="6905239" y="3236390"/>
            <a:ext cx="1093812" cy="518114"/>
            <a:chOff x="416520" y="4774171"/>
            <a:chExt cx="2109658" cy="1217087"/>
          </a:xfrm>
        </p:grpSpPr>
        <p:sp>
          <p:nvSpPr>
            <p:cNvPr id="89" name="Google Shape;180;p1">
              <a:extLst>
                <a:ext uri="{FF2B5EF4-FFF2-40B4-BE49-F238E27FC236}">
                  <a16:creationId xmlns:a16="http://schemas.microsoft.com/office/drawing/2014/main" xmlns="" id="{40BF08C9-C0C7-4892-A87F-228B02E13720}"/>
                </a:ext>
              </a:extLst>
            </p:cNvPr>
            <p:cNvSpPr/>
            <p:nvPr/>
          </p:nvSpPr>
          <p:spPr>
            <a:xfrm>
              <a:off x="416520" y="4964086"/>
              <a:ext cx="2109658" cy="1027172"/>
            </a:xfrm>
            <a:prstGeom prst="roundRect">
              <a:avLst>
                <a:gd name="adj" fmla="val 11361"/>
              </a:avLst>
            </a:prstGeom>
            <a:noFill/>
            <a:ln w="9525" cap="flat" cmpd="sng">
              <a:solidFill>
                <a:srgbClr val="A5A5A5"/>
              </a:solidFill>
              <a:prstDash val="dash"/>
              <a:miter lim="800000"/>
              <a:headEnd type="none" w="sm" len="sm"/>
              <a:tailEnd type="none" w="sm" len="sm"/>
            </a:ln>
          </p:spPr>
          <p:txBody>
            <a:bodyPr spcFirstLastPara="1" wrap="square" lIns="68550" tIns="34275" rIns="68550" bIns="34275"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sym typeface="Calibri"/>
                </a:rPr>
                <a:t>          </a:t>
              </a:r>
              <a:endParaRPr kumimoji="0" sz="9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90" name="Google Shape;181;p1">
              <a:extLst>
                <a:ext uri="{FF2B5EF4-FFF2-40B4-BE49-F238E27FC236}">
                  <a16:creationId xmlns:a16="http://schemas.microsoft.com/office/drawing/2014/main" xmlns="" id="{1948C243-3C4F-4D49-8A77-207B54D9D81A}"/>
                </a:ext>
              </a:extLst>
            </p:cNvPr>
            <p:cNvSpPr/>
            <p:nvPr/>
          </p:nvSpPr>
          <p:spPr>
            <a:xfrm>
              <a:off x="680339" y="4774171"/>
              <a:ext cx="1582019" cy="527646"/>
            </a:xfrm>
            <a:prstGeom prst="roundRect">
              <a:avLst>
                <a:gd name="adj" fmla="val 50000"/>
              </a:avLst>
            </a:prstGeom>
            <a:solidFill>
              <a:srgbClr val="FF00FF"/>
            </a:solidFill>
            <a:ln w="19050" cap="flat" cmpd="sng">
              <a:solidFill>
                <a:srgbClr val="FFFFFF"/>
              </a:solidFill>
              <a:prstDash val="solid"/>
              <a:round/>
              <a:headEnd type="none" w="sm" len="sm"/>
              <a:tailEnd type="none" w="sm" len="sm"/>
            </a:ln>
            <a:effectLst>
              <a:outerShdw dist="28398" dir="6993903" algn="ctr" rotWithShape="0">
                <a:srgbClr val="B2B2B2">
                  <a:alpha val="49803"/>
                </a:srgbClr>
              </a:outerShdw>
            </a:effectLst>
          </p:spPr>
          <p:txBody>
            <a:bodyPr spcFirstLastPara="1" wrap="square" lIns="0" tIns="34275" rIns="0" bIns="34275" anchor="ctr" anchorCtr="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Calibri"/>
                  <a:cs typeface="Calibri"/>
                  <a:sym typeface="Calibri"/>
                </a:rPr>
                <a:t>Mpumalanga</a:t>
              </a:r>
              <a:endParaRPr kumimoji="0"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91" name="Google Shape;182;p1">
              <a:extLst>
                <a:ext uri="{FF2B5EF4-FFF2-40B4-BE49-F238E27FC236}">
                  <a16:creationId xmlns:a16="http://schemas.microsoft.com/office/drawing/2014/main" xmlns="" id="{3E326748-3614-4247-B8BD-2C7B072C1C61}"/>
                </a:ext>
              </a:extLst>
            </p:cNvPr>
            <p:cNvSpPr txBox="1"/>
            <p:nvPr/>
          </p:nvSpPr>
          <p:spPr>
            <a:xfrm>
              <a:off x="481277" y="5301820"/>
              <a:ext cx="1978393" cy="533434"/>
            </a:xfrm>
            <a:prstGeom prst="rect">
              <a:avLst/>
            </a:prstGeom>
            <a:noFill/>
            <a:ln>
              <a:noFill/>
            </a:ln>
          </p:spPr>
          <p:txBody>
            <a:bodyPr spcFirstLastPara="1" wrap="square" lIns="68569" tIns="34275" rIns="68569" bIns="34275" anchor="t" anchorCtr="0">
              <a:spAutoFit/>
            </a:bodyPr>
            <a:lstStyle/>
            <a:p>
              <a:pPr marL="88106" marR="0" lvl="0" indent="-88106"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Depot</a:t>
              </a:r>
              <a:endParaRPr kumimoji="0" sz="1350" b="0" i="0" u="none" strike="noStrike" kern="1200" cap="none" spc="0" normalizeH="0" baseline="0" noProof="0" dirty="0">
                <a:ln>
                  <a:noFill/>
                </a:ln>
                <a:solidFill>
                  <a:prstClr val="black"/>
                </a:solidFill>
                <a:effectLst/>
                <a:uLnTx/>
                <a:uFillTx/>
                <a:latin typeface="Calibri"/>
                <a:ea typeface="+mn-ea"/>
                <a:cs typeface="+mn-cs"/>
              </a:endParaRPr>
            </a:p>
          </p:txBody>
        </p:sp>
      </p:grpSp>
      <p:cxnSp>
        <p:nvCxnSpPr>
          <p:cNvPr id="92" name="Google Shape;183;p1">
            <a:extLst>
              <a:ext uri="{FF2B5EF4-FFF2-40B4-BE49-F238E27FC236}">
                <a16:creationId xmlns:a16="http://schemas.microsoft.com/office/drawing/2014/main" xmlns="" id="{05281FB6-245A-42CF-8DA7-FF4C170AC919}"/>
              </a:ext>
            </a:extLst>
          </p:cNvPr>
          <p:cNvCxnSpPr>
            <a:cxnSpLocks/>
            <a:stCxn id="93" idx="5"/>
            <a:endCxn id="89" idx="1"/>
          </p:cNvCxnSpPr>
          <p:nvPr/>
        </p:nvCxnSpPr>
        <p:spPr>
          <a:xfrm rot="5400000" flipH="1" flipV="1">
            <a:off x="6088980" y="2761489"/>
            <a:ext cx="41876" cy="1590641"/>
          </a:xfrm>
          <a:prstGeom prst="bentConnector4">
            <a:avLst>
              <a:gd name="adj1" fmla="val 119414"/>
              <a:gd name="adj2" fmla="val 50260"/>
            </a:avLst>
          </a:prstGeom>
          <a:noFill/>
          <a:ln w="9525" cap="flat" cmpd="sng">
            <a:solidFill>
              <a:schemeClr val="accent2"/>
            </a:solidFill>
            <a:prstDash val="dash"/>
            <a:miter lim="800000"/>
            <a:headEnd type="none" w="med" len="med"/>
            <a:tailEnd type="none" w="med" len="med"/>
          </a:ln>
        </p:spPr>
      </p:cxnSp>
      <p:sp>
        <p:nvSpPr>
          <p:cNvPr id="93" name="Google Shape;184;p1">
            <a:extLst>
              <a:ext uri="{FF2B5EF4-FFF2-40B4-BE49-F238E27FC236}">
                <a16:creationId xmlns:a16="http://schemas.microsoft.com/office/drawing/2014/main" xmlns="" id="{68A117F5-B7FA-463F-9708-D36614A69D39}"/>
              </a:ext>
            </a:extLst>
          </p:cNvPr>
          <p:cNvSpPr/>
          <p:nvPr/>
        </p:nvSpPr>
        <p:spPr>
          <a:xfrm>
            <a:off x="5266439" y="3524354"/>
            <a:ext cx="56421" cy="62553"/>
          </a:xfrm>
          <a:prstGeom prst="ellipse">
            <a:avLst/>
          </a:prstGeom>
          <a:solidFill>
            <a:schemeClr val="accent2"/>
          </a:solidFill>
          <a:ln w="12700" cap="flat" cmpd="sng">
            <a:solidFill>
              <a:schemeClr val="lt1"/>
            </a:solidFill>
            <a:prstDash val="solid"/>
            <a:round/>
            <a:headEnd type="none" w="sm" len="sm"/>
            <a:tailEnd type="none" w="sm" len="sm"/>
          </a:ln>
          <a:effectLst>
            <a:outerShdw dist="35921" dir="2700000" sx="66000" sy="66000" algn="ctr" rotWithShape="0">
              <a:srgbClr val="1C1C1C">
                <a:alpha val="49803"/>
              </a:srgbClr>
            </a:outerShdw>
          </a:effectLst>
        </p:spPr>
        <p:txBody>
          <a:bodyPr spcFirstLastPara="1" wrap="square" lIns="68569" tIns="34275" rIns="68569" bIns="34275"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94" name="Google Shape;185;p1">
            <a:extLst>
              <a:ext uri="{FF2B5EF4-FFF2-40B4-BE49-F238E27FC236}">
                <a16:creationId xmlns:a16="http://schemas.microsoft.com/office/drawing/2014/main" xmlns="" id="{C005F45B-7C0F-407D-A801-B5B82E04C8DF}"/>
              </a:ext>
            </a:extLst>
          </p:cNvPr>
          <p:cNvSpPr/>
          <p:nvPr/>
        </p:nvSpPr>
        <p:spPr>
          <a:xfrm>
            <a:off x="4301460" y="3691951"/>
            <a:ext cx="56421" cy="62553"/>
          </a:xfrm>
          <a:prstGeom prst="ellipse">
            <a:avLst/>
          </a:prstGeom>
          <a:solidFill>
            <a:schemeClr val="accent2"/>
          </a:solidFill>
          <a:ln w="12700" cap="flat" cmpd="sng">
            <a:solidFill>
              <a:schemeClr val="lt1"/>
            </a:solidFill>
            <a:prstDash val="solid"/>
            <a:round/>
            <a:headEnd type="none" w="sm" len="sm"/>
            <a:tailEnd type="none" w="sm" len="sm"/>
          </a:ln>
          <a:effectLst>
            <a:outerShdw dist="35921" dir="2700000" sx="66000" sy="66000" algn="ctr" rotWithShape="0">
              <a:srgbClr val="1C1C1C">
                <a:alpha val="49803"/>
              </a:srgbClr>
            </a:outerShdw>
          </a:effectLst>
        </p:spPr>
        <p:txBody>
          <a:bodyPr spcFirstLastPara="1" wrap="square" lIns="68569" tIns="34275" rIns="68569" bIns="34275"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96" name="Google Shape;187;p1">
            <a:extLst>
              <a:ext uri="{FF2B5EF4-FFF2-40B4-BE49-F238E27FC236}">
                <a16:creationId xmlns:a16="http://schemas.microsoft.com/office/drawing/2014/main" xmlns="" id="{F1760DF6-66F0-4850-83E4-EAD5EAF777A3}"/>
              </a:ext>
            </a:extLst>
          </p:cNvPr>
          <p:cNvGrpSpPr/>
          <p:nvPr/>
        </p:nvGrpSpPr>
        <p:grpSpPr>
          <a:xfrm>
            <a:off x="6765222" y="1963362"/>
            <a:ext cx="1156367" cy="822311"/>
            <a:chOff x="8650916" y="2185940"/>
            <a:chExt cx="1541822" cy="1096415"/>
          </a:xfrm>
        </p:grpSpPr>
        <p:sp>
          <p:nvSpPr>
            <p:cNvPr id="97" name="Google Shape;188;p1">
              <a:extLst>
                <a:ext uri="{FF2B5EF4-FFF2-40B4-BE49-F238E27FC236}">
                  <a16:creationId xmlns:a16="http://schemas.microsoft.com/office/drawing/2014/main" xmlns="" id="{EEC5E3F1-2114-4B80-85A0-92C0F59BF9EB}"/>
                </a:ext>
              </a:extLst>
            </p:cNvPr>
            <p:cNvSpPr/>
            <p:nvPr/>
          </p:nvSpPr>
          <p:spPr>
            <a:xfrm>
              <a:off x="8650916" y="2331498"/>
              <a:ext cx="1458416" cy="950854"/>
            </a:xfrm>
            <a:prstGeom prst="roundRect">
              <a:avLst>
                <a:gd name="adj" fmla="val 11361"/>
              </a:avLst>
            </a:prstGeom>
            <a:noFill/>
            <a:ln w="9525" cap="flat" cmpd="sng">
              <a:solidFill>
                <a:srgbClr val="A5A5A5"/>
              </a:solidFill>
              <a:prstDash val="dash"/>
              <a:miter lim="800000"/>
              <a:headEnd type="none" w="sm" len="sm"/>
              <a:tailEnd type="none" w="sm" len="sm"/>
            </a:ln>
          </p:spPr>
          <p:txBody>
            <a:bodyPr spcFirstLastPara="1" wrap="square" lIns="68550" tIns="34275" rIns="68550" bIns="34275"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Calibri"/>
                  <a:cs typeface="Calibri"/>
                  <a:sym typeface="Calibri"/>
                </a:rPr>
                <a:t>          </a:t>
              </a:r>
              <a:endParaRPr kumimoji="0" sz="9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98" name="Google Shape;189;p1">
              <a:extLst>
                <a:ext uri="{FF2B5EF4-FFF2-40B4-BE49-F238E27FC236}">
                  <a16:creationId xmlns:a16="http://schemas.microsoft.com/office/drawing/2014/main" xmlns="" id="{DD788D77-03BF-4494-983C-7E5E684F06EE}"/>
                </a:ext>
              </a:extLst>
            </p:cNvPr>
            <p:cNvSpPr/>
            <p:nvPr/>
          </p:nvSpPr>
          <p:spPr>
            <a:xfrm>
              <a:off x="8833295" y="2185940"/>
              <a:ext cx="1093657" cy="324035"/>
            </a:xfrm>
            <a:prstGeom prst="roundRect">
              <a:avLst>
                <a:gd name="adj" fmla="val 50000"/>
              </a:avLst>
            </a:prstGeom>
            <a:solidFill>
              <a:srgbClr val="008000"/>
            </a:solidFill>
            <a:ln w="19050" cap="flat" cmpd="sng">
              <a:solidFill>
                <a:srgbClr val="FFFFFF"/>
              </a:solidFill>
              <a:prstDash val="solid"/>
              <a:round/>
              <a:headEnd type="none" w="sm" len="sm"/>
              <a:tailEnd type="none" w="sm" len="sm"/>
            </a:ln>
            <a:effectLst>
              <a:outerShdw dist="28398" dir="6993903" algn="ctr" rotWithShape="0">
                <a:srgbClr val="B2B2B2">
                  <a:alpha val="49803"/>
                </a:srgbClr>
              </a:outerShdw>
            </a:effectLst>
          </p:spPr>
          <p:txBody>
            <a:bodyPr spcFirstLastPara="1" wrap="square" lIns="0" tIns="34275" rIns="0" bIns="34275" anchor="ctr" anchorCtr="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a:ea typeface="Calibri"/>
                  <a:cs typeface="Calibri"/>
                  <a:sym typeface="Calibri"/>
                </a:rPr>
                <a:t>Limpopo</a:t>
              </a: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99" name="Google Shape;190;p1">
              <a:extLst>
                <a:ext uri="{FF2B5EF4-FFF2-40B4-BE49-F238E27FC236}">
                  <a16:creationId xmlns:a16="http://schemas.microsoft.com/office/drawing/2014/main" xmlns="" id="{1D093EC2-63A0-4C0C-9EFD-0F8823D6AF7E}"/>
                </a:ext>
              </a:extLst>
            </p:cNvPr>
            <p:cNvSpPr txBox="1"/>
            <p:nvPr/>
          </p:nvSpPr>
          <p:spPr>
            <a:xfrm>
              <a:off x="8825067" y="2558607"/>
              <a:ext cx="1367671" cy="723748"/>
            </a:xfrm>
            <a:prstGeom prst="rect">
              <a:avLst/>
            </a:prstGeom>
            <a:noFill/>
            <a:ln>
              <a:noFill/>
            </a:ln>
          </p:spPr>
          <p:txBody>
            <a:bodyPr spcFirstLastPara="1" wrap="square" lIns="68569" tIns="34275" rIns="68569" bIns="34275" anchor="t" anchorCtr="0">
              <a:spAutoFit/>
            </a:bodyPr>
            <a:lstStyle/>
            <a:p>
              <a:pPr marL="88106" marR="0" lvl="0" indent="-88106"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mn-ea"/>
                  <a:cs typeface="Calibri"/>
                  <a:sym typeface="Calibri"/>
                </a:rPr>
                <a:t>Depot </a:t>
              </a:r>
            </a:p>
            <a:p>
              <a:pPr marL="88106" marR="0" lvl="0" indent="-88106"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Direct delivery to 38 hospitals</a:t>
              </a:r>
              <a:endParaRPr kumimoji="0" sz="1350" b="0" i="0" u="none" strike="noStrike" kern="1200" cap="none" spc="0" normalizeH="0" baseline="0" noProof="0" dirty="0">
                <a:ln>
                  <a:noFill/>
                </a:ln>
                <a:solidFill>
                  <a:prstClr val="black"/>
                </a:solidFill>
                <a:effectLst/>
                <a:uLnTx/>
                <a:uFillTx/>
                <a:latin typeface="Calibri"/>
                <a:ea typeface="+mn-ea"/>
                <a:cs typeface="+mn-cs"/>
              </a:endParaRPr>
            </a:p>
          </p:txBody>
        </p:sp>
      </p:grpSp>
      <p:cxnSp>
        <p:nvCxnSpPr>
          <p:cNvPr id="101" name="Google Shape;191;p1">
            <a:extLst>
              <a:ext uri="{FF2B5EF4-FFF2-40B4-BE49-F238E27FC236}">
                <a16:creationId xmlns:a16="http://schemas.microsoft.com/office/drawing/2014/main" xmlns="" id="{6B8CF946-08F6-46DC-92A2-79D1708ECD5E}"/>
              </a:ext>
            </a:extLst>
          </p:cNvPr>
          <p:cNvCxnSpPr>
            <a:cxnSpLocks/>
            <a:stCxn id="102" idx="5"/>
            <a:endCxn id="97" idx="1"/>
          </p:cNvCxnSpPr>
          <p:nvPr/>
        </p:nvCxnSpPr>
        <p:spPr>
          <a:xfrm rot="5400000" flipH="1" flipV="1">
            <a:off x="5534724" y="1986097"/>
            <a:ext cx="787494" cy="1673501"/>
          </a:xfrm>
          <a:prstGeom prst="bentConnector4">
            <a:avLst>
              <a:gd name="adj1" fmla="val -21772"/>
              <a:gd name="adj2" fmla="val 89519"/>
            </a:avLst>
          </a:prstGeom>
          <a:noFill/>
          <a:ln w="9525" cap="flat" cmpd="sng">
            <a:solidFill>
              <a:schemeClr val="accent2"/>
            </a:solidFill>
            <a:prstDash val="dash"/>
            <a:miter lim="800000"/>
            <a:headEnd type="none" w="med" len="med"/>
            <a:tailEnd type="none" w="med" len="med"/>
          </a:ln>
        </p:spPr>
      </p:cxnSp>
      <p:sp>
        <p:nvSpPr>
          <p:cNvPr id="102" name="Google Shape;192;p1">
            <a:extLst>
              <a:ext uri="{FF2B5EF4-FFF2-40B4-BE49-F238E27FC236}">
                <a16:creationId xmlns:a16="http://schemas.microsoft.com/office/drawing/2014/main" xmlns="" id="{4B4C8D71-5164-4CC8-9D22-EACFCED5D747}"/>
              </a:ext>
            </a:extLst>
          </p:cNvPr>
          <p:cNvSpPr/>
          <p:nvPr/>
        </p:nvSpPr>
        <p:spPr>
          <a:xfrm>
            <a:off x="5043563" y="3163202"/>
            <a:ext cx="56421" cy="62553"/>
          </a:xfrm>
          <a:prstGeom prst="ellipse">
            <a:avLst/>
          </a:prstGeom>
          <a:solidFill>
            <a:schemeClr val="accent2"/>
          </a:solidFill>
          <a:ln w="12700" cap="flat" cmpd="sng">
            <a:solidFill>
              <a:schemeClr val="lt1"/>
            </a:solidFill>
            <a:prstDash val="solid"/>
            <a:round/>
            <a:headEnd type="none" w="sm" len="sm"/>
            <a:tailEnd type="none" w="sm" len="sm"/>
          </a:ln>
          <a:effectLst>
            <a:outerShdw dist="35921" dir="2700000" sx="66000" sy="66000" algn="ctr" rotWithShape="0">
              <a:srgbClr val="1C1C1C">
                <a:alpha val="49803"/>
              </a:srgbClr>
            </a:outerShdw>
          </a:effectLst>
        </p:spPr>
        <p:txBody>
          <a:bodyPr spcFirstLastPara="1" wrap="square" lIns="68569" tIns="34275" rIns="68569" bIns="34275"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103" name="Google Shape;193;p1">
            <a:extLst>
              <a:ext uri="{FF2B5EF4-FFF2-40B4-BE49-F238E27FC236}">
                <a16:creationId xmlns:a16="http://schemas.microsoft.com/office/drawing/2014/main" xmlns="" id="{5507ECEE-A9F9-469C-9E66-ED3F495EC3FF}"/>
              </a:ext>
            </a:extLst>
          </p:cNvPr>
          <p:cNvGrpSpPr/>
          <p:nvPr/>
        </p:nvGrpSpPr>
        <p:grpSpPr>
          <a:xfrm>
            <a:off x="2375734" y="1699140"/>
            <a:ext cx="1337048" cy="1145983"/>
            <a:chOff x="1526849" y="2348543"/>
            <a:chExt cx="1458416" cy="1527977"/>
          </a:xfrm>
        </p:grpSpPr>
        <p:sp>
          <p:nvSpPr>
            <p:cNvPr id="104" name="Google Shape;194;p1">
              <a:extLst>
                <a:ext uri="{FF2B5EF4-FFF2-40B4-BE49-F238E27FC236}">
                  <a16:creationId xmlns:a16="http://schemas.microsoft.com/office/drawing/2014/main" xmlns="" id="{55D12311-8685-490B-94A3-E72A495ADF14}"/>
                </a:ext>
              </a:extLst>
            </p:cNvPr>
            <p:cNvSpPr/>
            <p:nvPr/>
          </p:nvSpPr>
          <p:spPr>
            <a:xfrm>
              <a:off x="1526849" y="2494101"/>
              <a:ext cx="1458416" cy="1382419"/>
            </a:xfrm>
            <a:prstGeom prst="roundRect">
              <a:avLst>
                <a:gd name="adj" fmla="val 11361"/>
              </a:avLst>
            </a:prstGeom>
            <a:noFill/>
            <a:ln w="9525" cap="flat" cmpd="sng">
              <a:solidFill>
                <a:srgbClr val="A5A5A5"/>
              </a:solidFill>
              <a:prstDash val="dash"/>
              <a:miter lim="800000"/>
              <a:headEnd type="none" w="sm" len="sm"/>
              <a:tailEnd type="none" w="sm" len="sm"/>
            </a:ln>
          </p:spPr>
          <p:txBody>
            <a:bodyPr spcFirstLastPara="1" wrap="square" lIns="68550" tIns="34275" rIns="68550" bIns="34275"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a:ea typeface="Calibri"/>
                  <a:cs typeface="Calibri"/>
                  <a:sym typeface="Calibri"/>
                </a:rPr>
                <a:t>          </a:t>
              </a: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05" name="Google Shape;195;p1">
              <a:extLst>
                <a:ext uri="{FF2B5EF4-FFF2-40B4-BE49-F238E27FC236}">
                  <a16:creationId xmlns:a16="http://schemas.microsoft.com/office/drawing/2014/main" xmlns="" id="{034FBF9F-F0A0-4F0C-8AEF-849E28EEDC54}"/>
                </a:ext>
              </a:extLst>
            </p:cNvPr>
            <p:cNvSpPr/>
            <p:nvPr/>
          </p:nvSpPr>
          <p:spPr>
            <a:xfrm>
              <a:off x="1709228" y="2348543"/>
              <a:ext cx="1093657" cy="324035"/>
            </a:xfrm>
            <a:prstGeom prst="roundRect">
              <a:avLst>
                <a:gd name="adj" fmla="val 50000"/>
              </a:avLst>
            </a:prstGeom>
            <a:solidFill>
              <a:srgbClr val="833C0C"/>
            </a:solidFill>
            <a:ln w="19050" cap="flat" cmpd="sng">
              <a:solidFill>
                <a:srgbClr val="FFFFFF"/>
              </a:solidFill>
              <a:prstDash val="solid"/>
              <a:round/>
              <a:headEnd type="none" w="sm" len="sm"/>
              <a:tailEnd type="none" w="sm" len="sm"/>
            </a:ln>
            <a:effectLst>
              <a:outerShdw dist="28398" dir="6993903" algn="ctr" rotWithShape="0">
                <a:srgbClr val="B2B2B2">
                  <a:alpha val="49803"/>
                </a:srgbClr>
              </a:outerShdw>
            </a:effectLst>
          </p:spPr>
          <p:txBody>
            <a:bodyPr spcFirstLastPara="1" wrap="square" lIns="0" tIns="34275" rIns="0" bIns="34275" anchor="ctr" anchorCtr="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Calibri"/>
                  <a:ea typeface="Calibri"/>
                  <a:cs typeface="Calibri"/>
                  <a:sym typeface="Calibri"/>
                </a:rPr>
                <a:t>Free State</a:t>
              </a: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106" name="Google Shape;196;p1">
              <a:extLst>
                <a:ext uri="{FF2B5EF4-FFF2-40B4-BE49-F238E27FC236}">
                  <a16:creationId xmlns:a16="http://schemas.microsoft.com/office/drawing/2014/main" xmlns="" id="{140DAA76-B5CE-4613-8C67-28F4AD05BDDE}"/>
                </a:ext>
              </a:extLst>
            </p:cNvPr>
            <p:cNvSpPr txBox="1"/>
            <p:nvPr/>
          </p:nvSpPr>
          <p:spPr>
            <a:xfrm>
              <a:off x="1544979" y="2722259"/>
              <a:ext cx="1367672" cy="1144717"/>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14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a:ea typeface="Calibri"/>
                  <a:cs typeface="Calibri"/>
                  <a:sym typeface="Calibri"/>
                </a:rPr>
                <a:t>Phase I:</a:t>
              </a: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 Depot</a:t>
              </a:r>
              <a:endParaRPr kumimoji="0" sz="135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685800" rtl="0" eaLnBrk="1" fontAlgn="auto" latinLnBrk="0" hangingPunct="1">
                <a:lnSpc>
                  <a:spcPct val="114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a:ea typeface="Calibri"/>
                  <a:cs typeface="Calibri"/>
                  <a:sym typeface="Calibri"/>
                </a:rPr>
                <a:t>Phases II and III:</a:t>
              </a:r>
              <a:endParaRPr kumimoji="0" sz="1350" b="0" i="0" u="none" strike="noStrike" kern="1200" cap="none" spc="0" normalizeH="0" baseline="0" noProof="0" dirty="0">
                <a:ln>
                  <a:noFill/>
                </a:ln>
                <a:solidFill>
                  <a:prstClr val="black"/>
                </a:solidFill>
                <a:effectLst/>
                <a:uLnTx/>
                <a:uFillTx/>
                <a:latin typeface="Calibri"/>
                <a:ea typeface="+mn-ea"/>
                <a:cs typeface="+mn-cs"/>
              </a:endParaRPr>
            </a:p>
            <a:p>
              <a:pPr marL="88106" marR="0" lvl="0" indent="-88106"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Direct delivery to</a:t>
              </a:r>
              <a:endParaRPr kumimoji="0" sz="1350" b="0" i="0" u="none" strike="noStrike" kern="1200" cap="none" spc="0" normalizeH="0" baseline="0" noProof="0" dirty="0">
                <a:ln>
                  <a:noFill/>
                </a:ln>
                <a:solidFill>
                  <a:prstClr val="black"/>
                </a:solidFill>
                <a:effectLst/>
                <a:uLnTx/>
                <a:uFillTx/>
                <a:latin typeface="Calibri"/>
                <a:ea typeface="+mn-ea"/>
                <a:cs typeface="+mn-cs"/>
              </a:endParaRPr>
            </a:p>
            <a:p>
              <a:pPr marL="203597" marR="0" lvl="1" indent="-135731"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30 Hospitals</a:t>
              </a:r>
              <a:endParaRPr kumimoji="0" sz="1350" b="0" i="0" u="none" strike="noStrike" kern="1200" cap="none" spc="0" normalizeH="0" baseline="0" noProof="0" dirty="0">
                <a:ln>
                  <a:noFill/>
                </a:ln>
                <a:solidFill>
                  <a:prstClr val="black"/>
                </a:solidFill>
                <a:effectLst/>
                <a:uLnTx/>
                <a:uFillTx/>
                <a:latin typeface="Calibri"/>
                <a:ea typeface="+mn-ea"/>
                <a:cs typeface="+mn-cs"/>
              </a:endParaRPr>
            </a:p>
            <a:p>
              <a:pPr marL="203597" marR="0" lvl="1" indent="-135731" algn="l" defTabSz="685800" rtl="0" eaLnBrk="1" fontAlgn="auto" latinLnBrk="0" hangingPunct="1">
                <a:lnSpc>
                  <a:spcPct val="114000"/>
                </a:lnSpc>
                <a:spcBef>
                  <a:spcPts val="0"/>
                </a:spcBef>
                <a:spcAft>
                  <a:spcPts val="0"/>
                </a:spcAft>
                <a:buClr>
                  <a:srgbClr val="7F7F7F"/>
                </a:buClr>
                <a:buSzPts val="600"/>
                <a:buFont typeface="Noto Sans Symbols"/>
                <a:buChar char="●"/>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1 CHC</a:t>
              </a:r>
              <a:endParaRPr kumimoji="0" sz="135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08" name="Google Shape;198;p1">
            <a:extLst>
              <a:ext uri="{FF2B5EF4-FFF2-40B4-BE49-F238E27FC236}">
                <a16:creationId xmlns:a16="http://schemas.microsoft.com/office/drawing/2014/main" xmlns="" id="{04418541-2B85-4CE9-ABCE-8D6047D8161C}"/>
              </a:ext>
            </a:extLst>
          </p:cNvPr>
          <p:cNvSpPr/>
          <p:nvPr/>
        </p:nvSpPr>
        <p:spPr>
          <a:xfrm>
            <a:off x="4633043" y="4050694"/>
            <a:ext cx="56421" cy="62553"/>
          </a:xfrm>
          <a:prstGeom prst="ellipse">
            <a:avLst/>
          </a:prstGeom>
          <a:solidFill>
            <a:schemeClr val="accent2"/>
          </a:solidFill>
          <a:ln w="12700" cap="flat" cmpd="sng">
            <a:solidFill>
              <a:schemeClr val="lt1"/>
            </a:solidFill>
            <a:prstDash val="solid"/>
            <a:round/>
            <a:headEnd type="none" w="sm" len="sm"/>
            <a:tailEnd type="none" w="sm" len="sm"/>
          </a:ln>
          <a:effectLst>
            <a:outerShdw dist="35921" dir="2700000" sx="66000" sy="66000" algn="ctr" rotWithShape="0">
              <a:srgbClr val="1C1C1C">
                <a:alpha val="49803"/>
              </a:srgbClr>
            </a:outerShdw>
          </a:effectLst>
        </p:spPr>
        <p:txBody>
          <a:bodyPr spcFirstLastPara="1" wrap="square" lIns="68569" tIns="34275" rIns="68569" bIns="34275"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09" name="Google Shape;199;p1">
            <a:extLst>
              <a:ext uri="{FF2B5EF4-FFF2-40B4-BE49-F238E27FC236}">
                <a16:creationId xmlns:a16="http://schemas.microsoft.com/office/drawing/2014/main" xmlns="" id="{F065EA75-EA87-47FC-A0A1-4C5278ECF05E}"/>
              </a:ext>
            </a:extLst>
          </p:cNvPr>
          <p:cNvSpPr txBox="1"/>
          <p:nvPr/>
        </p:nvSpPr>
        <p:spPr>
          <a:xfrm>
            <a:off x="7722249" y="5746870"/>
            <a:ext cx="1390941" cy="207719"/>
          </a:xfrm>
          <a:prstGeom prst="rect">
            <a:avLst/>
          </a:prstGeom>
          <a:noFill/>
          <a:ln>
            <a:noFill/>
          </a:ln>
        </p:spPr>
        <p:txBody>
          <a:bodyPr spcFirstLastPara="1" wrap="square" lIns="68569" tIns="34275" rIns="68569" bIns="34275" anchor="t" anchorCtr="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Calibri"/>
                <a:cs typeface="Calibri"/>
                <a:sym typeface="Calibri"/>
              </a:rPr>
              <a:t>30 January 2021</a:t>
            </a:r>
            <a:endParaRPr kumimoji="0" sz="900" b="0"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xmlns="" val="17193786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descr="Airport Icons - Free Download, PNG and SVG">
            <a:extLst>
              <a:ext uri="{FF2B5EF4-FFF2-40B4-BE49-F238E27FC236}">
                <a16:creationId xmlns:a16="http://schemas.microsoft.com/office/drawing/2014/main" xmlns="" id="{942910BD-1B91-4C0E-BB73-52835E217CD6}"/>
              </a:ext>
            </a:extLst>
          </p:cNvPr>
          <p:cNvPicPr>
            <a:picLocks noChangeAspect="1" noChangeArrowheads="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1019800" y="2427788"/>
            <a:ext cx="378000" cy="378000"/>
          </a:xfrm>
          <a:prstGeom prst="rect">
            <a:avLst/>
          </a:prstGeom>
          <a:noFill/>
          <a:extLst>
            <a:ext uri="{909E8E84-426E-40DD-AFC4-6F175D3DCCD1}">
              <a14:hiddenFill xmlns:a14="http://schemas.microsoft.com/office/drawing/2010/main" xmlns="">
                <a:solidFill>
                  <a:srgbClr val="FFFFFF"/>
                </a:solidFill>
              </a14:hiddenFill>
            </a:ext>
          </a:extLst>
        </p:spPr>
      </p:pic>
      <p:pic>
        <p:nvPicPr>
          <p:cNvPr id="17" name="Picture 16">
            <a:extLst>
              <a:ext uri="{FF2B5EF4-FFF2-40B4-BE49-F238E27FC236}">
                <a16:creationId xmlns:a16="http://schemas.microsoft.com/office/drawing/2014/main" xmlns="" id="{ECBD2EC5-8DB1-4E62-A38D-A1B1203D31DB}"/>
              </a:ext>
            </a:extLst>
          </p:cNvPr>
          <p:cNvPicPr>
            <a:picLocks noChangeAspect="1"/>
          </p:cNvPicPr>
          <p:nvPr/>
        </p:nvPicPr>
        <p:blipFill>
          <a:blip r:embed="rId3" cstate="print">
            <a:duotone>
              <a:schemeClr val="accent4">
                <a:shade val="45000"/>
                <a:satMod val="135000"/>
              </a:schemeClr>
              <a:prstClr val="white"/>
            </a:duotone>
            <a:extLst>
              <a:ext uri="{BEBA8EAE-BF5A-486C-A8C5-ECC9F3942E4B}">
                <a14:imgProps xmlns:a14="http://schemas.microsoft.com/office/drawing/2010/main" xmlns="">
                  <a14:imgLayer r:embed="rId4">
                    <a14:imgEffect>
                      <a14:colorTemperature colorTemp="4700"/>
                    </a14:imgEffect>
                    <a14:imgEffect>
                      <a14:saturation sat="200000"/>
                    </a14:imgEffect>
                    <a14:imgEffect>
                      <a14:brightnessContrast bright="-100000"/>
                    </a14:imgEffect>
                  </a14:imgLayer>
                </a14:imgProps>
              </a:ext>
            </a:extLst>
          </a:blip>
          <a:stretch>
            <a:fillRect/>
          </a:stretch>
        </p:blipFill>
        <p:spPr>
          <a:xfrm>
            <a:off x="1778466" y="2464590"/>
            <a:ext cx="189000" cy="304395"/>
          </a:xfrm>
          <a:prstGeom prst="rect">
            <a:avLst/>
          </a:prstGeom>
        </p:spPr>
      </p:pic>
      <p:pic>
        <p:nvPicPr>
          <p:cNvPr id="18" name="Picture 17">
            <a:extLst>
              <a:ext uri="{FF2B5EF4-FFF2-40B4-BE49-F238E27FC236}">
                <a16:creationId xmlns:a16="http://schemas.microsoft.com/office/drawing/2014/main" xmlns="" id="{340E5306-A431-40FF-9F33-28CAD41A0A3D}"/>
              </a:ext>
            </a:extLst>
          </p:cNvPr>
          <p:cNvPicPr>
            <a:picLocks noChangeAspect="1" noChangeArrowheads="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2482828" y="2522288"/>
            <a:ext cx="258959" cy="189000"/>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18">
            <a:extLst>
              <a:ext uri="{FF2B5EF4-FFF2-40B4-BE49-F238E27FC236}">
                <a16:creationId xmlns:a16="http://schemas.microsoft.com/office/drawing/2014/main" xmlns="" id="{B3408FEF-E316-4124-AC07-BC6C3947216E}"/>
              </a:ext>
            </a:extLst>
          </p:cNvPr>
          <p:cNvPicPr>
            <a:picLocks noChangeAspect="1"/>
          </p:cNvPicPr>
          <p:nvPr/>
        </p:nvPicPr>
        <p:blipFill>
          <a:blip r:embed="rId6" cstate="print">
            <a:duotone>
              <a:schemeClr val="accent2">
                <a:shade val="45000"/>
                <a:satMod val="135000"/>
              </a:schemeClr>
              <a:prstClr val="white"/>
            </a:duotone>
            <a:extLst>
              <a:ext uri="{BEBA8EAE-BF5A-486C-A8C5-ECC9F3942E4B}">
                <a14:imgProps xmlns:a14="http://schemas.microsoft.com/office/drawing/2010/main" xmlns="">
                  <a14:imgLayer r:embed="rId7">
                    <a14:imgEffect>
                      <a14:backgroundRemoval t="5634" b="94836" l="2110" r="95781">
                        <a14:foregroundMark x1="50211" y1="16901" x2="50211" y2="16901"/>
                        <a14:foregroundMark x1="2110" y1="31925" x2="2110" y2="31925"/>
                        <a14:foregroundMark x1="28270" y1="52113" x2="28270" y2="52113"/>
                        <a14:foregroundMark x1="26582" y1="70423" x2="26582" y2="70423"/>
                        <a14:foregroundMark x1="29114" y1="88732" x2="29114" y2="88732"/>
                        <a14:foregroundMark x1="13080" y1="95305" x2="13080" y2="95305"/>
                        <a14:foregroundMark x1="46414" y1="70892" x2="46414" y2="70892"/>
                        <a14:foregroundMark x1="46414" y1="90610" x2="46414" y2="90610"/>
                        <a14:foregroundMark x1="68776" y1="90141" x2="68776" y2="90141"/>
                        <a14:foregroundMark x1="84388" y1="88263" x2="84388" y2="88263"/>
                        <a14:foregroundMark x1="95781" y1="31925" x2="95781" y2="31925"/>
                        <a14:foregroundMark x1="49367" y1="5634" x2="49367" y2="5634"/>
                      </a14:backgroundRemoval>
                    </a14:imgEffect>
                  </a14:imgLayer>
                </a14:imgProps>
              </a:ext>
            </a:extLst>
          </a:blip>
          <a:stretch>
            <a:fillRect/>
          </a:stretch>
        </p:blipFill>
        <p:spPr>
          <a:xfrm>
            <a:off x="2969675" y="2446928"/>
            <a:ext cx="378000" cy="339720"/>
          </a:xfrm>
          <a:prstGeom prst="rect">
            <a:avLst/>
          </a:prstGeom>
        </p:spPr>
      </p:pic>
      <p:pic>
        <p:nvPicPr>
          <p:cNvPr id="21" name="Picture 20">
            <a:extLst>
              <a:ext uri="{FF2B5EF4-FFF2-40B4-BE49-F238E27FC236}">
                <a16:creationId xmlns:a16="http://schemas.microsoft.com/office/drawing/2014/main" xmlns="" id="{7C4BAD38-D13F-4492-829A-4241FBF17A9E}"/>
              </a:ext>
            </a:extLst>
          </p:cNvPr>
          <p:cNvPicPr>
            <a:picLocks noChangeAspect="1"/>
          </p:cNvPicPr>
          <p:nvPr/>
        </p:nvPicPr>
        <p:blipFill>
          <a:blip r:embed="rId8" cstate="print"/>
          <a:stretch>
            <a:fillRect/>
          </a:stretch>
        </p:blipFill>
        <p:spPr>
          <a:xfrm>
            <a:off x="4447313" y="2411042"/>
            <a:ext cx="378000" cy="411493"/>
          </a:xfrm>
          <a:prstGeom prst="rect">
            <a:avLst/>
          </a:prstGeom>
        </p:spPr>
      </p:pic>
      <p:pic>
        <p:nvPicPr>
          <p:cNvPr id="25" name="Picture 6" descr="Blood test result line icon flask and document Vector Image">
            <a:extLst>
              <a:ext uri="{FF2B5EF4-FFF2-40B4-BE49-F238E27FC236}">
                <a16:creationId xmlns:a16="http://schemas.microsoft.com/office/drawing/2014/main" xmlns="" id="{3CFFF7F3-952F-4022-B791-282776A7FB49}"/>
              </a:ext>
            </a:extLst>
          </p:cNvPr>
          <p:cNvPicPr>
            <a:picLocks noChangeAspect="1" noChangeArrowheads="1"/>
          </p:cNvPicPr>
          <p:nvPr/>
        </p:nvPicPr>
        <p:blipFill>
          <a:blip r:embed="rId9" cstate="print">
            <a:duotone>
              <a:schemeClr val="accent4">
                <a:shade val="45000"/>
                <a:satMod val="135000"/>
              </a:schemeClr>
              <a:prstClr val="white"/>
            </a:duotone>
            <a:extLst>
              <a:ext uri="{BEBA8EAE-BF5A-486C-A8C5-ECC9F3942E4B}">
                <a14:imgProps xmlns:a14="http://schemas.microsoft.com/office/drawing/2010/main" xmlns="">
                  <a14:imgLayer r:embed="rId10">
                    <a14:imgEffect>
                      <a14:backgroundRemoval t="5648" b="90000" l="10000" r="90000">
                        <a14:foregroundMark x1="21600" y1="32222" x2="21600" y2="32222"/>
                        <a14:foregroundMark x1="28600" y1="7963" x2="28600" y2="7963"/>
                        <a14:foregroundMark x1="30600" y1="5648" x2="46200" y2="5926"/>
                        <a14:foregroundMark x1="46200" y1="5926" x2="63200" y2="5648"/>
                        <a14:foregroundMark x1="63200" y1="5648" x2="69100" y2="7037"/>
                        <a14:foregroundMark x1="47200" y1="27500" x2="47200" y2="27500"/>
                        <a14:foregroundMark x1="51100" y1="34352" x2="57200" y2="34352"/>
                        <a14:foregroundMark x1="49800" y1="41204" x2="57400" y2="41667"/>
                        <a14:foregroundMark x1="57400" y1="41667" x2="57500" y2="41759"/>
                      </a14:backgroundRemoval>
                    </a14:imgEffect>
                    <a14:imgEffect>
                      <a14:colorTemperature colorTemp="4700"/>
                    </a14:imgEffect>
                    <a14:imgEffect>
                      <a14:brightnessContrast bright="-100000"/>
                    </a14:imgEffect>
                  </a14:imgLayer>
                </a14:imgProps>
              </a:ext>
              <a:ext uri="{28A0092B-C50C-407E-A947-70E740481C1C}">
                <a14:useLocalDpi xmlns:a14="http://schemas.microsoft.com/office/drawing/2010/main" xmlns="" val="0"/>
              </a:ext>
            </a:extLst>
          </a:blip>
          <a:srcRect/>
          <a:stretch>
            <a:fillRect/>
          </a:stretch>
        </p:blipFill>
        <p:spPr bwMode="auto">
          <a:xfrm flipH="1">
            <a:off x="5123773" y="2468288"/>
            <a:ext cx="262895" cy="297000"/>
          </a:xfrm>
          <a:prstGeom prst="rect">
            <a:avLst/>
          </a:prstGeom>
          <a:noFill/>
          <a:extLst>
            <a:ext uri="{909E8E84-426E-40DD-AFC4-6F175D3DCCD1}">
              <a14:hiddenFill xmlns:a14="http://schemas.microsoft.com/office/drawing/2010/main" xmlns="">
                <a:solidFill>
                  <a:srgbClr val="FFFFFF"/>
                </a:solidFill>
              </a14:hiddenFill>
            </a:ext>
          </a:extLst>
        </p:spPr>
      </p:pic>
      <p:pic>
        <p:nvPicPr>
          <p:cNvPr id="26" name="Picture 25">
            <a:extLst>
              <a:ext uri="{FF2B5EF4-FFF2-40B4-BE49-F238E27FC236}">
                <a16:creationId xmlns:a16="http://schemas.microsoft.com/office/drawing/2014/main" xmlns="" id="{BC4AB57A-B1D3-4F2E-BF37-D29AFFC412F3}"/>
              </a:ext>
            </a:extLst>
          </p:cNvPr>
          <p:cNvPicPr>
            <a:picLocks noChangeAspect="1"/>
          </p:cNvPicPr>
          <p:nvPr/>
        </p:nvPicPr>
        <p:blipFill>
          <a:blip r:embed="rId6" cstate="print">
            <a:duotone>
              <a:schemeClr val="accent2">
                <a:shade val="45000"/>
                <a:satMod val="135000"/>
              </a:schemeClr>
              <a:prstClr val="white"/>
            </a:duotone>
            <a:extLst>
              <a:ext uri="{BEBA8EAE-BF5A-486C-A8C5-ECC9F3942E4B}">
                <a14:imgProps xmlns:a14="http://schemas.microsoft.com/office/drawing/2010/main" xmlns="">
                  <a14:imgLayer r:embed="rId7">
                    <a14:imgEffect>
                      <a14:backgroundRemoval t="5634" b="94836" l="2110" r="95781">
                        <a14:foregroundMark x1="50211" y1="16901" x2="50211" y2="16901"/>
                        <a14:foregroundMark x1="2110" y1="31925" x2="2110" y2="31925"/>
                        <a14:foregroundMark x1="28270" y1="52113" x2="28270" y2="52113"/>
                        <a14:foregroundMark x1="26582" y1="70423" x2="26582" y2="70423"/>
                        <a14:foregroundMark x1="29114" y1="88732" x2="29114" y2="88732"/>
                        <a14:foregroundMark x1="13080" y1="95305" x2="13080" y2="95305"/>
                        <a14:foregroundMark x1="46414" y1="70892" x2="46414" y2="70892"/>
                        <a14:foregroundMark x1="46414" y1="90610" x2="46414" y2="90610"/>
                        <a14:foregroundMark x1="68776" y1="90141" x2="68776" y2="90141"/>
                        <a14:foregroundMark x1="84388" y1="88263" x2="84388" y2="88263"/>
                        <a14:foregroundMark x1="95781" y1="31925" x2="95781" y2="31925"/>
                        <a14:foregroundMark x1="49367" y1="5634" x2="49367" y2="5634"/>
                      </a14:backgroundRemoval>
                    </a14:imgEffect>
                  </a14:imgLayer>
                </a14:imgProps>
              </a:ext>
            </a:extLst>
          </a:blip>
          <a:stretch>
            <a:fillRect/>
          </a:stretch>
        </p:blipFill>
        <p:spPr>
          <a:xfrm>
            <a:off x="5745505" y="2446928"/>
            <a:ext cx="378000" cy="339720"/>
          </a:xfrm>
          <a:prstGeom prst="rect">
            <a:avLst/>
          </a:prstGeom>
        </p:spPr>
      </p:pic>
      <p:pic>
        <p:nvPicPr>
          <p:cNvPr id="27" name="Picture 26">
            <a:extLst>
              <a:ext uri="{FF2B5EF4-FFF2-40B4-BE49-F238E27FC236}">
                <a16:creationId xmlns:a16="http://schemas.microsoft.com/office/drawing/2014/main" xmlns="" id="{9DC90CA2-D620-429D-9A68-EE82C8A9B83C}"/>
              </a:ext>
            </a:extLst>
          </p:cNvPr>
          <p:cNvPicPr>
            <a:picLocks noChangeAspect="1" noChangeArrowheads="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6607021" y="2522288"/>
            <a:ext cx="258959" cy="189000"/>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27">
            <a:extLst>
              <a:ext uri="{FF2B5EF4-FFF2-40B4-BE49-F238E27FC236}">
                <a16:creationId xmlns:a16="http://schemas.microsoft.com/office/drawing/2014/main" xmlns="" id="{75599269-AA0B-4A4D-8A77-31C569187FBA}"/>
              </a:ext>
            </a:extLst>
          </p:cNvPr>
          <p:cNvPicPr>
            <a:picLocks noChangeAspect="1"/>
          </p:cNvPicPr>
          <p:nvPr/>
        </p:nvPicPr>
        <p:blipFill>
          <a:blip r:embed="rId11" cstate="print">
            <a:duotone>
              <a:schemeClr val="accent2">
                <a:shade val="45000"/>
                <a:satMod val="135000"/>
              </a:schemeClr>
              <a:prstClr val="white"/>
            </a:duotone>
            <a:extLst>
              <a:ext uri="{BEBA8EAE-BF5A-486C-A8C5-ECC9F3942E4B}">
                <a14:imgProps xmlns:a14="http://schemas.microsoft.com/office/drawing/2010/main" xmlns="">
                  <a14:imgLayer r:embed="rId12">
                    <a14:imgEffect>
                      <a14:sharpenSoften amount="100000"/>
                    </a14:imgEffect>
                    <a14:imgEffect>
                      <a14:brightnessContrast bright="-100000" contrast="100000"/>
                    </a14:imgEffect>
                  </a14:imgLayer>
                </a14:imgProps>
              </a:ext>
            </a:extLst>
          </a:blip>
          <a:stretch>
            <a:fillRect/>
          </a:stretch>
        </p:blipFill>
        <p:spPr>
          <a:xfrm>
            <a:off x="7276981" y="2479493"/>
            <a:ext cx="378000" cy="274589"/>
          </a:xfrm>
          <a:prstGeom prst="rect">
            <a:avLst/>
          </a:prstGeom>
        </p:spPr>
      </p:pic>
      <p:pic>
        <p:nvPicPr>
          <p:cNvPr id="24" name="Picture 23">
            <a:extLst>
              <a:ext uri="{FF2B5EF4-FFF2-40B4-BE49-F238E27FC236}">
                <a16:creationId xmlns:a16="http://schemas.microsoft.com/office/drawing/2014/main" xmlns="" id="{3395F8DA-014F-4EE8-AD6E-4408A11BAC38}"/>
              </a:ext>
            </a:extLst>
          </p:cNvPr>
          <p:cNvPicPr>
            <a:picLocks noChangeAspect="1"/>
          </p:cNvPicPr>
          <p:nvPr/>
        </p:nvPicPr>
        <p:blipFill>
          <a:blip r:embed="rId13" cstate="print">
            <a:duotone>
              <a:schemeClr val="accent4">
                <a:shade val="45000"/>
                <a:satMod val="135000"/>
              </a:schemeClr>
              <a:prstClr val="white"/>
            </a:duotone>
            <a:extLst>
              <a:ext uri="{BEBA8EAE-BF5A-486C-A8C5-ECC9F3942E4B}">
                <a14:imgProps xmlns:a14="http://schemas.microsoft.com/office/drawing/2010/main" xmlns="">
                  <a14:imgLayer r:embed="rId14">
                    <a14:imgEffect>
                      <a14:brightnessContrast bright="-100000"/>
                    </a14:imgEffect>
                  </a14:imgLayer>
                </a14:imgProps>
              </a:ext>
            </a:extLst>
          </a:blip>
          <a:stretch>
            <a:fillRect/>
          </a:stretch>
        </p:blipFill>
        <p:spPr>
          <a:xfrm>
            <a:off x="8118169" y="2481788"/>
            <a:ext cx="270000" cy="270000"/>
          </a:xfrm>
          <a:prstGeom prst="rect">
            <a:avLst/>
          </a:prstGeom>
        </p:spPr>
      </p:pic>
      <p:sp>
        <p:nvSpPr>
          <p:cNvPr id="30" name="Title 1">
            <a:extLst>
              <a:ext uri="{FF2B5EF4-FFF2-40B4-BE49-F238E27FC236}">
                <a16:creationId xmlns:a16="http://schemas.microsoft.com/office/drawing/2014/main" xmlns="" id="{81E402C2-A16F-482E-87FB-EF4B63F7F7AC}"/>
              </a:ext>
            </a:extLst>
          </p:cNvPr>
          <p:cNvSpPr>
            <a:spLocks noGrp="1"/>
          </p:cNvSpPr>
          <p:nvPr>
            <p:ph type="title"/>
          </p:nvPr>
        </p:nvSpPr>
        <p:spPr>
          <a:xfrm>
            <a:off x="258291" y="857250"/>
            <a:ext cx="8480464" cy="828878"/>
          </a:xfrm>
        </p:spPr>
        <p:txBody>
          <a:bodyPr/>
          <a:lstStyle/>
          <a:p>
            <a:pPr marL="257175" indent="-257175">
              <a:lnSpc>
                <a:spcPct val="115000"/>
              </a:lnSpc>
              <a:spcAft>
                <a:spcPts val="600"/>
              </a:spcAft>
            </a:pPr>
            <a:r>
              <a:rPr lang="en-ZA" dirty="0"/>
              <a:t>COVID-19 Vaccine Supply Chain Timelines </a:t>
            </a:r>
            <a:endParaRPr lang="af-ZA" dirty="0"/>
          </a:p>
        </p:txBody>
      </p:sp>
      <p:cxnSp>
        <p:nvCxnSpPr>
          <p:cNvPr id="41" name="Straight Arrow Connector 40">
            <a:extLst>
              <a:ext uri="{FF2B5EF4-FFF2-40B4-BE49-F238E27FC236}">
                <a16:creationId xmlns:a16="http://schemas.microsoft.com/office/drawing/2014/main" xmlns="" id="{62F6DCB7-BB52-493E-96D6-89667E48D5EA}"/>
              </a:ext>
            </a:extLst>
          </p:cNvPr>
          <p:cNvCxnSpPr>
            <a:cxnSpLocks/>
            <a:stCxn id="16" idx="3"/>
            <a:endCxn id="17" idx="1"/>
          </p:cNvCxnSpPr>
          <p:nvPr/>
        </p:nvCxnSpPr>
        <p:spPr>
          <a:xfrm>
            <a:off x="1397800" y="2616788"/>
            <a:ext cx="38066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xmlns="" id="{DEB8DDBB-0574-43DB-8FC7-CB263CAE878C}"/>
              </a:ext>
            </a:extLst>
          </p:cNvPr>
          <p:cNvCxnSpPr>
            <a:cxnSpLocks/>
            <a:stCxn id="17" idx="3"/>
            <a:endCxn id="18" idx="1"/>
          </p:cNvCxnSpPr>
          <p:nvPr/>
        </p:nvCxnSpPr>
        <p:spPr>
          <a:xfrm>
            <a:off x="1967466" y="2616788"/>
            <a:ext cx="51536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xmlns="" id="{54B53D3B-F349-410C-B4DD-38854E433E69}"/>
              </a:ext>
            </a:extLst>
          </p:cNvPr>
          <p:cNvCxnSpPr>
            <a:cxnSpLocks/>
            <a:stCxn id="18" idx="3"/>
            <a:endCxn id="19" idx="1"/>
          </p:cNvCxnSpPr>
          <p:nvPr/>
        </p:nvCxnSpPr>
        <p:spPr>
          <a:xfrm>
            <a:off x="2741788" y="2616788"/>
            <a:ext cx="22788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C54C1DC5-8237-4BBA-A890-FF843ABF712B}"/>
              </a:ext>
            </a:extLst>
          </p:cNvPr>
          <p:cNvCxnSpPr>
            <a:cxnSpLocks/>
            <a:stCxn id="19" idx="3"/>
            <a:endCxn id="76" idx="1"/>
          </p:cNvCxnSpPr>
          <p:nvPr/>
        </p:nvCxnSpPr>
        <p:spPr>
          <a:xfrm>
            <a:off x="3347675" y="2616788"/>
            <a:ext cx="50677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xmlns="" id="{4387939B-06D6-447E-A68C-B1E9BC87FB9F}"/>
              </a:ext>
            </a:extLst>
          </p:cNvPr>
          <p:cNvCxnSpPr>
            <a:cxnSpLocks/>
          </p:cNvCxnSpPr>
          <p:nvPr/>
        </p:nvCxnSpPr>
        <p:spPr>
          <a:xfrm>
            <a:off x="3934818" y="2613550"/>
            <a:ext cx="512495" cy="64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xmlns="" id="{E2D10F50-73CD-49E8-9D49-F65268A3DA45}"/>
              </a:ext>
            </a:extLst>
          </p:cNvPr>
          <p:cNvCxnSpPr/>
          <p:nvPr/>
        </p:nvCxnSpPr>
        <p:spPr>
          <a:xfrm flipV="1">
            <a:off x="4825313" y="2616788"/>
            <a:ext cx="298461"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xmlns="" id="{4634412D-552E-44EE-8E0E-2B39994E6786}"/>
              </a:ext>
            </a:extLst>
          </p:cNvPr>
          <p:cNvCxnSpPr/>
          <p:nvPr/>
        </p:nvCxnSpPr>
        <p:spPr>
          <a:xfrm>
            <a:off x="5386668" y="2616788"/>
            <a:ext cx="35883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xmlns="" id="{2EF5BD33-5367-4F32-B32D-1D8EF02A5551}"/>
              </a:ext>
            </a:extLst>
          </p:cNvPr>
          <p:cNvCxnSpPr>
            <a:cxnSpLocks/>
            <a:stCxn id="26" idx="3"/>
            <a:endCxn id="27" idx="1"/>
          </p:cNvCxnSpPr>
          <p:nvPr/>
        </p:nvCxnSpPr>
        <p:spPr>
          <a:xfrm>
            <a:off x="6123505" y="2616788"/>
            <a:ext cx="48351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xmlns="" id="{7AF2BFFF-AE9B-4E11-BBDC-EFF3BD7AF81E}"/>
              </a:ext>
            </a:extLst>
          </p:cNvPr>
          <p:cNvCxnSpPr>
            <a:cxnSpLocks/>
            <a:stCxn id="27" idx="3"/>
            <a:endCxn id="28" idx="1"/>
          </p:cNvCxnSpPr>
          <p:nvPr/>
        </p:nvCxnSpPr>
        <p:spPr>
          <a:xfrm>
            <a:off x="6865980" y="2616788"/>
            <a:ext cx="41100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xmlns="" id="{D7CD3269-33BA-42DE-BE01-6E03F7FF8F8F}"/>
              </a:ext>
            </a:extLst>
          </p:cNvPr>
          <p:cNvCxnSpPr/>
          <p:nvPr/>
        </p:nvCxnSpPr>
        <p:spPr>
          <a:xfrm>
            <a:off x="7476387" y="2616788"/>
            <a:ext cx="64178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76" name="Picture 75">
            <a:extLst>
              <a:ext uri="{FF2B5EF4-FFF2-40B4-BE49-F238E27FC236}">
                <a16:creationId xmlns:a16="http://schemas.microsoft.com/office/drawing/2014/main" xmlns="" id="{CC7E6A99-F924-4AE3-9F35-064819031915}"/>
              </a:ext>
            </a:extLst>
          </p:cNvPr>
          <p:cNvPicPr>
            <a:picLocks noChangeAspect="1" noChangeArrowheads="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3854452" y="2522288"/>
            <a:ext cx="258959" cy="189000"/>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14340" name="Table 14340">
            <a:extLst>
              <a:ext uri="{FF2B5EF4-FFF2-40B4-BE49-F238E27FC236}">
                <a16:creationId xmlns:a16="http://schemas.microsoft.com/office/drawing/2014/main" xmlns="" id="{A843561B-6BB2-4C40-83E5-36EF101C4D00}"/>
              </a:ext>
            </a:extLst>
          </p:cNvPr>
          <p:cNvGraphicFramePr>
            <a:graphicFrameLocks noGrp="1"/>
          </p:cNvGraphicFramePr>
          <p:nvPr/>
        </p:nvGraphicFramePr>
        <p:xfrm>
          <a:off x="685801" y="2958326"/>
          <a:ext cx="7943845" cy="739140"/>
        </p:xfrm>
        <a:graphic>
          <a:graphicData uri="http://schemas.openxmlformats.org/drawingml/2006/table">
            <a:tbl>
              <a:tblPr firstRow="1" bandRow="1">
                <a:tableStyleId>{5C22544A-7EE6-4342-B048-85BDC9FD1C3A}</a:tableStyleId>
              </a:tblPr>
              <a:tblGrid>
                <a:gridCol w="722168">
                  <a:extLst>
                    <a:ext uri="{9D8B030D-6E8A-4147-A177-3AD203B41FA5}">
                      <a16:colId xmlns:a16="http://schemas.microsoft.com/office/drawing/2014/main" xmlns="" val="982668978"/>
                    </a:ext>
                  </a:extLst>
                </a:gridCol>
                <a:gridCol w="722168">
                  <a:extLst>
                    <a:ext uri="{9D8B030D-6E8A-4147-A177-3AD203B41FA5}">
                      <a16:colId xmlns:a16="http://schemas.microsoft.com/office/drawing/2014/main" xmlns="" val="3161660307"/>
                    </a:ext>
                  </a:extLst>
                </a:gridCol>
                <a:gridCol w="722168">
                  <a:extLst>
                    <a:ext uri="{9D8B030D-6E8A-4147-A177-3AD203B41FA5}">
                      <a16:colId xmlns:a16="http://schemas.microsoft.com/office/drawing/2014/main" xmlns="" val="986200966"/>
                    </a:ext>
                  </a:extLst>
                </a:gridCol>
                <a:gridCol w="749520">
                  <a:extLst>
                    <a:ext uri="{9D8B030D-6E8A-4147-A177-3AD203B41FA5}">
                      <a16:colId xmlns:a16="http://schemas.microsoft.com/office/drawing/2014/main" xmlns="" val="3643372993"/>
                    </a:ext>
                  </a:extLst>
                </a:gridCol>
                <a:gridCol w="694814">
                  <a:extLst>
                    <a:ext uri="{9D8B030D-6E8A-4147-A177-3AD203B41FA5}">
                      <a16:colId xmlns:a16="http://schemas.microsoft.com/office/drawing/2014/main" xmlns="" val="439977079"/>
                    </a:ext>
                  </a:extLst>
                </a:gridCol>
                <a:gridCol w="722168">
                  <a:extLst>
                    <a:ext uri="{9D8B030D-6E8A-4147-A177-3AD203B41FA5}">
                      <a16:colId xmlns:a16="http://schemas.microsoft.com/office/drawing/2014/main" xmlns="" val="1852042113"/>
                    </a:ext>
                  </a:extLst>
                </a:gridCol>
                <a:gridCol w="641315">
                  <a:extLst>
                    <a:ext uri="{9D8B030D-6E8A-4147-A177-3AD203B41FA5}">
                      <a16:colId xmlns:a16="http://schemas.microsoft.com/office/drawing/2014/main" xmlns="" val="3464405724"/>
                    </a:ext>
                  </a:extLst>
                </a:gridCol>
                <a:gridCol w="752403">
                  <a:extLst>
                    <a:ext uri="{9D8B030D-6E8A-4147-A177-3AD203B41FA5}">
                      <a16:colId xmlns:a16="http://schemas.microsoft.com/office/drawing/2014/main" xmlns="" val="2720555109"/>
                    </a:ext>
                  </a:extLst>
                </a:gridCol>
                <a:gridCol w="686504">
                  <a:extLst>
                    <a:ext uri="{9D8B030D-6E8A-4147-A177-3AD203B41FA5}">
                      <a16:colId xmlns:a16="http://schemas.microsoft.com/office/drawing/2014/main" xmlns="" val="1155478759"/>
                    </a:ext>
                  </a:extLst>
                </a:gridCol>
                <a:gridCol w="780195">
                  <a:extLst>
                    <a:ext uri="{9D8B030D-6E8A-4147-A177-3AD203B41FA5}">
                      <a16:colId xmlns:a16="http://schemas.microsoft.com/office/drawing/2014/main" xmlns="" val="1440543050"/>
                    </a:ext>
                  </a:extLst>
                </a:gridCol>
                <a:gridCol w="750422">
                  <a:extLst>
                    <a:ext uri="{9D8B030D-6E8A-4147-A177-3AD203B41FA5}">
                      <a16:colId xmlns:a16="http://schemas.microsoft.com/office/drawing/2014/main" xmlns="" val="340998737"/>
                    </a:ext>
                  </a:extLst>
                </a:gridCol>
              </a:tblGrid>
              <a:tr h="708660">
                <a:tc>
                  <a:txBody>
                    <a:bodyPr/>
                    <a:lstStyle/>
                    <a:p>
                      <a:pPr algn="ctr"/>
                      <a:r>
                        <a:rPr lang="en-US" sz="800" b="0" dirty="0">
                          <a:solidFill>
                            <a:schemeClr val="tx1"/>
                          </a:solidFill>
                        </a:rPr>
                        <a:t>Terminal</a:t>
                      </a:r>
                      <a:endParaRPr lang="en-ZA" sz="800" b="0" dirty="0">
                        <a:solidFill>
                          <a:schemeClr val="tx1"/>
                        </a:solidFill>
                      </a:endParaRPr>
                    </a:p>
                  </a:txBody>
                  <a:tcPr marL="13500" marR="13500" marT="34290" marB="34290">
                    <a:lnL w="12700" cap="flat" cmpd="sng" algn="ctr">
                      <a:solidFill>
                        <a:srgbClr val="005D28"/>
                      </a:solidFill>
                      <a:prstDash val="solid"/>
                      <a:round/>
                      <a:headEnd type="none" w="med" len="med"/>
                      <a:tailEnd type="none" w="med" len="med"/>
                    </a:lnL>
                    <a:lnR w="12700" cap="flat" cmpd="sng" algn="ctr">
                      <a:solidFill>
                        <a:srgbClr val="005D28"/>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rPr>
                        <a:t>Customs</a:t>
                      </a:r>
                      <a:endParaRPr lang="en-ZA" sz="800" b="0" dirty="0">
                        <a:solidFill>
                          <a:schemeClr val="tx1"/>
                        </a:solidFill>
                      </a:endParaRPr>
                    </a:p>
                  </a:txBody>
                  <a:tcPr marL="13500" marR="13500" marT="34290" marB="34290">
                    <a:lnL w="12700" cap="flat" cmpd="sng" algn="ctr">
                      <a:solidFill>
                        <a:srgbClr val="005D28"/>
                      </a:solidFill>
                      <a:prstDash val="solid"/>
                      <a:round/>
                      <a:headEnd type="none" w="med" len="med"/>
                      <a:tailEnd type="none" w="med" len="med"/>
                    </a:lnL>
                    <a:lnR w="12700" cap="flat" cmpd="sng" algn="ctr">
                      <a:solidFill>
                        <a:srgbClr val="005D28"/>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rPr>
                        <a:t>On carriage to warehouse</a:t>
                      </a:r>
                      <a:endParaRPr lang="en-ZA" sz="800" b="0" dirty="0">
                        <a:solidFill>
                          <a:schemeClr val="tx1"/>
                        </a:solidFill>
                      </a:endParaRPr>
                    </a:p>
                  </a:txBody>
                  <a:tcPr marL="13500" marR="13500" marT="34290" marB="34290">
                    <a:lnL w="12700" cap="flat" cmpd="sng" algn="ctr">
                      <a:solidFill>
                        <a:srgbClr val="005D28"/>
                      </a:solidFill>
                      <a:prstDash val="solid"/>
                      <a:round/>
                      <a:headEnd type="none" w="med" len="med"/>
                      <a:tailEnd type="none" w="med" len="med"/>
                    </a:lnL>
                    <a:lnR w="12700" cap="flat" cmpd="sng" algn="ctr">
                      <a:solidFill>
                        <a:srgbClr val="005D28"/>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rPr>
                        <a:t>Warehouse</a:t>
                      </a:r>
                    </a:p>
                    <a:p>
                      <a:pPr marL="171450" indent="-171450" algn="l">
                        <a:buFont typeface="Arial" panose="020B0604020202020204" pitchFamily="34" charset="0"/>
                        <a:buChar char="•"/>
                      </a:pPr>
                      <a:r>
                        <a:rPr lang="en-US" sz="800" b="0" dirty="0">
                          <a:solidFill>
                            <a:schemeClr val="tx1"/>
                          </a:solidFill>
                        </a:rPr>
                        <a:t>Receive</a:t>
                      </a:r>
                    </a:p>
                    <a:p>
                      <a:pPr marL="171450" indent="-171450" algn="l">
                        <a:buFont typeface="Arial" panose="020B0604020202020204" pitchFamily="34" charset="0"/>
                        <a:buChar char="•"/>
                      </a:pPr>
                      <a:r>
                        <a:rPr lang="en-US" sz="700" b="0" dirty="0">
                          <a:solidFill>
                            <a:schemeClr val="tx1"/>
                          </a:solidFill>
                        </a:rPr>
                        <a:t>Check</a:t>
                      </a:r>
                    </a:p>
                    <a:p>
                      <a:pPr marL="171450" indent="-171450" algn="l">
                        <a:buFont typeface="Arial" panose="020B0604020202020204" pitchFamily="34" charset="0"/>
                        <a:buChar char="•"/>
                      </a:pPr>
                      <a:r>
                        <a:rPr lang="en-US" sz="700" b="0" dirty="0">
                          <a:solidFill>
                            <a:schemeClr val="tx1"/>
                          </a:solidFill>
                        </a:rPr>
                        <a:t>Sample</a:t>
                      </a:r>
                    </a:p>
                    <a:p>
                      <a:pPr marL="171450" indent="-171450" algn="l">
                        <a:buFont typeface="Arial" panose="020B0604020202020204" pitchFamily="34" charset="0"/>
                        <a:buChar char="•"/>
                      </a:pPr>
                      <a:r>
                        <a:rPr lang="en-US" sz="700" b="0" dirty="0">
                          <a:solidFill>
                            <a:schemeClr val="tx1"/>
                          </a:solidFill>
                        </a:rPr>
                        <a:t>Store in quarantine</a:t>
                      </a:r>
                      <a:endParaRPr lang="en-ZA" sz="600" b="0" dirty="0">
                        <a:solidFill>
                          <a:schemeClr val="tx1"/>
                        </a:solidFill>
                      </a:endParaRPr>
                    </a:p>
                  </a:txBody>
                  <a:tcPr marL="13500" marR="13500" marT="34290" marB="34290">
                    <a:lnL w="12700" cap="flat" cmpd="sng" algn="ctr">
                      <a:solidFill>
                        <a:srgbClr val="005D28"/>
                      </a:solidFill>
                      <a:prstDash val="solid"/>
                      <a:round/>
                      <a:headEnd type="none" w="med" len="med"/>
                      <a:tailEnd type="none" w="med" len="med"/>
                    </a:lnL>
                    <a:lnR w="12700" cap="flat" cmpd="sng" algn="ctr">
                      <a:solidFill>
                        <a:srgbClr val="005D28"/>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rPr>
                        <a:t>Samples to NCL</a:t>
                      </a:r>
                      <a:endParaRPr lang="en-ZA" sz="800" b="0" dirty="0">
                        <a:solidFill>
                          <a:schemeClr val="tx1"/>
                        </a:solidFill>
                      </a:endParaRPr>
                    </a:p>
                  </a:txBody>
                  <a:tcPr marL="13500" marR="13500" marT="34290" marB="34290">
                    <a:lnL w="12700" cap="flat" cmpd="sng" algn="ctr">
                      <a:solidFill>
                        <a:srgbClr val="005D28"/>
                      </a:solidFill>
                      <a:prstDash val="solid"/>
                      <a:round/>
                      <a:headEnd type="none" w="med" len="med"/>
                      <a:tailEnd type="none" w="med" len="med"/>
                    </a:lnL>
                    <a:lnR w="12700" cap="flat" cmpd="sng" algn="ctr">
                      <a:solidFill>
                        <a:srgbClr val="005D28"/>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rPr>
                        <a:t>NCL Testing</a:t>
                      </a:r>
                      <a:endParaRPr lang="en-ZA" sz="800" b="0" dirty="0">
                        <a:solidFill>
                          <a:schemeClr val="tx1"/>
                        </a:solidFill>
                      </a:endParaRPr>
                    </a:p>
                  </a:txBody>
                  <a:tcPr marL="13500" marR="13500" marT="34290" marB="34290">
                    <a:lnL w="12700" cap="flat" cmpd="sng" algn="ctr">
                      <a:solidFill>
                        <a:srgbClr val="005D28"/>
                      </a:solidFill>
                      <a:prstDash val="solid"/>
                      <a:round/>
                      <a:headEnd type="none" w="med" len="med"/>
                      <a:tailEnd type="none" w="med" len="med"/>
                    </a:lnL>
                    <a:lnR w="12700" cap="flat" cmpd="sng" algn="ctr">
                      <a:solidFill>
                        <a:srgbClr val="005D28"/>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rPr>
                        <a:t>Test Report</a:t>
                      </a:r>
                      <a:endParaRPr lang="en-ZA" sz="800" b="0" dirty="0">
                        <a:solidFill>
                          <a:schemeClr val="tx1"/>
                        </a:solidFill>
                      </a:endParaRPr>
                    </a:p>
                  </a:txBody>
                  <a:tcPr marL="13500" marR="13500" marT="34290" marB="34290">
                    <a:lnL w="12700" cap="flat" cmpd="sng" algn="ctr">
                      <a:solidFill>
                        <a:srgbClr val="005D28"/>
                      </a:solidFill>
                      <a:prstDash val="solid"/>
                      <a:round/>
                      <a:headEnd type="none" w="med" len="med"/>
                      <a:tailEnd type="none" w="med" len="med"/>
                    </a:lnL>
                    <a:lnR w="12700" cap="flat" cmpd="sng" algn="ctr">
                      <a:solidFill>
                        <a:srgbClr val="005D28"/>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rPr>
                        <a:t>Warehouse</a:t>
                      </a:r>
                    </a:p>
                    <a:p>
                      <a:pPr marL="171450" indent="-171450" algn="l">
                        <a:buFont typeface="Arial" panose="020B0604020202020204" pitchFamily="34" charset="0"/>
                        <a:buChar char="•"/>
                      </a:pPr>
                      <a:r>
                        <a:rPr lang="en-US" sz="700" b="0" dirty="0">
                          <a:solidFill>
                            <a:schemeClr val="tx1"/>
                          </a:solidFill>
                        </a:rPr>
                        <a:t>Release from quarantine</a:t>
                      </a:r>
                    </a:p>
                    <a:p>
                      <a:pPr marL="171450" indent="-171450" algn="l">
                        <a:buFont typeface="Arial" panose="020B0604020202020204" pitchFamily="34" charset="0"/>
                        <a:buChar char="•"/>
                      </a:pPr>
                      <a:r>
                        <a:rPr lang="en-US" sz="700" b="0" dirty="0">
                          <a:solidFill>
                            <a:schemeClr val="tx1"/>
                          </a:solidFill>
                        </a:rPr>
                        <a:t>Pick</a:t>
                      </a:r>
                    </a:p>
                    <a:p>
                      <a:pPr marL="171450" indent="-171450" algn="l">
                        <a:buFont typeface="Arial" panose="020B0604020202020204" pitchFamily="34" charset="0"/>
                        <a:buChar char="•"/>
                      </a:pPr>
                      <a:r>
                        <a:rPr lang="en-US" sz="700" b="0" dirty="0">
                          <a:solidFill>
                            <a:schemeClr val="tx1"/>
                          </a:solidFill>
                        </a:rPr>
                        <a:t>Pack</a:t>
                      </a:r>
                    </a:p>
                    <a:p>
                      <a:pPr marL="171450" indent="-171450" algn="l">
                        <a:buFont typeface="Arial" panose="020B0604020202020204" pitchFamily="34" charset="0"/>
                        <a:buChar char="•"/>
                      </a:pPr>
                      <a:r>
                        <a:rPr lang="en-US" sz="700" b="0" dirty="0">
                          <a:solidFill>
                            <a:schemeClr val="tx1"/>
                          </a:solidFill>
                        </a:rPr>
                        <a:t>Dispatch</a:t>
                      </a:r>
                      <a:endParaRPr lang="en-ZA" sz="700" b="0" dirty="0">
                        <a:solidFill>
                          <a:schemeClr val="tx1"/>
                        </a:solidFill>
                      </a:endParaRPr>
                    </a:p>
                  </a:txBody>
                  <a:tcPr marL="13500" marR="13500" marT="34290" marB="34290">
                    <a:lnL w="12700" cap="flat" cmpd="sng" algn="ctr">
                      <a:solidFill>
                        <a:srgbClr val="005D28"/>
                      </a:solidFill>
                      <a:prstDash val="solid"/>
                      <a:round/>
                      <a:headEnd type="none" w="med" len="med"/>
                      <a:tailEnd type="none" w="med" len="med"/>
                    </a:lnL>
                    <a:lnR w="12700" cap="flat" cmpd="sng" algn="ctr">
                      <a:solidFill>
                        <a:srgbClr val="005D28"/>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rPr>
                        <a:t>Carriage to administration site</a:t>
                      </a:r>
                      <a:endParaRPr lang="en-ZA" sz="800" b="0" dirty="0">
                        <a:solidFill>
                          <a:schemeClr val="tx1"/>
                        </a:solidFill>
                      </a:endParaRPr>
                    </a:p>
                  </a:txBody>
                  <a:tcPr marL="13500" marR="13500" marT="34290" marB="34290">
                    <a:lnL w="12700" cap="flat" cmpd="sng" algn="ctr">
                      <a:solidFill>
                        <a:srgbClr val="005D28"/>
                      </a:solidFill>
                      <a:prstDash val="solid"/>
                      <a:round/>
                      <a:headEnd type="none" w="med" len="med"/>
                      <a:tailEnd type="none" w="med" len="med"/>
                    </a:lnL>
                    <a:lnR w="12700" cap="flat" cmpd="sng" algn="ctr">
                      <a:solidFill>
                        <a:srgbClr val="005D28"/>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rPr>
                        <a:t>Vaccination site</a:t>
                      </a:r>
                    </a:p>
                    <a:p>
                      <a:pPr marL="171450" indent="-171450" algn="l">
                        <a:buFont typeface="Arial" panose="020B0604020202020204" pitchFamily="34" charset="0"/>
                        <a:buChar char="•"/>
                      </a:pPr>
                      <a:r>
                        <a:rPr lang="en-ZA" sz="700" b="0" dirty="0">
                          <a:solidFill>
                            <a:schemeClr val="tx1"/>
                          </a:solidFill>
                        </a:rPr>
                        <a:t>Receive</a:t>
                      </a:r>
                    </a:p>
                    <a:p>
                      <a:pPr marL="171450" indent="-171450" algn="l">
                        <a:buFont typeface="Arial" panose="020B0604020202020204" pitchFamily="34" charset="0"/>
                        <a:buChar char="•"/>
                      </a:pPr>
                      <a:r>
                        <a:rPr lang="en-ZA" sz="700" b="0" dirty="0">
                          <a:solidFill>
                            <a:schemeClr val="tx1"/>
                          </a:solidFill>
                        </a:rPr>
                        <a:t>Check</a:t>
                      </a:r>
                    </a:p>
                    <a:p>
                      <a:pPr marL="171450" indent="-171450" algn="l">
                        <a:buFont typeface="Arial" panose="020B0604020202020204" pitchFamily="34" charset="0"/>
                        <a:buChar char="•"/>
                      </a:pPr>
                      <a:r>
                        <a:rPr lang="en-ZA" sz="700" b="0" dirty="0">
                          <a:solidFill>
                            <a:schemeClr val="tx1"/>
                          </a:solidFill>
                        </a:rPr>
                        <a:t>Store</a:t>
                      </a:r>
                    </a:p>
                  </a:txBody>
                  <a:tcPr marL="13500" marR="13500" marT="34290" marB="34290">
                    <a:lnL w="12700" cap="flat" cmpd="sng" algn="ctr">
                      <a:solidFill>
                        <a:srgbClr val="005D28"/>
                      </a:solidFill>
                      <a:prstDash val="solid"/>
                      <a:round/>
                      <a:headEnd type="none" w="med" len="med"/>
                      <a:tailEnd type="none" w="med" len="med"/>
                    </a:lnL>
                    <a:lnR w="12700" cap="flat" cmpd="sng" algn="ctr">
                      <a:solidFill>
                        <a:srgbClr val="005D28"/>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800" b="0" dirty="0">
                          <a:solidFill>
                            <a:schemeClr val="tx1"/>
                          </a:solidFill>
                        </a:rPr>
                        <a:t>Vaccinate recipients</a:t>
                      </a:r>
                      <a:endParaRPr lang="en-ZA" sz="800" b="0" dirty="0">
                        <a:solidFill>
                          <a:schemeClr val="tx1"/>
                        </a:solidFill>
                      </a:endParaRPr>
                    </a:p>
                  </a:txBody>
                  <a:tcPr marL="13500" marR="13500" marT="34290" marB="34290">
                    <a:lnL w="12700" cap="flat" cmpd="sng" algn="ctr">
                      <a:solidFill>
                        <a:srgbClr val="005D28"/>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581774367"/>
                  </a:ext>
                </a:extLst>
              </a:tr>
            </a:tbl>
          </a:graphicData>
        </a:graphic>
      </p:graphicFrame>
      <p:cxnSp>
        <p:nvCxnSpPr>
          <p:cNvPr id="114" name="Straight Connector 113">
            <a:extLst>
              <a:ext uri="{FF2B5EF4-FFF2-40B4-BE49-F238E27FC236}">
                <a16:creationId xmlns:a16="http://schemas.microsoft.com/office/drawing/2014/main" xmlns="" id="{13128639-C047-464F-B7B5-E1209213D34B}"/>
              </a:ext>
            </a:extLst>
          </p:cNvPr>
          <p:cNvCxnSpPr>
            <a:cxnSpLocks/>
          </p:cNvCxnSpPr>
          <p:nvPr/>
        </p:nvCxnSpPr>
        <p:spPr>
          <a:xfrm flipV="1">
            <a:off x="685802" y="1829613"/>
            <a:ext cx="0" cy="109860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xmlns="" id="{CB6C8428-93F9-4DC7-8A44-102AD5086DE6}"/>
              </a:ext>
            </a:extLst>
          </p:cNvPr>
          <p:cNvCxnSpPr>
            <a:cxnSpLocks/>
          </p:cNvCxnSpPr>
          <p:nvPr/>
        </p:nvCxnSpPr>
        <p:spPr>
          <a:xfrm flipV="1">
            <a:off x="2125837" y="1837785"/>
            <a:ext cx="0" cy="1090431"/>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xmlns="" id="{5E8C515C-D645-4815-9216-AF093115ECE0}"/>
              </a:ext>
            </a:extLst>
          </p:cNvPr>
          <p:cNvCxnSpPr>
            <a:cxnSpLocks/>
          </p:cNvCxnSpPr>
          <p:nvPr/>
        </p:nvCxnSpPr>
        <p:spPr>
          <a:xfrm flipV="1">
            <a:off x="5648060" y="1867422"/>
            <a:ext cx="0" cy="1090432"/>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xmlns="" id="{1A0C5618-49E4-4A7E-8BED-EBCE19401F14}"/>
              </a:ext>
            </a:extLst>
          </p:cNvPr>
          <p:cNvSpPr txBox="1"/>
          <p:nvPr/>
        </p:nvSpPr>
        <p:spPr>
          <a:xfrm>
            <a:off x="1208800" y="1873646"/>
            <a:ext cx="405000" cy="21358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lIns="27000" rIns="2700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88" b="1" i="0" u="none" strike="noStrike" kern="1200" cap="none" spc="0" normalizeH="0" baseline="0" noProof="0" dirty="0">
                <a:ln>
                  <a:noFill/>
                </a:ln>
                <a:solidFill>
                  <a:prstClr val="black"/>
                </a:solidFill>
                <a:effectLst/>
                <a:uLnTx/>
                <a:uFillTx/>
                <a:latin typeface="Calibri"/>
                <a:ea typeface="+mn-ea"/>
                <a:cs typeface="+mn-cs"/>
              </a:rPr>
              <a:t>1 Feb</a:t>
            </a:r>
            <a:endParaRPr kumimoji="0" lang="en-ZA" sz="788" b="1" i="0" u="none" strike="noStrike" kern="1200" cap="none" spc="0" normalizeH="0" baseline="0" noProof="0" dirty="0">
              <a:ln>
                <a:noFill/>
              </a:ln>
              <a:solidFill>
                <a:prstClr val="black"/>
              </a:solidFill>
              <a:effectLst/>
              <a:uLnTx/>
              <a:uFillTx/>
              <a:latin typeface="Calibri"/>
              <a:ea typeface="+mn-ea"/>
              <a:cs typeface="+mn-cs"/>
            </a:endParaRPr>
          </a:p>
        </p:txBody>
      </p:sp>
      <p:sp>
        <p:nvSpPr>
          <p:cNvPr id="131" name="TextBox 130">
            <a:extLst>
              <a:ext uri="{FF2B5EF4-FFF2-40B4-BE49-F238E27FC236}">
                <a16:creationId xmlns:a16="http://schemas.microsoft.com/office/drawing/2014/main" xmlns="" id="{76A66A6A-4E36-453A-A8A7-B0D600BB4DC6}"/>
              </a:ext>
            </a:extLst>
          </p:cNvPr>
          <p:cNvSpPr txBox="1"/>
          <p:nvPr/>
        </p:nvSpPr>
        <p:spPr>
          <a:xfrm>
            <a:off x="3770402" y="1873646"/>
            <a:ext cx="405000" cy="21358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lIns="27000" rIns="2700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88" b="1" i="0" u="none" strike="noStrike" kern="1200" cap="none" spc="0" normalizeH="0" baseline="0" noProof="0" dirty="0">
                <a:ln>
                  <a:noFill/>
                </a:ln>
                <a:solidFill>
                  <a:prstClr val="black"/>
                </a:solidFill>
                <a:effectLst/>
                <a:uLnTx/>
                <a:uFillTx/>
                <a:latin typeface="Calibri"/>
                <a:ea typeface="+mn-ea"/>
                <a:cs typeface="+mn-cs"/>
              </a:rPr>
              <a:t>3 Feb</a:t>
            </a:r>
            <a:endParaRPr kumimoji="0" lang="en-ZA" sz="788" b="1" i="0" u="none" strike="noStrike" kern="1200" cap="none" spc="0" normalizeH="0" baseline="0" noProof="0" dirty="0">
              <a:ln>
                <a:noFill/>
              </a:ln>
              <a:solidFill>
                <a:prstClr val="black"/>
              </a:solidFill>
              <a:effectLst/>
              <a:uLnTx/>
              <a:uFillTx/>
              <a:latin typeface="Calibri"/>
              <a:ea typeface="+mn-ea"/>
              <a:cs typeface="+mn-cs"/>
            </a:endParaRPr>
          </a:p>
        </p:txBody>
      </p:sp>
      <p:sp>
        <p:nvSpPr>
          <p:cNvPr id="132" name="TextBox 131">
            <a:extLst>
              <a:ext uri="{FF2B5EF4-FFF2-40B4-BE49-F238E27FC236}">
                <a16:creationId xmlns:a16="http://schemas.microsoft.com/office/drawing/2014/main" xmlns="" id="{DB44F7B1-A995-4BD2-A732-CF59C6763EFE}"/>
              </a:ext>
            </a:extLst>
          </p:cNvPr>
          <p:cNvSpPr txBox="1"/>
          <p:nvPr/>
        </p:nvSpPr>
        <p:spPr>
          <a:xfrm>
            <a:off x="4750083" y="1873646"/>
            <a:ext cx="540000" cy="21358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lIns="27000" rIns="2700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88" b="1" i="0" u="none" strike="noStrike" kern="1200" cap="none" spc="0" normalizeH="0" baseline="0" noProof="0" dirty="0">
                <a:ln>
                  <a:noFill/>
                </a:ln>
                <a:solidFill>
                  <a:prstClr val="black"/>
                </a:solidFill>
                <a:effectLst/>
                <a:uLnTx/>
                <a:uFillTx/>
                <a:latin typeface="Calibri"/>
                <a:ea typeface="+mn-ea"/>
                <a:cs typeface="+mn-cs"/>
              </a:rPr>
              <a:t>4-5 Feb</a:t>
            </a:r>
            <a:endParaRPr kumimoji="0" lang="en-ZA" sz="788" b="1" i="0" u="none" strike="noStrike" kern="1200" cap="none" spc="0" normalizeH="0" baseline="0" noProof="0" dirty="0">
              <a:ln>
                <a:noFill/>
              </a:ln>
              <a:solidFill>
                <a:prstClr val="black"/>
              </a:solidFill>
              <a:effectLst/>
              <a:uLnTx/>
              <a:uFillTx/>
              <a:latin typeface="Calibri"/>
              <a:ea typeface="+mn-ea"/>
              <a:cs typeface="+mn-cs"/>
            </a:endParaRPr>
          </a:p>
        </p:txBody>
      </p:sp>
      <p:sp>
        <p:nvSpPr>
          <p:cNvPr id="134" name="TextBox 133">
            <a:extLst>
              <a:ext uri="{FF2B5EF4-FFF2-40B4-BE49-F238E27FC236}">
                <a16:creationId xmlns:a16="http://schemas.microsoft.com/office/drawing/2014/main" xmlns="" id="{5CD5CD50-EB22-4798-B3D3-DFC693E3AB69}"/>
              </a:ext>
            </a:extLst>
          </p:cNvPr>
          <p:cNvSpPr txBox="1"/>
          <p:nvPr/>
        </p:nvSpPr>
        <p:spPr>
          <a:xfrm>
            <a:off x="5836990" y="1873646"/>
            <a:ext cx="405000" cy="21358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lIns="27000" rIns="2700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88" b="1" i="0" u="none" strike="noStrike" kern="1200" cap="none" spc="0" normalizeH="0" baseline="0" noProof="0" dirty="0">
                <a:ln>
                  <a:noFill/>
                </a:ln>
                <a:solidFill>
                  <a:prstClr val="black"/>
                </a:solidFill>
                <a:effectLst/>
                <a:uLnTx/>
                <a:uFillTx/>
                <a:latin typeface="Calibri"/>
                <a:ea typeface="+mn-ea"/>
                <a:cs typeface="+mn-cs"/>
              </a:rPr>
              <a:t>6 Feb</a:t>
            </a:r>
            <a:endParaRPr kumimoji="0" lang="en-ZA" sz="788" b="1" i="0" u="none" strike="noStrike" kern="1200" cap="none" spc="0" normalizeH="0" baseline="0" noProof="0" dirty="0">
              <a:ln>
                <a:noFill/>
              </a:ln>
              <a:solidFill>
                <a:prstClr val="black"/>
              </a:solidFill>
              <a:effectLst/>
              <a:uLnTx/>
              <a:uFillTx/>
              <a:latin typeface="Calibri"/>
              <a:ea typeface="+mn-ea"/>
              <a:cs typeface="+mn-cs"/>
            </a:endParaRPr>
          </a:p>
        </p:txBody>
      </p:sp>
      <p:sp>
        <p:nvSpPr>
          <p:cNvPr id="136" name="TextBox 135">
            <a:extLst>
              <a:ext uri="{FF2B5EF4-FFF2-40B4-BE49-F238E27FC236}">
                <a16:creationId xmlns:a16="http://schemas.microsoft.com/office/drawing/2014/main" xmlns="" id="{53E98126-097E-49E7-99BC-845D2792B147}"/>
              </a:ext>
            </a:extLst>
          </p:cNvPr>
          <p:cNvSpPr txBox="1"/>
          <p:nvPr/>
        </p:nvSpPr>
        <p:spPr>
          <a:xfrm>
            <a:off x="6529307" y="1876531"/>
            <a:ext cx="432000" cy="21358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lIns="27000" rIns="2700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88" b="1" i="0" u="none" strike="noStrike" kern="1200" cap="none" spc="0" normalizeH="0" baseline="0" noProof="0" dirty="0">
                <a:ln>
                  <a:noFill/>
                </a:ln>
                <a:solidFill>
                  <a:prstClr val="black"/>
                </a:solidFill>
                <a:effectLst/>
                <a:uLnTx/>
                <a:uFillTx/>
                <a:latin typeface="Calibri"/>
                <a:ea typeface="+mn-ea"/>
                <a:cs typeface="+mn-cs"/>
              </a:rPr>
              <a:t>7-8 Feb</a:t>
            </a:r>
            <a:endParaRPr kumimoji="0" lang="en-ZA" sz="788" b="1" i="0" u="none" strike="noStrike" kern="1200" cap="none" spc="0" normalizeH="0" baseline="0" noProof="0" dirty="0">
              <a:ln>
                <a:noFill/>
              </a:ln>
              <a:solidFill>
                <a:prstClr val="black"/>
              </a:solidFill>
              <a:effectLst/>
              <a:uLnTx/>
              <a:uFillTx/>
              <a:latin typeface="Calibri"/>
              <a:ea typeface="+mn-ea"/>
              <a:cs typeface="+mn-cs"/>
            </a:endParaRPr>
          </a:p>
        </p:txBody>
      </p:sp>
      <p:sp>
        <p:nvSpPr>
          <p:cNvPr id="137" name="TextBox 136">
            <a:extLst>
              <a:ext uri="{FF2B5EF4-FFF2-40B4-BE49-F238E27FC236}">
                <a16:creationId xmlns:a16="http://schemas.microsoft.com/office/drawing/2014/main" xmlns="" id="{2B6FEB2E-375E-4651-96A3-0FB62714F1A5}"/>
              </a:ext>
            </a:extLst>
          </p:cNvPr>
          <p:cNvSpPr txBox="1"/>
          <p:nvPr/>
        </p:nvSpPr>
        <p:spPr>
          <a:xfrm>
            <a:off x="8043435" y="1873646"/>
            <a:ext cx="405000" cy="21358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lIns="27000" rIns="2700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88" b="1" i="0" u="none" strike="noStrike" kern="1200" cap="none" spc="0" normalizeH="0" baseline="0" noProof="0" dirty="0">
                <a:ln>
                  <a:noFill/>
                </a:ln>
                <a:solidFill>
                  <a:prstClr val="black"/>
                </a:solidFill>
                <a:effectLst/>
                <a:uLnTx/>
                <a:uFillTx/>
                <a:latin typeface="Calibri"/>
                <a:ea typeface="+mn-ea"/>
                <a:cs typeface="+mn-cs"/>
              </a:rPr>
              <a:t>10 Feb</a:t>
            </a:r>
            <a:endParaRPr kumimoji="0" lang="en-ZA" sz="788" b="1" i="0" u="none" strike="noStrike" kern="1200" cap="none" spc="0" normalizeH="0" baseline="0" noProof="0" dirty="0">
              <a:ln>
                <a:noFill/>
              </a:ln>
              <a:solidFill>
                <a:prstClr val="black"/>
              </a:solidFill>
              <a:effectLst/>
              <a:uLnTx/>
              <a:uFillTx/>
              <a:latin typeface="Calibri"/>
              <a:ea typeface="+mn-ea"/>
              <a:cs typeface="+mn-cs"/>
            </a:endParaRPr>
          </a:p>
        </p:txBody>
      </p:sp>
      <p:sp>
        <p:nvSpPr>
          <p:cNvPr id="138" name="TextBox 137">
            <a:extLst>
              <a:ext uri="{FF2B5EF4-FFF2-40B4-BE49-F238E27FC236}">
                <a16:creationId xmlns:a16="http://schemas.microsoft.com/office/drawing/2014/main" xmlns="" id="{C34DCAB4-4282-46AF-8DDB-DD502175A2D4}"/>
              </a:ext>
            </a:extLst>
          </p:cNvPr>
          <p:cNvSpPr txBox="1"/>
          <p:nvPr/>
        </p:nvSpPr>
        <p:spPr>
          <a:xfrm>
            <a:off x="2780224" y="1873646"/>
            <a:ext cx="405000" cy="21358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lIns="27000" rIns="2700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88" b="1" i="0" u="none" strike="noStrike" kern="1200" cap="none" spc="0" normalizeH="0" baseline="0" noProof="0" dirty="0">
                <a:ln>
                  <a:noFill/>
                </a:ln>
                <a:solidFill>
                  <a:prstClr val="black"/>
                </a:solidFill>
                <a:effectLst/>
                <a:uLnTx/>
                <a:uFillTx/>
                <a:latin typeface="Calibri"/>
                <a:ea typeface="+mn-ea"/>
                <a:cs typeface="+mn-cs"/>
              </a:rPr>
              <a:t>2 Feb</a:t>
            </a:r>
            <a:endParaRPr kumimoji="0" lang="en-ZA" sz="788" b="1" i="0" u="none" strike="noStrike" kern="1200" cap="none" spc="0" normalizeH="0" baseline="0" noProof="0" dirty="0">
              <a:ln>
                <a:noFill/>
              </a:ln>
              <a:solidFill>
                <a:prstClr val="black"/>
              </a:solidFill>
              <a:effectLst/>
              <a:uLnTx/>
              <a:uFillTx/>
              <a:latin typeface="Calibri"/>
              <a:ea typeface="+mn-ea"/>
              <a:cs typeface="+mn-cs"/>
            </a:endParaRPr>
          </a:p>
        </p:txBody>
      </p:sp>
      <p:sp>
        <p:nvSpPr>
          <p:cNvPr id="56" name="TextBox 55">
            <a:extLst>
              <a:ext uri="{FF2B5EF4-FFF2-40B4-BE49-F238E27FC236}">
                <a16:creationId xmlns:a16="http://schemas.microsoft.com/office/drawing/2014/main" xmlns="" id="{066E5F4A-F2E0-401B-9601-00AF39E26553}"/>
              </a:ext>
            </a:extLst>
          </p:cNvPr>
          <p:cNvSpPr txBox="1"/>
          <p:nvPr/>
        </p:nvSpPr>
        <p:spPr>
          <a:xfrm>
            <a:off x="7258424" y="1873646"/>
            <a:ext cx="405000" cy="21358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lIns="27000" rIns="2700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88" b="1" i="0" u="none" strike="noStrike" kern="1200" cap="none" spc="0" normalizeH="0" baseline="0" noProof="0" dirty="0">
                <a:ln>
                  <a:noFill/>
                </a:ln>
                <a:solidFill>
                  <a:prstClr val="black"/>
                </a:solidFill>
                <a:effectLst/>
                <a:uLnTx/>
                <a:uFillTx/>
                <a:latin typeface="Calibri"/>
                <a:ea typeface="+mn-ea"/>
                <a:cs typeface="+mn-cs"/>
              </a:rPr>
              <a:t>9 Feb</a:t>
            </a:r>
            <a:endParaRPr kumimoji="0" lang="en-ZA" sz="788" b="1" i="0" u="none" strike="noStrike" kern="1200" cap="none" spc="0" normalizeH="0" baseline="0" noProof="0" dirty="0">
              <a:ln>
                <a:noFill/>
              </a:ln>
              <a:solidFill>
                <a:prstClr val="black"/>
              </a:solidFill>
              <a:effectLst/>
              <a:uLnTx/>
              <a:uFillTx/>
              <a:latin typeface="Calibri"/>
              <a:ea typeface="+mn-ea"/>
              <a:cs typeface="+mn-cs"/>
            </a:endParaRPr>
          </a:p>
        </p:txBody>
      </p:sp>
      <p:sp>
        <p:nvSpPr>
          <p:cNvPr id="14348" name="TextBox 14347">
            <a:extLst>
              <a:ext uri="{FF2B5EF4-FFF2-40B4-BE49-F238E27FC236}">
                <a16:creationId xmlns:a16="http://schemas.microsoft.com/office/drawing/2014/main" xmlns="" id="{076E9B7D-6343-4289-A61F-6451D494E252}"/>
              </a:ext>
            </a:extLst>
          </p:cNvPr>
          <p:cNvSpPr txBox="1"/>
          <p:nvPr/>
        </p:nvSpPr>
        <p:spPr>
          <a:xfrm>
            <a:off x="719036" y="3977853"/>
            <a:ext cx="1382411"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black"/>
                </a:solidFill>
                <a:effectLst/>
                <a:uLnTx/>
                <a:uFillTx/>
                <a:latin typeface="Calibri"/>
                <a:ea typeface="+mn-ea"/>
                <a:cs typeface="+mn-cs"/>
              </a:rPr>
              <a:t>OR Tambo</a:t>
            </a:r>
            <a:endParaRPr kumimoji="0" lang="en-ZA" sz="1350" b="1" i="0" u="none" strike="noStrike" kern="1200" cap="none" spc="0" normalizeH="0" baseline="0" noProof="0" dirty="0">
              <a:ln>
                <a:noFill/>
              </a:ln>
              <a:solidFill>
                <a:prstClr val="black"/>
              </a:solidFill>
              <a:effectLst/>
              <a:uLnTx/>
              <a:uFillTx/>
              <a:latin typeface="Calibri"/>
              <a:ea typeface="+mn-ea"/>
              <a:cs typeface="+mn-cs"/>
            </a:endParaRPr>
          </a:p>
        </p:txBody>
      </p:sp>
      <p:sp>
        <p:nvSpPr>
          <p:cNvPr id="14349" name="TextBox 14348">
            <a:extLst>
              <a:ext uri="{FF2B5EF4-FFF2-40B4-BE49-F238E27FC236}">
                <a16:creationId xmlns:a16="http://schemas.microsoft.com/office/drawing/2014/main" xmlns="" id="{C93A09C2-229C-4335-AF67-95382C9F548C}"/>
              </a:ext>
            </a:extLst>
          </p:cNvPr>
          <p:cNvSpPr txBox="1"/>
          <p:nvPr/>
        </p:nvSpPr>
        <p:spPr>
          <a:xfrm>
            <a:off x="2135940" y="4161783"/>
            <a:ext cx="4055262"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err="1">
                <a:ln>
                  <a:noFill/>
                </a:ln>
                <a:solidFill>
                  <a:prstClr val="black"/>
                </a:solidFill>
                <a:effectLst/>
                <a:uLnTx/>
                <a:uFillTx/>
                <a:latin typeface="Calibri"/>
                <a:ea typeface="+mn-ea"/>
                <a:cs typeface="+mn-cs"/>
              </a:rPr>
              <a:t>Midrand</a:t>
            </a:r>
            <a:r>
              <a:rPr kumimoji="0" lang="en-US" sz="1350" b="1" i="0" u="none" strike="noStrike" kern="1200" cap="none" spc="0" normalizeH="0" baseline="0" noProof="0" dirty="0">
                <a:ln>
                  <a:noFill/>
                </a:ln>
                <a:solidFill>
                  <a:prstClr val="black"/>
                </a:solidFill>
                <a:effectLst/>
                <a:uLnTx/>
                <a:uFillTx/>
                <a:latin typeface="Calibri"/>
                <a:ea typeface="+mn-ea"/>
                <a:cs typeface="+mn-cs"/>
              </a:rPr>
              <a:t>, Johannesburg</a:t>
            </a:r>
            <a:endParaRPr kumimoji="0" lang="en-ZA" sz="1350" b="1" i="0" u="none" strike="noStrike" kern="1200" cap="none" spc="0" normalizeH="0" baseline="0" noProof="0" dirty="0">
              <a:ln>
                <a:noFill/>
              </a:ln>
              <a:solidFill>
                <a:prstClr val="black"/>
              </a:solidFill>
              <a:effectLst/>
              <a:uLnTx/>
              <a:uFillTx/>
              <a:latin typeface="Calibri"/>
              <a:ea typeface="+mn-ea"/>
              <a:cs typeface="+mn-cs"/>
            </a:endParaRPr>
          </a:p>
        </p:txBody>
      </p:sp>
      <p:sp>
        <p:nvSpPr>
          <p:cNvPr id="14350" name="TextBox 14349">
            <a:extLst>
              <a:ext uri="{FF2B5EF4-FFF2-40B4-BE49-F238E27FC236}">
                <a16:creationId xmlns:a16="http://schemas.microsoft.com/office/drawing/2014/main" xmlns="" id="{5EEFBD51-4417-4C5F-8BBB-4015DE558FC4}"/>
              </a:ext>
            </a:extLst>
          </p:cNvPr>
          <p:cNvSpPr txBox="1"/>
          <p:nvPr/>
        </p:nvSpPr>
        <p:spPr>
          <a:xfrm>
            <a:off x="3589122" y="3669105"/>
            <a:ext cx="2064025" cy="300082"/>
          </a:xfrm>
          <a:prstGeom prst="rect">
            <a:avLst/>
          </a:prstGeom>
          <a:noFill/>
          <a:ln>
            <a:solidFill>
              <a:schemeClr val="accent1"/>
            </a:solid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black"/>
                </a:solidFill>
                <a:effectLst/>
                <a:uLnTx/>
                <a:uFillTx/>
                <a:latin typeface="Calibri"/>
                <a:ea typeface="+mn-ea"/>
                <a:cs typeface="+mn-cs"/>
              </a:rPr>
              <a:t>Bloemfontein</a:t>
            </a:r>
            <a:endParaRPr kumimoji="0" lang="en-ZA" sz="1350" b="1" i="0" u="none" strike="noStrike" kern="1200" cap="none" spc="0" normalizeH="0" baseline="0" noProof="0" dirty="0">
              <a:ln>
                <a:noFill/>
              </a:ln>
              <a:solidFill>
                <a:prstClr val="black"/>
              </a:solidFill>
              <a:effectLst/>
              <a:uLnTx/>
              <a:uFillTx/>
              <a:latin typeface="Calibri"/>
              <a:ea typeface="+mn-ea"/>
              <a:cs typeface="+mn-cs"/>
            </a:endParaRPr>
          </a:p>
        </p:txBody>
      </p:sp>
      <p:sp>
        <p:nvSpPr>
          <p:cNvPr id="14352" name="TextBox 14351">
            <a:extLst>
              <a:ext uri="{FF2B5EF4-FFF2-40B4-BE49-F238E27FC236}">
                <a16:creationId xmlns:a16="http://schemas.microsoft.com/office/drawing/2014/main" xmlns="" id="{99E0ABD6-BC45-41CC-89FD-D471CDA4777C}"/>
              </a:ext>
            </a:extLst>
          </p:cNvPr>
          <p:cNvSpPr txBox="1"/>
          <p:nvPr/>
        </p:nvSpPr>
        <p:spPr>
          <a:xfrm>
            <a:off x="7096728" y="3672229"/>
            <a:ext cx="1467629" cy="276999"/>
          </a:xfrm>
          <a:prstGeom prst="rect">
            <a:avLst/>
          </a:prstGeom>
          <a:noFill/>
          <a:ln>
            <a:solidFill>
              <a:schemeClr val="accent1">
                <a:shade val="95000"/>
                <a:satMod val="105000"/>
              </a:schemeClr>
            </a:solid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Vaccination sites</a:t>
            </a:r>
            <a:endParaRPr kumimoji="0" lang="en-ZA" sz="1200" b="1" i="0" u="none" strike="noStrike" kern="1200" cap="none" spc="0" normalizeH="0" baseline="0" noProof="0" dirty="0">
              <a:ln>
                <a:noFill/>
              </a:ln>
              <a:solidFill>
                <a:prstClr val="black"/>
              </a:solidFill>
              <a:effectLst/>
              <a:uLnTx/>
              <a:uFillTx/>
              <a:latin typeface="Calibri"/>
              <a:ea typeface="+mn-ea"/>
              <a:cs typeface="+mn-cs"/>
            </a:endParaRPr>
          </a:p>
        </p:txBody>
      </p:sp>
      <p:sp>
        <p:nvSpPr>
          <p:cNvPr id="14353" name="TextBox 14352">
            <a:extLst>
              <a:ext uri="{FF2B5EF4-FFF2-40B4-BE49-F238E27FC236}">
                <a16:creationId xmlns:a16="http://schemas.microsoft.com/office/drawing/2014/main" xmlns="" id="{C1E63191-D838-4E65-8F4D-8F299E3DBB4A}"/>
              </a:ext>
            </a:extLst>
          </p:cNvPr>
          <p:cNvSpPr txBox="1"/>
          <p:nvPr/>
        </p:nvSpPr>
        <p:spPr>
          <a:xfrm rot="16200000">
            <a:off x="29254" y="3126711"/>
            <a:ext cx="637799" cy="30008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black"/>
                </a:solidFill>
                <a:effectLst/>
                <a:uLnTx/>
                <a:uFillTx/>
                <a:latin typeface="Calibri"/>
                <a:ea typeface="+mn-ea"/>
                <a:cs typeface="+mn-cs"/>
              </a:rPr>
              <a:t>WHAT</a:t>
            </a:r>
            <a:endParaRPr kumimoji="0" lang="en-ZA"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100" name="TextBox 99">
            <a:extLst>
              <a:ext uri="{FF2B5EF4-FFF2-40B4-BE49-F238E27FC236}">
                <a16:creationId xmlns:a16="http://schemas.microsoft.com/office/drawing/2014/main" xmlns="" id="{0BDEEA95-C3FD-4A84-B9D2-38A1589891DC}"/>
              </a:ext>
            </a:extLst>
          </p:cNvPr>
          <p:cNvSpPr txBox="1"/>
          <p:nvPr/>
        </p:nvSpPr>
        <p:spPr>
          <a:xfrm rot="16200000">
            <a:off x="-34046" y="4001251"/>
            <a:ext cx="764398" cy="30008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black"/>
                </a:solidFill>
                <a:effectLst/>
                <a:uLnTx/>
                <a:uFillTx/>
                <a:latin typeface="Calibri"/>
                <a:ea typeface="+mn-ea"/>
                <a:cs typeface="+mn-cs"/>
              </a:rPr>
              <a:t>WHERE</a:t>
            </a:r>
            <a:endParaRPr kumimoji="0" lang="en-ZA"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101" name="TextBox 100">
            <a:extLst>
              <a:ext uri="{FF2B5EF4-FFF2-40B4-BE49-F238E27FC236}">
                <a16:creationId xmlns:a16="http://schemas.microsoft.com/office/drawing/2014/main" xmlns="" id="{D55E15A3-736E-4F1B-91F4-586DAFEE65F5}"/>
              </a:ext>
            </a:extLst>
          </p:cNvPr>
          <p:cNvSpPr txBox="1"/>
          <p:nvPr/>
        </p:nvSpPr>
        <p:spPr>
          <a:xfrm rot="16200000">
            <a:off x="64653" y="4824150"/>
            <a:ext cx="567000" cy="30008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black"/>
                </a:solidFill>
                <a:effectLst/>
                <a:uLnTx/>
                <a:uFillTx/>
                <a:latin typeface="Calibri"/>
                <a:ea typeface="+mn-ea"/>
                <a:cs typeface="+mn-cs"/>
              </a:rPr>
              <a:t>WHO</a:t>
            </a:r>
            <a:endParaRPr kumimoji="0" lang="en-ZA" sz="135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14357" name="Straight Connector 14356">
            <a:extLst>
              <a:ext uri="{FF2B5EF4-FFF2-40B4-BE49-F238E27FC236}">
                <a16:creationId xmlns:a16="http://schemas.microsoft.com/office/drawing/2014/main" xmlns="" id="{7B2341C7-5F2E-42DA-8BE3-DC8CE1D5127F}"/>
              </a:ext>
            </a:extLst>
          </p:cNvPr>
          <p:cNvCxnSpPr>
            <a:cxnSpLocks/>
          </p:cNvCxnSpPr>
          <p:nvPr/>
        </p:nvCxnSpPr>
        <p:spPr>
          <a:xfrm flipV="1">
            <a:off x="-4258" y="3665976"/>
            <a:ext cx="8569614" cy="9309"/>
          </a:xfrm>
          <a:prstGeom prst="line">
            <a:avLst/>
          </a:prstGeom>
        </p:spPr>
        <p:style>
          <a:lnRef idx="1">
            <a:schemeClr val="accent1"/>
          </a:lnRef>
          <a:fillRef idx="0">
            <a:schemeClr val="accent1"/>
          </a:fillRef>
          <a:effectRef idx="0">
            <a:schemeClr val="accent1"/>
          </a:effectRef>
          <a:fontRef idx="minor">
            <a:schemeClr val="tx1"/>
          </a:fontRef>
        </p:style>
      </p:cxnSp>
      <p:cxnSp>
        <p:nvCxnSpPr>
          <p:cNvPr id="14361" name="Straight Connector 14360">
            <a:extLst>
              <a:ext uri="{FF2B5EF4-FFF2-40B4-BE49-F238E27FC236}">
                <a16:creationId xmlns:a16="http://schemas.microsoft.com/office/drawing/2014/main" xmlns="" id="{2EBC7C4F-4211-413D-95B1-B00BC08130E4}"/>
              </a:ext>
            </a:extLst>
          </p:cNvPr>
          <p:cNvCxnSpPr>
            <a:cxnSpLocks/>
          </p:cNvCxnSpPr>
          <p:nvPr/>
        </p:nvCxnSpPr>
        <p:spPr>
          <a:xfrm>
            <a:off x="686978" y="3682429"/>
            <a:ext cx="0" cy="9571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367" name="Straight Connector 14366">
            <a:extLst>
              <a:ext uri="{FF2B5EF4-FFF2-40B4-BE49-F238E27FC236}">
                <a16:creationId xmlns:a16="http://schemas.microsoft.com/office/drawing/2014/main" xmlns="" id="{1742E45C-0A28-4B52-BFB6-A698DD3EB2FA}"/>
              </a:ext>
            </a:extLst>
          </p:cNvPr>
          <p:cNvCxnSpPr>
            <a:cxnSpLocks/>
          </p:cNvCxnSpPr>
          <p:nvPr/>
        </p:nvCxnSpPr>
        <p:spPr>
          <a:xfrm flipV="1">
            <a:off x="1" y="4605118"/>
            <a:ext cx="8577830" cy="22307"/>
          </a:xfrm>
          <a:prstGeom prst="line">
            <a:avLst/>
          </a:prstGeom>
        </p:spPr>
        <p:style>
          <a:lnRef idx="1">
            <a:schemeClr val="accent1"/>
          </a:lnRef>
          <a:fillRef idx="0">
            <a:schemeClr val="accent1"/>
          </a:fillRef>
          <a:effectRef idx="0">
            <a:schemeClr val="accent1"/>
          </a:effectRef>
          <a:fontRef idx="minor">
            <a:schemeClr val="tx1"/>
          </a:fontRef>
        </p:style>
      </p:cxnSp>
      <p:cxnSp>
        <p:nvCxnSpPr>
          <p:cNvPr id="14371" name="Straight Connector 14370">
            <a:extLst>
              <a:ext uri="{FF2B5EF4-FFF2-40B4-BE49-F238E27FC236}">
                <a16:creationId xmlns:a16="http://schemas.microsoft.com/office/drawing/2014/main" xmlns="" id="{172C6722-437D-48EA-AC1A-E1BFD4BB9F83}"/>
              </a:ext>
            </a:extLst>
          </p:cNvPr>
          <p:cNvCxnSpPr>
            <a:cxnSpLocks/>
          </p:cNvCxnSpPr>
          <p:nvPr/>
        </p:nvCxnSpPr>
        <p:spPr>
          <a:xfrm>
            <a:off x="2118693" y="3685237"/>
            <a:ext cx="0" cy="925418"/>
          </a:xfrm>
          <a:prstGeom prst="line">
            <a:avLst/>
          </a:prstGeom>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xmlns="" id="{BC1F50FF-9E84-47FC-A834-8E42FF8D3392}"/>
              </a:ext>
            </a:extLst>
          </p:cNvPr>
          <p:cNvCxnSpPr>
            <a:cxnSpLocks/>
          </p:cNvCxnSpPr>
          <p:nvPr/>
        </p:nvCxnSpPr>
        <p:spPr>
          <a:xfrm flipV="1">
            <a:off x="-38807" y="5308843"/>
            <a:ext cx="8667000" cy="22307"/>
          </a:xfrm>
          <a:prstGeom prst="line">
            <a:avLst/>
          </a:prstGeom>
          <a:ln w="47625">
            <a:solidFill>
              <a:srgbClr val="005D28"/>
            </a:solidFill>
          </a:ln>
        </p:spPr>
        <p:style>
          <a:lnRef idx="1">
            <a:schemeClr val="accent1"/>
          </a:lnRef>
          <a:fillRef idx="0">
            <a:schemeClr val="accent1"/>
          </a:fillRef>
          <a:effectRef idx="0">
            <a:schemeClr val="accent1"/>
          </a:effectRef>
          <a:fontRef idx="minor">
            <a:schemeClr val="tx1"/>
          </a:fontRef>
        </p:style>
      </p:cxnSp>
      <p:pic>
        <p:nvPicPr>
          <p:cNvPr id="70" name="Picture 69">
            <a:extLst>
              <a:ext uri="{FF2B5EF4-FFF2-40B4-BE49-F238E27FC236}">
                <a16:creationId xmlns:a16="http://schemas.microsoft.com/office/drawing/2014/main" xmlns="" id="{54E7EB67-ACF1-4D50-9039-48217B619363}"/>
              </a:ext>
            </a:extLst>
          </p:cNvPr>
          <p:cNvPicPr>
            <a:picLocks noChangeAspect="1"/>
          </p:cNvPicPr>
          <p:nvPr/>
        </p:nvPicPr>
        <p:blipFill>
          <a:blip r:embed="rId15" cstate="print"/>
          <a:stretch>
            <a:fillRect/>
          </a:stretch>
        </p:blipFill>
        <p:spPr>
          <a:xfrm>
            <a:off x="2348224" y="4656149"/>
            <a:ext cx="864000" cy="648000"/>
          </a:xfrm>
          <a:prstGeom prst="rect">
            <a:avLst/>
          </a:prstGeom>
        </p:spPr>
      </p:pic>
      <p:cxnSp>
        <p:nvCxnSpPr>
          <p:cNvPr id="60" name="Straight Connector 59">
            <a:extLst>
              <a:ext uri="{FF2B5EF4-FFF2-40B4-BE49-F238E27FC236}">
                <a16:creationId xmlns:a16="http://schemas.microsoft.com/office/drawing/2014/main" xmlns="" id="{58F5F9DE-445D-4E87-90F9-59CC13C23B20}"/>
              </a:ext>
            </a:extLst>
          </p:cNvPr>
          <p:cNvCxnSpPr>
            <a:cxnSpLocks/>
          </p:cNvCxnSpPr>
          <p:nvPr/>
        </p:nvCxnSpPr>
        <p:spPr>
          <a:xfrm flipV="1">
            <a:off x="6409042" y="1867422"/>
            <a:ext cx="0" cy="109043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xmlns="" id="{98890C2C-68CA-4D64-B5AC-8AC7C60C76E0}"/>
              </a:ext>
            </a:extLst>
          </p:cNvPr>
          <p:cNvCxnSpPr>
            <a:cxnSpLocks/>
          </p:cNvCxnSpPr>
          <p:nvPr/>
        </p:nvCxnSpPr>
        <p:spPr>
          <a:xfrm flipV="1">
            <a:off x="7096728" y="1847051"/>
            <a:ext cx="0" cy="109043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xmlns="" id="{A379E29B-418C-46B0-9F76-C056EBA8B733}"/>
              </a:ext>
            </a:extLst>
          </p:cNvPr>
          <p:cNvCxnSpPr>
            <a:cxnSpLocks/>
          </p:cNvCxnSpPr>
          <p:nvPr/>
        </p:nvCxnSpPr>
        <p:spPr>
          <a:xfrm flipV="1">
            <a:off x="7873511" y="1847052"/>
            <a:ext cx="0" cy="109043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xmlns="" id="{5279C28B-ABA5-49C5-AA89-3C06E8093F8D}"/>
              </a:ext>
            </a:extLst>
          </p:cNvPr>
          <p:cNvCxnSpPr>
            <a:cxnSpLocks/>
          </p:cNvCxnSpPr>
          <p:nvPr/>
        </p:nvCxnSpPr>
        <p:spPr>
          <a:xfrm flipV="1">
            <a:off x="3596266" y="1867422"/>
            <a:ext cx="0" cy="1090431"/>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xmlns="" id="{CC2752F8-0B96-4D9C-A76E-AC15D8C4C764}"/>
              </a:ext>
            </a:extLst>
          </p:cNvPr>
          <p:cNvCxnSpPr>
            <a:cxnSpLocks/>
          </p:cNvCxnSpPr>
          <p:nvPr/>
        </p:nvCxnSpPr>
        <p:spPr>
          <a:xfrm flipV="1">
            <a:off x="4289210" y="1859249"/>
            <a:ext cx="0" cy="1090431"/>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xmlns="" id="{2179BA83-0F78-456D-AEB1-A7BD14D8C29B}"/>
              </a:ext>
            </a:extLst>
          </p:cNvPr>
          <p:cNvSpPr txBox="1"/>
          <p:nvPr/>
        </p:nvSpPr>
        <p:spPr>
          <a:xfrm>
            <a:off x="6211007" y="4763215"/>
            <a:ext cx="2404352"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black"/>
                </a:solidFill>
                <a:effectLst/>
                <a:uLnTx/>
                <a:uFillTx/>
                <a:latin typeface="Calibri"/>
                <a:ea typeface="+mn-ea"/>
                <a:cs typeface="+mn-cs"/>
              </a:rPr>
              <a:t>Provinces</a:t>
            </a:r>
            <a:endParaRPr kumimoji="0" lang="en-ZA" sz="1350" b="1" i="0" u="none" strike="noStrike" kern="1200" cap="none" spc="0" normalizeH="0" baseline="0" noProof="0" dirty="0">
              <a:ln>
                <a:noFill/>
              </a:ln>
              <a:solidFill>
                <a:prstClr val="black"/>
              </a:solidFill>
              <a:effectLst/>
              <a:uLnTx/>
              <a:uFillTx/>
              <a:latin typeface="Calibri"/>
              <a:ea typeface="+mn-ea"/>
              <a:cs typeface="+mn-cs"/>
            </a:endParaRPr>
          </a:p>
        </p:txBody>
      </p:sp>
      <p:cxnSp>
        <p:nvCxnSpPr>
          <p:cNvPr id="50" name="Straight Connector 49">
            <a:extLst>
              <a:ext uri="{FF2B5EF4-FFF2-40B4-BE49-F238E27FC236}">
                <a16:creationId xmlns:a16="http://schemas.microsoft.com/office/drawing/2014/main" xmlns="" id="{3EC989F7-E166-4B82-AE57-510C53371426}"/>
              </a:ext>
            </a:extLst>
          </p:cNvPr>
          <p:cNvCxnSpPr>
            <a:stCxn id="14350" idx="3"/>
          </p:cNvCxnSpPr>
          <p:nvPr/>
        </p:nvCxnSpPr>
        <p:spPr>
          <a:xfrm>
            <a:off x="5653147" y="3819146"/>
            <a:ext cx="0" cy="148500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6291258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6B6B51E-241D-42AF-844D-6CE4323F7FB2}"/>
              </a:ext>
            </a:extLst>
          </p:cNvPr>
          <p:cNvSpPr>
            <a:spLocks noGrp="1"/>
          </p:cNvSpPr>
          <p:nvPr>
            <p:ph type="ctrTitle"/>
          </p:nvPr>
        </p:nvSpPr>
        <p:spPr/>
        <p:txBody>
          <a:bodyPr>
            <a:normAutofit/>
          </a:bodyPr>
          <a:lstStyle/>
          <a:p>
            <a:r>
              <a:rPr lang="en-GB" sz="2400" dirty="0"/>
              <a:t>Functional processes </a:t>
            </a:r>
          </a:p>
        </p:txBody>
      </p:sp>
      <p:graphicFrame>
        <p:nvGraphicFramePr>
          <p:cNvPr id="13" name="Diagram 12">
            <a:extLst>
              <a:ext uri="{FF2B5EF4-FFF2-40B4-BE49-F238E27FC236}">
                <a16:creationId xmlns:a16="http://schemas.microsoft.com/office/drawing/2014/main" xmlns="" id="{70CD9BFE-FDCC-437B-AD57-8AE20F1FEEB1}"/>
              </a:ext>
            </a:extLst>
          </p:cNvPr>
          <p:cNvGraphicFramePr/>
          <p:nvPr/>
        </p:nvGraphicFramePr>
        <p:xfrm>
          <a:off x="342900" y="889000"/>
          <a:ext cx="8505824" cy="5130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5" name="Picture 14">
            <a:extLst>
              <a:ext uri="{FF2B5EF4-FFF2-40B4-BE49-F238E27FC236}">
                <a16:creationId xmlns:a16="http://schemas.microsoft.com/office/drawing/2014/main" xmlns="" id="{2958D30C-AFA4-4B65-8B13-7CEDEFF70392}"/>
              </a:ext>
            </a:extLst>
          </p:cNvPr>
          <p:cNvPicPr>
            <a:picLocks noChangeAspect="1"/>
          </p:cNvPicPr>
          <p:nvPr/>
        </p:nvPicPr>
        <p:blipFill rotWithShape="1">
          <a:blip r:embed="rId7" cstate="print">
            <a:alphaModFix amt="35000"/>
          </a:blip>
          <a:srcRect b="20821"/>
          <a:stretch/>
        </p:blipFill>
        <p:spPr>
          <a:xfrm>
            <a:off x="3210952" y="3530985"/>
            <a:ext cx="1106726" cy="876300"/>
          </a:xfrm>
          <a:prstGeom prst="rect">
            <a:avLst/>
          </a:prstGeom>
        </p:spPr>
      </p:pic>
      <p:pic>
        <p:nvPicPr>
          <p:cNvPr id="16" name="Picture 15">
            <a:extLst>
              <a:ext uri="{FF2B5EF4-FFF2-40B4-BE49-F238E27FC236}">
                <a16:creationId xmlns:a16="http://schemas.microsoft.com/office/drawing/2014/main" xmlns="" id="{3E009A78-0F0E-4FFA-AEB2-3C3024FCA60B}"/>
              </a:ext>
            </a:extLst>
          </p:cNvPr>
          <p:cNvPicPr>
            <a:picLocks noChangeAspect="1"/>
          </p:cNvPicPr>
          <p:nvPr/>
        </p:nvPicPr>
        <p:blipFill rotWithShape="1">
          <a:blip r:embed="rId7" cstate="print">
            <a:alphaModFix amt="35000"/>
          </a:blip>
          <a:srcRect b="20821"/>
          <a:stretch/>
        </p:blipFill>
        <p:spPr>
          <a:xfrm>
            <a:off x="7185730" y="3500700"/>
            <a:ext cx="1106726" cy="876300"/>
          </a:xfrm>
          <a:prstGeom prst="rect">
            <a:avLst/>
          </a:prstGeom>
        </p:spPr>
      </p:pic>
      <p:pic>
        <p:nvPicPr>
          <p:cNvPr id="18" name="Picture 17">
            <a:extLst>
              <a:ext uri="{FF2B5EF4-FFF2-40B4-BE49-F238E27FC236}">
                <a16:creationId xmlns:a16="http://schemas.microsoft.com/office/drawing/2014/main" xmlns="" id="{B6A7F690-6C76-4CCB-819B-00E6A6F14CE4}"/>
              </a:ext>
            </a:extLst>
          </p:cNvPr>
          <p:cNvPicPr>
            <a:picLocks noChangeAspect="1"/>
          </p:cNvPicPr>
          <p:nvPr/>
        </p:nvPicPr>
        <p:blipFill rotWithShape="1">
          <a:blip r:embed="rId8" cstate="print">
            <a:alphaModFix amt="35000"/>
          </a:blip>
          <a:srcRect b="19795"/>
          <a:stretch/>
        </p:blipFill>
        <p:spPr>
          <a:xfrm>
            <a:off x="1744392" y="1958562"/>
            <a:ext cx="1206305" cy="967518"/>
          </a:xfrm>
          <a:prstGeom prst="rect">
            <a:avLst/>
          </a:prstGeom>
        </p:spPr>
      </p:pic>
      <p:pic>
        <p:nvPicPr>
          <p:cNvPr id="20" name="Picture 19">
            <a:extLst>
              <a:ext uri="{FF2B5EF4-FFF2-40B4-BE49-F238E27FC236}">
                <a16:creationId xmlns:a16="http://schemas.microsoft.com/office/drawing/2014/main" xmlns="" id="{DE40DD0C-DE4A-4424-AB19-145CD6B2D2D9}"/>
              </a:ext>
            </a:extLst>
          </p:cNvPr>
          <p:cNvPicPr>
            <a:picLocks noChangeAspect="1"/>
          </p:cNvPicPr>
          <p:nvPr/>
        </p:nvPicPr>
        <p:blipFill rotWithShape="1">
          <a:blip r:embed="rId9" cstate="print">
            <a:alphaModFix amt="35000"/>
          </a:blip>
          <a:srcRect b="12963"/>
          <a:stretch/>
        </p:blipFill>
        <p:spPr>
          <a:xfrm>
            <a:off x="4849255" y="2049780"/>
            <a:ext cx="956415" cy="832435"/>
          </a:xfrm>
          <a:prstGeom prst="rect">
            <a:avLst/>
          </a:prstGeom>
        </p:spPr>
      </p:pic>
      <p:pic>
        <p:nvPicPr>
          <p:cNvPr id="22" name="Picture 21">
            <a:extLst>
              <a:ext uri="{FF2B5EF4-FFF2-40B4-BE49-F238E27FC236}">
                <a16:creationId xmlns:a16="http://schemas.microsoft.com/office/drawing/2014/main" xmlns="" id="{306C4C6E-8D50-432F-BD03-1A872087D778}"/>
              </a:ext>
            </a:extLst>
          </p:cNvPr>
          <p:cNvPicPr>
            <a:picLocks noChangeAspect="1"/>
          </p:cNvPicPr>
          <p:nvPr/>
        </p:nvPicPr>
        <p:blipFill>
          <a:blip r:embed="rId10" cstate="print">
            <a:alphaModFix amt="35000"/>
          </a:blip>
          <a:stretch>
            <a:fillRect/>
          </a:stretch>
        </p:blipFill>
        <p:spPr>
          <a:xfrm>
            <a:off x="8173329" y="2323194"/>
            <a:ext cx="595670" cy="595670"/>
          </a:xfrm>
          <a:prstGeom prst="rect">
            <a:avLst/>
          </a:prstGeom>
        </p:spPr>
      </p:pic>
      <p:sp>
        <p:nvSpPr>
          <p:cNvPr id="3" name="TextBox 2">
            <a:extLst>
              <a:ext uri="{FF2B5EF4-FFF2-40B4-BE49-F238E27FC236}">
                <a16:creationId xmlns:a16="http://schemas.microsoft.com/office/drawing/2014/main" xmlns="" id="{2ED1E5EF-6801-4F08-8FBA-30EFCB714C2D}"/>
              </a:ext>
            </a:extLst>
          </p:cNvPr>
          <p:cNvSpPr txBox="1"/>
          <p:nvPr/>
        </p:nvSpPr>
        <p:spPr>
          <a:xfrm>
            <a:off x="2100958" y="5584488"/>
            <a:ext cx="6336704" cy="870623"/>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entury Gothic"/>
                <a:ea typeface="+mn-ea"/>
                <a:cs typeface="+mn-cs"/>
              </a:rPr>
              <a:t>Above processes </a:t>
            </a:r>
            <a:r>
              <a:rPr kumimoji="0" lang="en-GB" sz="1800" b="1" i="0" u="none" strike="noStrike" kern="1200" cap="none" spc="0" normalizeH="0" baseline="0" noProof="0" dirty="0">
                <a:ln>
                  <a:noFill/>
                </a:ln>
                <a:solidFill>
                  <a:prstClr val="black"/>
                </a:solidFill>
                <a:effectLst/>
                <a:uLnTx/>
                <a:uFillTx/>
                <a:latin typeface="Century Gothic"/>
                <a:ea typeface="+mn-ea"/>
                <a:cs typeface="+mn-cs"/>
              </a:rPr>
              <a:t>supported</a:t>
            </a:r>
            <a:r>
              <a:rPr kumimoji="0" lang="en-GB" sz="1800" b="0" i="0" u="none" strike="noStrike" kern="1200" cap="none" spc="0" normalizeH="0" baseline="0" noProof="0" dirty="0">
                <a:ln>
                  <a:noFill/>
                </a:ln>
                <a:solidFill>
                  <a:prstClr val="black"/>
                </a:solidFill>
                <a:effectLst/>
                <a:uLnTx/>
                <a:uFillTx/>
                <a:latin typeface="Century Gothic"/>
                <a:ea typeface="+mn-ea"/>
                <a:cs typeface="+mn-cs"/>
              </a:rPr>
              <a:t> by adequate </a:t>
            </a:r>
            <a:r>
              <a:rPr kumimoji="0" lang="en-GB" sz="1800" b="1" i="0" u="none" strike="noStrike" kern="1200" cap="none" spc="0" normalizeH="0" baseline="0" noProof="0" dirty="0">
                <a:ln>
                  <a:noFill/>
                </a:ln>
                <a:solidFill>
                  <a:prstClr val="black"/>
                </a:solidFill>
                <a:effectLst/>
                <a:uLnTx/>
                <a:uFillTx/>
                <a:latin typeface="Century Gothic"/>
                <a:ea typeface="+mn-ea"/>
                <a:cs typeface="+mn-cs"/>
              </a:rPr>
              <a:t>supplies</a:t>
            </a:r>
            <a:r>
              <a:rPr kumimoji="0" lang="en-GB" sz="1800" b="0" i="0" u="none" strike="noStrike" kern="1200" cap="none" spc="0" normalizeH="0" baseline="0" noProof="0" dirty="0">
                <a:ln>
                  <a:noFill/>
                </a:ln>
                <a:solidFill>
                  <a:prstClr val="black"/>
                </a:solidFill>
                <a:effectLst/>
                <a:uLnTx/>
                <a:uFillTx/>
                <a:latin typeface="Century Gothic"/>
                <a:ea typeface="+mn-ea"/>
                <a:cs typeface="+mn-cs"/>
              </a:rPr>
              <a:t>, </a:t>
            </a:r>
            <a:r>
              <a:rPr kumimoji="0" lang="en-GB" sz="1800" b="1" i="0" u="none" strike="noStrike" kern="1200" cap="none" spc="0" normalizeH="0" baseline="0" noProof="0" dirty="0">
                <a:ln>
                  <a:noFill/>
                </a:ln>
                <a:solidFill>
                  <a:prstClr val="black"/>
                </a:solidFill>
                <a:effectLst/>
                <a:uLnTx/>
                <a:uFillTx/>
                <a:latin typeface="Century Gothic"/>
                <a:ea typeface="+mn-ea"/>
                <a:cs typeface="+mn-cs"/>
              </a:rPr>
              <a:t>infrastructure</a:t>
            </a:r>
            <a:r>
              <a:rPr kumimoji="0" lang="en-GB" sz="1800" b="0" i="0" u="none" strike="noStrike" kern="1200" cap="none" spc="0" normalizeH="0" baseline="0" noProof="0" dirty="0">
                <a:ln>
                  <a:noFill/>
                </a:ln>
                <a:solidFill>
                  <a:prstClr val="black"/>
                </a:solidFill>
                <a:effectLst/>
                <a:uLnTx/>
                <a:uFillTx/>
                <a:latin typeface="Century Gothic"/>
                <a:ea typeface="+mn-ea"/>
                <a:cs typeface="+mn-cs"/>
              </a:rPr>
              <a:t>, skilled </a:t>
            </a:r>
            <a:r>
              <a:rPr kumimoji="0" lang="en-GB" sz="1800" b="1" i="0" u="none" strike="noStrike" kern="1200" cap="none" spc="0" normalizeH="0" baseline="0" noProof="0" dirty="0">
                <a:ln>
                  <a:noFill/>
                </a:ln>
                <a:solidFill>
                  <a:prstClr val="black"/>
                </a:solidFill>
                <a:effectLst/>
                <a:uLnTx/>
                <a:uFillTx/>
                <a:latin typeface="Century Gothic"/>
                <a:ea typeface="+mn-ea"/>
                <a:cs typeface="+mn-cs"/>
              </a:rPr>
              <a:t>people</a:t>
            </a:r>
            <a:r>
              <a:rPr kumimoji="0" lang="en-GB" sz="1800" b="0" i="0" u="none" strike="noStrike" kern="1200" cap="none" spc="0" normalizeH="0" baseline="0" noProof="0" dirty="0">
                <a:ln>
                  <a:noFill/>
                </a:ln>
                <a:solidFill>
                  <a:prstClr val="black"/>
                </a:solidFill>
                <a:effectLst/>
                <a:uLnTx/>
                <a:uFillTx/>
                <a:latin typeface="Century Gothic"/>
                <a:ea typeface="+mn-ea"/>
                <a:cs typeface="+mn-cs"/>
              </a:rPr>
              <a:t> and </a:t>
            </a:r>
            <a:r>
              <a:rPr kumimoji="0" lang="en-GB" sz="1800" b="1" i="0" u="none" strike="noStrike" kern="1200" cap="none" spc="0" normalizeH="0" baseline="0" noProof="0" dirty="0">
                <a:ln>
                  <a:noFill/>
                </a:ln>
                <a:solidFill>
                  <a:prstClr val="black"/>
                </a:solidFill>
                <a:effectLst/>
                <a:uLnTx/>
                <a:uFillTx/>
                <a:latin typeface="Century Gothic"/>
                <a:ea typeface="+mn-ea"/>
                <a:cs typeface="+mn-cs"/>
              </a:rPr>
              <a:t>data systems </a:t>
            </a:r>
          </a:p>
        </p:txBody>
      </p:sp>
    </p:spTree>
    <p:extLst>
      <p:ext uri="{BB962C8B-B14F-4D97-AF65-F5344CB8AC3E}">
        <p14:creationId xmlns:p14="http://schemas.microsoft.com/office/powerpoint/2010/main" xmlns="" val="20324719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xmlns="" id="{83592814-711D-436E-9D7A-34914CC72343}"/>
              </a:ext>
            </a:extLst>
          </p:cNvPr>
          <p:cNvSpPr txBox="1">
            <a:spLocks/>
          </p:cNvSpPr>
          <p:nvPr/>
        </p:nvSpPr>
        <p:spPr>
          <a:xfrm>
            <a:off x="44401" y="108454"/>
            <a:ext cx="9055197" cy="419442"/>
          </a:xfrm>
          <a:prstGeom prst="rect">
            <a:avLst/>
          </a:prstGeom>
        </p:spPr>
        <p:txBody>
          <a:bodyPr wrap="none">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en-ZA" sz="2400" b="1" i="0" u="none" strike="noStrike" kern="1200" cap="none" spc="0" normalizeH="0" baseline="0" noProof="0" dirty="0">
                <a:ln>
                  <a:noFill/>
                </a:ln>
                <a:solidFill>
                  <a:srgbClr val="003399"/>
                </a:solidFill>
                <a:effectLst/>
                <a:uLnTx/>
                <a:uFillTx/>
                <a:latin typeface="Century Gothic" pitchFamily="34" charset="0"/>
                <a:ea typeface="+mj-ea"/>
                <a:cs typeface="+mj-cs"/>
              </a:rPr>
              <a:t>Integrated testing, case, hospitalisation and mortality trends</a:t>
            </a:r>
          </a:p>
        </p:txBody>
      </p:sp>
      <p:pic>
        <p:nvPicPr>
          <p:cNvPr id="2" name="Picture 1">
            <a:extLst>
              <a:ext uri="{FF2B5EF4-FFF2-40B4-BE49-F238E27FC236}">
                <a16:creationId xmlns:a16="http://schemas.microsoft.com/office/drawing/2014/main" xmlns="" id="{F356CBAA-F06F-422D-9EB7-5AE4B102B9F1}"/>
              </a:ext>
            </a:extLst>
          </p:cNvPr>
          <p:cNvPicPr>
            <a:picLocks noChangeAspect="1"/>
          </p:cNvPicPr>
          <p:nvPr/>
        </p:nvPicPr>
        <p:blipFill>
          <a:blip r:embed="rId2" cstate="print"/>
          <a:stretch>
            <a:fillRect/>
          </a:stretch>
        </p:blipFill>
        <p:spPr>
          <a:xfrm>
            <a:off x="0" y="1378392"/>
            <a:ext cx="9144000" cy="4101215"/>
          </a:xfrm>
          <a:prstGeom prst="rect">
            <a:avLst/>
          </a:prstGeom>
        </p:spPr>
      </p:pic>
    </p:spTree>
    <p:extLst>
      <p:ext uri="{BB962C8B-B14F-4D97-AF65-F5344CB8AC3E}">
        <p14:creationId xmlns:p14="http://schemas.microsoft.com/office/powerpoint/2010/main" xmlns="" val="25568445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3DF28CD-BCE2-4A5B-BE98-2E97E274F53C}"/>
              </a:ext>
            </a:extLst>
          </p:cNvPr>
          <p:cNvSpPr>
            <a:spLocks noGrp="1"/>
          </p:cNvSpPr>
          <p:nvPr>
            <p:ph type="title"/>
          </p:nvPr>
        </p:nvSpPr>
        <p:spPr/>
        <p:txBody>
          <a:bodyPr/>
          <a:lstStyle/>
          <a:p>
            <a:r>
              <a:rPr lang="en-GB" dirty="0"/>
              <a:t>Vaccine implementation update (1)</a:t>
            </a:r>
          </a:p>
        </p:txBody>
      </p:sp>
      <p:sp>
        <p:nvSpPr>
          <p:cNvPr id="3" name="Slide Number Placeholder 2">
            <a:extLst>
              <a:ext uri="{FF2B5EF4-FFF2-40B4-BE49-F238E27FC236}">
                <a16:creationId xmlns:a16="http://schemas.microsoft.com/office/drawing/2014/main" xmlns="" id="{DC59C5F8-5215-4D0C-BEB9-B701830445FC}"/>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a:extLst>
              <a:ext uri="{FF2B5EF4-FFF2-40B4-BE49-F238E27FC236}">
                <a16:creationId xmlns:a16="http://schemas.microsoft.com/office/drawing/2014/main" xmlns="" id="{91A3F3C3-3EAC-49C2-8C7B-44AB39B35F1F}"/>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Go to Insert &gt; Header &amp; Footer &gt; Enter presentation name into footer field</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5" name="Text Placeholder 4">
            <a:extLst>
              <a:ext uri="{FF2B5EF4-FFF2-40B4-BE49-F238E27FC236}">
                <a16:creationId xmlns:a16="http://schemas.microsoft.com/office/drawing/2014/main" xmlns="" id="{2F99E222-432E-45AC-BE17-5F6D9B6F65DF}"/>
              </a:ext>
            </a:extLst>
          </p:cNvPr>
          <p:cNvSpPr>
            <a:spLocks noGrp="1"/>
          </p:cNvSpPr>
          <p:nvPr>
            <p:ph type="body" sz="quarter" idx="10"/>
          </p:nvPr>
        </p:nvSpPr>
        <p:spPr>
          <a:xfrm>
            <a:off x="285534" y="1052736"/>
            <a:ext cx="8597205" cy="5112568"/>
          </a:xfrm>
        </p:spPr>
        <p:txBody>
          <a:bodyPr>
            <a:normAutofit fontScale="92500"/>
          </a:bodyPr>
          <a:lstStyle/>
          <a:p>
            <a:pPr marL="342900" indent="-342900">
              <a:lnSpc>
                <a:spcPct val="150000"/>
              </a:lnSpc>
              <a:buAutoNum type="arabicPeriod"/>
            </a:pPr>
            <a:r>
              <a:rPr lang="en-GB" sz="1800" b="0" dirty="0"/>
              <a:t>We have  developed an </a:t>
            </a:r>
            <a:r>
              <a:rPr lang="en-GB" sz="1800" dirty="0"/>
              <a:t>Implementation Framework </a:t>
            </a:r>
            <a:r>
              <a:rPr lang="en-GB" sz="1800" b="0" dirty="0"/>
              <a:t>for the roll-out programme – which will be posted on the </a:t>
            </a:r>
            <a:r>
              <a:rPr lang="en-GB" sz="1800" dirty="0"/>
              <a:t>WCG: Health website</a:t>
            </a:r>
            <a:r>
              <a:rPr lang="en-GB" sz="1800" b="0" dirty="0"/>
              <a:t>.  </a:t>
            </a:r>
          </a:p>
          <a:p>
            <a:pPr marL="342900" indent="-342900">
              <a:lnSpc>
                <a:spcPct val="150000"/>
              </a:lnSpc>
              <a:buAutoNum type="arabicPeriod"/>
            </a:pPr>
            <a:r>
              <a:rPr lang="en-GB" sz="1800" dirty="0"/>
              <a:t>1 million doses </a:t>
            </a:r>
            <a:r>
              <a:rPr lang="en-GB" sz="1800" b="0" dirty="0"/>
              <a:t>arrived in the country on </a:t>
            </a:r>
            <a:r>
              <a:rPr lang="en-GB" sz="1800" dirty="0"/>
              <a:t>01 February 2021</a:t>
            </a:r>
            <a:r>
              <a:rPr lang="en-GB" sz="1800" b="0" dirty="0"/>
              <a:t>. </a:t>
            </a:r>
          </a:p>
          <a:p>
            <a:pPr marL="342900" indent="-342900">
              <a:lnSpc>
                <a:spcPct val="150000"/>
              </a:lnSpc>
              <a:buAutoNum type="arabicPeriod"/>
            </a:pPr>
            <a:r>
              <a:rPr lang="en-GB" sz="1800" b="0" dirty="0"/>
              <a:t>Upon arrival, the </a:t>
            </a:r>
            <a:r>
              <a:rPr lang="en-GB" sz="1800" dirty="0"/>
              <a:t>quality control process  (NCL testing) </a:t>
            </a:r>
            <a:r>
              <a:rPr lang="en-GB" sz="1800" b="0" dirty="0"/>
              <a:t>as</a:t>
            </a:r>
            <a:r>
              <a:rPr lang="en-GB" sz="1800" dirty="0"/>
              <a:t> </a:t>
            </a:r>
            <a:r>
              <a:rPr lang="en-GB" sz="1800" b="0" dirty="0"/>
              <a:t>required by </a:t>
            </a:r>
            <a:r>
              <a:rPr lang="en-GB" sz="1800" dirty="0"/>
              <a:t>SAPHRA</a:t>
            </a:r>
            <a:r>
              <a:rPr lang="en-GB" sz="1800" b="0" dirty="0"/>
              <a:t> will be accelerated. </a:t>
            </a:r>
          </a:p>
          <a:p>
            <a:pPr marL="342900" indent="-342900">
              <a:lnSpc>
                <a:spcPct val="150000"/>
              </a:lnSpc>
              <a:buAutoNum type="arabicPeriod"/>
            </a:pPr>
            <a:r>
              <a:rPr lang="en-GB" sz="1800" b="0" dirty="0"/>
              <a:t>The </a:t>
            </a:r>
            <a:r>
              <a:rPr lang="en-GB" sz="1800" dirty="0" err="1"/>
              <a:t>Biovac</a:t>
            </a:r>
            <a:r>
              <a:rPr lang="en-GB" sz="1800" dirty="0"/>
              <a:t> Institute </a:t>
            </a:r>
            <a:r>
              <a:rPr lang="en-GB" sz="1800" b="0" dirty="0"/>
              <a:t>will be responsible for </a:t>
            </a:r>
            <a:r>
              <a:rPr lang="en-GB" sz="1800" dirty="0"/>
              <a:t>distribution of the vaccines </a:t>
            </a:r>
            <a:r>
              <a:rPr lang="en-GB" sz="1800" b="0" dirty="0"/>
              <a:t>to provinces. </a:t>
            </a:r>
          </a:p>
          <a:p>
            <a:pPr marL="342900" indent="-342900">
              <a:lnSpc>
                <a:spcPct val="150000"/>
              </a:lnSpc>
              <a:buAutoNum type="arabicPeriod"/>
            </a:pPr>
            <a:r>
              <a:rPr lang="en-GB" sz="1800" b="0" dirty="0"/>
              <a:t>The vaccines are </a:t>
            </a:r>
            <a:r>
              <a:rPr lang="en-GB" sz="1800" dirty="0"/>
              <a:t>anticipated to arrive within the next 10 days </a:t>
            </a:r>
            <a:r>
              <a:rPr lang="en-GB" sz="1800" b="0" dirty="0"/>
              <a:t>within provinces.  </a:t>
            </a:r>
          </a:p>
          <a:p>
            <a:pPr marL="342900" indent="-342900">
              <a:lnSpc>
                <a:spcPct val="150000"/>
              </a:lnSpc>
              <a:buAutoNum type="arabicPeriod"/>
            </a:pPr>
            <a:r>
              <a:rPr lang="en-GB" sz="1800" b="0" dirty="0"/>
              <a:t>In the </a:t>
            </a:r>
            <a:r>
              <a:rPr lang="en-GB" sz="1800" dirty="0"/>
              <a:t>Western Cape</a:t>
            </a:r>
            <a:r>
              <a:rPr lang="en-GB" sz="1800" b="0" dirty="0"/>
              <a:t>, the </a:t>
            </a:r>
            <a:r>
              <a:rPr lang="en-GB" sz="1800" dirty="0"/>
              <a:t>Central Medical Depot (CMD) </a:t>
            </a:r>
            <a:r>
              <a:rPr lang="en-GB" sz="1800" b="0" dirty="0"/>
              <a:t>will distribute vaccines to WCG: Health facilities, private sector facilities and COCT facilities.  </a:t>
            </a:r>
          </a:p>
          <a:p>
            <a:pPr marL="342900" indent="-342900">
              <a:lnSpc>
                <a:spcPct val="150000"/>
              </a:lnSpc>
              <a:buFont typeface="Arial" pitchFamily="34" charset="0"/>
              <a:buAutoNum type="arabicPeriod"/>
            </a:pPr>
            <a:r>
              <a:rPr lang="en-GB" sz="1800" b="0" dirty="0"/>
              <a:t>The plan is to </a:t>
            </a:r>
            <a:r>
              <a:rPr lang="en-GB" sz="1800" dirty="0"/>
              <a:t>officially start on 15 Feb 2021</a:t>
            </a:r>
          </a:p>
          <a:p>
            <a:pPr marL="342900" indent="-342900">
              <a:lnSpc>
                <a:spcPct val="150000"/>
              </a:lnSpc>
              <a:buAutoNum type="arabicPeriod"/>
            </a:pPr>
            <a:endParaRPr lang="en-GB" sz="1800" b="0" dirty="0"/>
          </a:p>
          <a:p>
            <a:pPr marL="465750" lvl="1" indent="-285750">
              <a:buFont typeface="Arial" panose="020B0604020202020204" pitchFamily="34" charset="0"/>
              <a:buChar char="•"/>
            </a:pPr>
            <a:endParaRPr lang="en-GB" dirty="0"/>
          </a:p>
          <a:p>
            <a:pPr marL="342900" indent="-342900">
              <a:buAutoNum type="arabicPeriod"/>
            </a:pPr>
            <a:endParaRPr lang="en-GB" dirty="0"/>
          </a:p>
        </p:txBody>
      </p:sp>
    </p:spTree>
    <p:extLst>
      <p:ext uri="{BB962C8B-B14F-4D97-AF65-F5344CB8AC3E}">
        <p14:creationId xmlns:p14="http://schemas.microsoft.com/office/powerpoint/2010/main" xmlns="" val="40913674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7236FE9-3CFD-45D4-AAC3-150CB89ECBCD}"/>
              </a:ext>
            </a:extLst>
          </p:cNvPr>
          <p:cNvSpPr>
            <a:spLocks noGrp="1"/>
          </p:cNvSpPr>
          <p:nvPr>
            <p:ph type="ctrTitle"/>
          </p:nvPr>
        </p:nvSpPr>
        <p:spPr>
          <a:xfrm>
            <a:off x="323528" y="180976"/>
            <a:ext cx="8477574" cy="876300"/>
          </a:xfrm>
        </p:spPr>
        <p:txBody>
          <a:bodyPr>
            <a:normAutofit/>
          </a:bodyPr>
          <a:lstStyle/>
          <a:p>
            <a:r>
              <a:rPr lang="en-GB" sz="2400" dirty="0"/>
              <a:t>Vaccine implementation update(2): Phases and </a:t>
            </a:r>
            <a:br>
              <a:rPr lang="en-GB" sz="2400" dirty="0"/>
            </a:br>
            <a:r>
              <a:rPr lang="en-GB" sz="2400" dirty="0"/>
              <a:t>Prioritisation Groups  </a:t>
            </a:r>
          </a:p>
        </p:txBody>
      </p:sp>
      <p:graphicFrame>
        <p:nvGraphicFramePr>
          <p:cNvPr id="7" name="Diagram 6">
            <a:extLst>
              <a:ext uri="{FF2B5EF4-FFF2-40B4-BE49-F238E27FC236}">
                <a16:creationId xmlns:a16="http://schemas.microsoft.com/office/drawing/2014/main" xmlns="" id="{4D2B2A08-0EDD-4702-A4CE-F8D033C3D567}"/>
              </a:ext>
            </a:extLst>
          </p:cNvPr>
          <p:cNvGraphicFramePr/>
          <p:nvPr/>
        </p:nvGraphicFramePr>
        <p:xfrm>
          <a:off x="708873" y="784155"/>
          <a:ext cx="8139852" cy="52896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8">
            <a:extLst>
              <a:ext uri="{FF2B5EF4-FFF2-40B4-BE49-F238E27FC236}">
                <a16:creationId xmlns:a16="http://schemas.microsoft.com/office/drawing/2014/main" xmlns="" id="{C21EFE73-A4EB-486B-AA28-D5729E9CCE7B}"/>
              </a:ext>
            </a:extLst>
          </p:cNvPr>
          <p:cNvPicPr>
            <a:picLocks noChangeAspect="1"/>
          </p:cNvPicPr>
          <p:nvPr/>
        </p:nvPicPr>
        <p:blipFill rotWithShape="1">
          <a:blip r:embed="rId7" cstate="print">
            <a:alphaModFix amt="35000"/>
          </a:blip>
          <a:srcRect b="18769"/>
          <a:stretch/>
        </p:blipFill>
        <p:spPr>
          <a:xfrm>
            <a:off x="7272997" y="5242056"/>
            <a:ext cx="1989325" cy="1615944"/>
          </a:xfrm>
          <a:prstGeom prst="rect">
            <a:avLst/>
          </a:prstGeom>
        </p:spPr>
      </p:pic>
    </p:spTree>
    <p:extLst>
      <p:ext uri="{BB962C8B-B14F-4D97-AF65-F5344CB8AC3E}">
        <p14:creationId xmlns:p14="http://schemas.microsoft.com/office/powerpoint/2010/main" xmlns="" val="2404474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sz="2400" dirty="0"/>
              <a:t>Vaccine implementation update (3): Phases and </a:t>
            </a:r>
            <a:br>
              <a:rPr lang="en-GB" sz="2400" dirty="0"/>
            </a:br>
            <a:r>
              <a:rPr lang="en-GB" sz="2400" dirty="0"/>
              <a:t>Prioritisation Groups </a:t>
            </a:r>
            <a:endParaRPr lang="en-ZA" dirty="0"/>
          </a:p>
        </p:txBody>
      </p:sp>
      <p:graphicFrame>
        <p:nvGraphicFramePr>
          <p:cNvPr id="4" name="Diagram 3"/>
          <p:cNvGraphicFramePr/>
          <p:nvPr/>
        </p:nvGraphicFramePr>
        <p:xfrm>
          <a:off x="971600" y="2536799"/>
          <a:ext cx="7416824" cy="35340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p:cNvSpPr/>
          <p:nvPr/>
        </p:nvSpPr>
        <p:spPr>
          <a:xfrm>
            <a:off x="179512" y="1268760"/>
            <a:ext cx="8784976" cy="1268039"/>
          </a:xfrm>
          <a:prstGeom prst="rect">
            <a:avLst/>
          </a:prstGeom>
        </p:spPr>
        <p:txBody>
          <a:bodyPr wrap="square">
            <a:spAutoFit/>
          </a:bodyPr>
          <a:lstStyle/>
          <a:p>
            <a:pPr marL="171450" marR="0" lvl="0" indent="-171450" algn="l" defTabSz="914400" rtl="0" eaLnBrk="1" fontAlgn="auto" latinLnBrk="0" hangingPunct="1">
              <a:lnSpc>
                <a:spcPct val="170000"/>
              </a:lnSpc>
              <a:spcBef>
                <a:spcPts val="300"/>
              </a:spcBef>
              <a:spcAft>
                <a:spcPts val="0"/>
              </a:spcAft>
              <a:buClrTx/>
              <a:buSzTx/>
              <a:buFont typeface="Wingdings" panose="05000000000000000000" pitchFamily="2" charset="2"/>
              <a:buChar char="§"/>
              <a:tabLst/>
              <a:defRPr/>
            </a:pPr>
            <a:r>
              <a:rPr kumimoji="0" lang="en-GB" sz="1050" b="1" i="0" u="none" strike="noStrike" kern="1200" cap="none" spc="0" normalizeH="0" baseline="0" noProof="0" dirty="0">
                <a:ln>
                  <a:noFill/>
                </a:ln>
                <a:solidFill>
                  <a:prstClr val="black"/>
                </a:solidFill>
                <a:effectLst/>
                <a:uLnTx/>
                <a:uFillTx/>
                <a:latin typeface="Century Gothic"/>
                <a:ea typeface="+mn-ea"/>
                <a:cs typeface="+mn-cs"/>
              </a:rPr>
              <a:t>The allocation of doses to provinces is being finalised nationally. </a:t>
            </a:r>
          </a:p>
          <a:p>
            <a:pPr marL="674688" marR="0" lvl="1" indent="-317500" algn="l" defTabSz="914400" rtl="0" eaLnBrk="1" fontAlgn="auto" latinLnBrk="0" hangingPunct="1">
              <a:lnSpc>
                <a:spcPct val="170000"/>
              </a:lnSpc>
              <a:spcBef>
                <a:spcPts val="300"/>
              </a:spcBef>
              <a:spcAft>
                <a:spcPts val="0"/>
              </a:spcAft>
              <a:buClr>
                <a:srgbClr val="002060"/>
              </a:buClr>
              <a:buSzTx/>
              <a:buFont typeface="Wingdings" panose="05000000000000000000" pitchFamily="2" charset="2"/>
              <a:buChar char="Ø"/>
              <a:tabLst/>
              <a:defRPr/>
            </a:pPr>
            <a:r>
              <a:rPr kumimoji="0" lang="en-GB" sz="1050" b="0" i="0" u="none" strike="noStrike" kern="1200" cap="none" spc="0" normalizeH="0" baseline="0" noProof="0" dirty="0">
                <a:ln>
                  <a:noFill/>
                </a:ln>
                <a:solidFill>
                  <a:prstClr val="black"/>
                </a:solidFill>
                <a:effectLst/>
                <a:uLnTx/>
                <a:uFillTx/>
                <a:latin typeface="Century Gothic"/>
                <a:ea typeface="+mn-ea"/>
                <a:cs typeface="+mn-cs"/>
              </a:rPr>
              <a:t>The </a:t>
            </a:r>
            <a:r>
              <a:rPr kumimoji="0" lang="en-GB" sz="1050" b="0" i="0" u="none" strike="noStrike" kern="1200" cap="none" spc="0" normalizeH="0" baseline="0" noProof="0" dirty="0" err="1">
                <a:ln>
                  <a:noFill/>
                </a:ln>
                <a:solidFill>
                  <a:prstClr val="black"/>
                </a:solidFill>
                <a:effectLst/>
                <a:uLnTx/>
                <a:uFillTx/>
                <a:latin typeface="Century Gothic"/>
                <a:ea typeface="+mn-ea"/>
                <a:cs typeface="+mn-cs"/>
              </a:rPr>
              <a:t>Covishield</a:t>
            </a:r>
            <a:r>
              <a:rPr kumimoji="0" lang="en-GB" sz="1050" b="0" i="0" u="none" strike="noStrike" kern="1200" cap="none" spc="0" normalizeH="0" baseline="0" noProof="0" dirty="0">
                <a:ln>
                  <a:noFill/>
                </a:ln>
                <a:solidFill>
                  <a:prstClr val="black"/>
                </a:solidFill>
                <a:effectLst/>
                <a:uLnTx/>
                <a:uFillTx/>
                <a:latin typeface="Century Gothic"/>
                <a:ea typeface="+mn-ea"/>
                <a:cs typeface="+mn-cs"/>
              </a:rPr>
              <a:t> vaccine will be used for </a:t>
            </a:r>
            <a:r>
              <a:rPr kumimoji="0" lang="en-GB" sz="1050" b="1" i="0" u="none" strike="noStrike" kern="1200" cap="none" spc="0" normalizeH="0" baseline="0" noProof="0" dirty="0">
                <a:ln>
                  <a:noFill/>
                </a:ln>
                <a:solidFill>
                  <a:prstClr val="black"/>
                </a:solidFill>
                <a:effectLst/>
                <a:uLnTx/>
                <a:uFillTx/>
                <a:latin typeface="Century Gothic"/>
                <a:ea typeface="+mn-ea"/>
                <a:cs typeface="+mn-cs"/>
              </a:rPr>
              <a:t>both doses </a:t>
            </a:r>
            <a:r>
              <a:rPr kumimoji="0" lang="en-GB" sz="1050" b="0" i="0" u="none" strike="noStrike" kern="1200" cap="none" spc="0" normalizeH="0" baseline="0" noProof="0" dirty="0">
                <a:ln>
                  <a:noFill/>
                </a:ln>
                <a:solidFill>
                  <a:prstClr val="black"/>
                </a:solidFill>
                <a:effectLst/>
                <a:uLnTx/>
                <a:uFillTx/>
                <a:latin typeface="Century Gothic"/>
                <a:ea typeface="+mn-ea"/>
                <a:cs typeface="+mn-cs"/>
              </a:rPr>
              <a:t>to each health care worker.</a:t>
            </a:r>
          </a:p>
          <a:p>
            <a:pPr marL="674688" marR="0" lvl="1" indent="-317500" algn="l" defTabSz="914400" rtl="0" eaLnBrk="1" fontAlgn="auto" latinLnBrk="0" hangingPunct="1">
              <a:lnSpc>
                <a:spcPct val="170000"/>
              </a:lnSpc>
              <a:spcBef>
                <a:spcPts val="300"/>
              </a:spcBef>
              <a:spcAft>
                <a:spcPts val="0"/>
              </a:spcAft>
              <a:buClr>
                <a:srgbClr val="002060"/>
              </a:buClr>
              <a:buSzTx/>
              <a:buFont typeface="Wingdings" panose="05000000000000000000" pitchFamily="2" charset="2"/>
              <a:buChar char="Ø"/>
              <a:tabLst/>
              <a:defRPr/>
            </a:pPr>
            <a:r>
              <a:rPr kumimoji="0" lang="en-GB" sz="1050" b="0" i="0" u="none" strike="noStrike" kern="1200" cap="none" spc="0" normalizeH="0" baseline="0" noProof="0" dirty="0">
                <a:ln>
                  <a:noFill/>
                </a:ln>
                <a:solidFill>
                  <a:prstClr val="black"/>
                </a:solidFill>
                <a:effectLst/>
                <a:uLnTx/>
                <a:uFillTx/>
                <a:latin typeface="Century Gothic"/>
                <a:ea typeface="+mn-ea"/>
                <a:cs typeface="+mn-cs"/>
              </a:rPr>
              <a:t>There will be some </a:t>
            </a:r>
            <a:r>
              <a:rPr kumimoji="0" lang="en-GB" sz="1050" b="1" i="0" u="none" strike="noStrike" kern="1200" cap="none" spc="0" normalizeH="0" baseline="0" noProof="0" dirty="0">
                <a:ln>
                  <a:noFill/>
                </a:ln>
                <a:solidFill>
                  <a:prstClr val="black"/>
                </a:solidFill>
                <a:effectLst/>
                <a:uLnTx/>
                <a:uFillTx/>
                <a:latin typeface="Century Gothic"/>
                <a:ea typeface="+mn-ea"/>
                <a:cs typeface="+mn-cs"/>
              </a:rPr>
              <a:t>prioritisation</a:t>
            </a:r>
            <a:r>
              <a:rPr kumimoji="0" lang="en-GB" sz="1050" b="0" i="0" u="none" strike="noStrike" kern="1200" cap="none" spc="0" normalizeH="0" baseline="0" noProof="0" dirty="0">
                <a:ln>
                  <a:noFill/>
                </a:ln>
                <a:solidFill>
                  <a:prstClr val="black"/>
                </a:solidFill>
                <a:effectLst/>
                <a:uLnTx/>
                <a:uFillTx/>
                <a:latin typeface="Century Gothic"/>
                <a:ea typeface="+mn-ea"/>
                <a:cs typeface="+mn-cs"/>
              </a:rPr>
              <a:t> required within phase I to accommodate </a:t>
            </a:r>
            <a:r>
              <a:rPr kumimoji="0" lang="en-GB" sz="1050" b="1" i="0" u="none" strike="noStrike" kern="1200" cap="none" spc="0" normalizeH="0" baseline="0" noProof="0" dirty="0">
                <a:ln>
                  <a:noFill/>
                </a:ln>
                <a:solidFill>
                  <a:prstClr val="black"/>
                </a:solidFill>
                <a:effectLst/>
                <a:uLnTx/>
                <a:uFillTx/>
                <a:latin typeface="Century Gothic"/>
                <a:ea typeface="+mn-ea"/>
                <a:cs typeface="+mn-cs"/>
              </a:rPr>
              <a:t>the sequencing in line with the available doses</a:t>
            </a:r>
            <a:r>
              <a:rPr kumimoji="0" lang="en-GB" sz="1050" b="0" i="0" u="none" strike="noStrike" kern="1200" cap="none" spc="0" normalizeH="0" baseline="0" noProof="0" dirty="0">
                <a:ln>
                  <a:noFill/>
                </a:ln>
                <a:solidFill>
                  <a:prstClr val="black"/>
                </a:solidFill>
                <a:effectLst/>
                <a:uLnTx/>
                <a:uFillTx/>
                <a:latin typeface="Century Gothic"/>
                <a:ea typeface="+mn-ea"/>
                <a:cs typeface="+mn-cs"/>
              </a:rPr>
              <a:t>. Some of the considerations include: </a:t>
            </a:r>
          </a:p>
        </p:txBody>
      </p:sp>
    </p:spTree>
    <p:extLst>
      <p:ext uri="{BB962C8B-B14F-4D97-AF65-F5344CB8AC3E}">
        <p14:creationId xmlns:p14="http://schemas.microsoft.com/office/powerpoint/2010/main" xmlns="" val="2837430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A498812-BCF4-4949-B110-7F2BE7775DBB}"/>
              </a:ext>
            </a:extLst>
          </p:cNvPr>
          <p:cNvSpPr>
            <a:spLocks noGrp="1"/>
          </p:cNvSpPr>
          <p:nvPr>
            <p:ph type="title"/>
          </p:nvPr>
        </p:nvSpPr>
        <p:spPr/>
        <p:txBody>
          <a:bodyPr/>
          <a:lstStyle/>
          <a:p>
            <a:r>
              <a:rPr lang="en-GB" dirty="0"/>
              <a:t>Vaccine implementation update (4): Master Facility List</a:t>
            </a:r>
          </a:p>
        </p:txBody>
      </p:sp>
      <p:sp>
        <p:nvSpPr>
          <p:cNvPr id="3" name="Slide Number Placeholder 2">
            <a:extLst>
              <a:ext uri="{FF2B5EF4-FFF2-40B4-BE49-F238E27FC236}">
                <a16:creationId xmlns:a16="http://schemas.microsoft.com/office/drawing/2014/main" xmlns="" id="{22AC7C82-2338-4848-8994-5C2086550F6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a:extLst>
              <a:ext uri="{FF2B5EF4-FFF2-40B4-BE49-F238E27FC236}">
                <a16:creationId xmlns:a16="http://schemas.microsoft.com/office/drawing/2014/main" xmlns="" id="{E7135EF5-E155-46BB-8FC5-3EB536BCD127}"/>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Go to Insert &gt; Header &amp; Footer &gt; Enter presentation name into footer field</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5" name="Text Placeholder 4">
            <a:extLst>
              <a:ext uri="{FF2B5EF4-FFF2-40B4-BE49-F238E27FC236}">
                <a16:creationId xmlns:a16="http://schemas.microsoft.com/office/drawing/2014/main" xmlns="" id="{5FD2D489-172E-49BE-BC82-BD9978F19E00}"/>
              </a:ext>
            </a:extLst>
          </p:cNvPr>
          <p:cNvSpPr>
            <a:spLocks noGrp="1"/>
          </p:cNvSpPr>
          <p:nvPr>
            <p:ph type="body" sz="quarter" idx="10"/>
          </p:nvPr>
        </p:nvSpPr>
        <p:spPr>
          <a:xfrm>
            <a:off x="273397" y="1052736"/>
            <a:ext cx="8597205" cy="4896073"/>
          </a:xfrm>
        </p:spPr>
        <p:txBody>
          <a:bodyPr>
            <a:normAutofit/>
          </a:bodyPr>
          <a:lstStyle/>
          <a:p>
            <a:pPr marL="285750" indent="-285750">
              <a:lnSpc>
                <a:spcPct val="170000"/>
              </a:lnSpc>
              <a:buFont typeface="Wingdings" panose="05000000000000000000" pitchFamily="2" charset="2"/>
              <a:buChar char="§"/>
            </a:pPr>
            <a:r>
              <a:rPr lang="en-GB" sz="1800" dirty="0"/>
              <a:t>Master Facility List (Vaccination Sites): </a:t>
            </a:r>
          </a:p>
          <a:p>
            <a:pPr marL="982663" lvl="1" indent="-450850">
              <a:lnSpc>
                <a:spcPct val="170000"/>
              </a:lnSpc>
              <a:buFont typeface="Wingdings" panose="05000000000000000000" pitchFamily="2" charset="2"/>
              <a:buChar char="Ø"/>
            </a:pPr>
            <a:r>
              <a:rPr lang="en-GB" sz="1800" dirty="0"/>
              <a:t>378 public facilities and 41 private  </a:t>
            </a:r>
            <a:r>
              <a:rPr lang="en-GB" sz="1800" b="1" dirty="0"/>
              <a:t>vaccination sites have been identified </a:t>
            </a:r>
            <a:r>
              <a:rPr lang="en-GB" sz="1800" dirty="0"/>
              <a:t>– which must be accredited as per a national checklist.</a:t>
            </a:r>
          </a:p>
          <a:p>
            <a:pPr marL="982663" lvl="1" indent="-450850">
              <a:lnSpc>
                <a:spcPct val="170000"/>
              </a:lnSpc>
              <a:buFont typeface="Wingdings" panose="05000000000000000000" pitchFamily="2" charset="2"/>
              <a:buChar char="Ø"/>
            </a:pPr>
            <a:r>
              <a:rPr lang="en-GB" sz="1800" b="1" dirty="0"/>
              <a:t>Curators and facility representatives </a:t>
            </a:r>
            <a:r>
              <a:rPr lang="en-GB" sz="1800" dirty="0"/>
              <a:t>are receiving training on the Master Facilities List and will ensure that all vaccination sites are verified and curated.</a:t>
            </a:r>
          </a:p>
          <a:p>
            <a:pPr marL="177188">
              <a:lnSpc>
                <a:spcPct val="170000"/>
              </a:lnSpc>
            </a:pPr>
            <a:endParaRPr lang="en-GB" sz="1800" dirty="0"/>
          </a:p>
          <a:p>
            <a:pPr marL="462938" indent="-285750">
              <a:lnSpc>
                <a:spcPct val="170000"/>
              </a:lnSpc>
              <a:buFont typeface="Wingdings" panose="05000000000000000000" pitchFamily="2" charset="2"/>
              <a:buChar char="§"/>
            </a:pPr>
            <a:r>
              <a:rPr lang="en-GB" sz="1800" b="0" dirty="0"/>
              <a:t>The</a:t>
            </a:r>
            <a:r>
              <a:rPr lang="en-GB" sz="1800" dirty="0"/>
              <a:t> </a:t>
            </a:r>
            <a:r>
              <a:rPr lang="en-GB" sz="1800" b="1" dirty="0"/>
              <a:t>HCW registers </a:t>
            </a:r>
            <a:r>
              <a:rPr lang="en-GB" sz="1800" b="0" dirty="0"/>
              <a:t>are being  finalised (beneficiary register) for PERSAL and non-PERSAL staff.</a:t>
            </a:r>
          </a:p>
          <a:p>
            <a:pPr marL="177188">
              <a:lnSpc>
                <a:spcPct val="170000"/>
              </a:lnSpc>
            </a:pPr>
            <a:endParaRPr lang="en-GB" sz="1800" b="0" dirty="0"/>
          </a:p>
          <a:p>
            <a:pPr marL="357188" lvl="1" indent="0">
              <a:lnSpc>
                <a:spcPct val="170000"/>
              </a:lnSpc>
              <a:buNone/>
            </a:pPr>
            <a:endParaRPr lang="en-GB" sz="1800" dirty="0"/>
          </a:p>
          <a:p>
            <a:pPr marL="715963" lvl="1" indent="-358775">
              <a:lnSpc>
                <a:spcPct val="170000"/>
              </a:lnSpc>
              <a:buFont typeface="Arial" panose="020B0604020202020204" pitchFamily="34" charset="0"/>
              <a:buChar char="•"/>
            </a:pPr>
            <a:endParaRPr lang="en-GB" sz="1800" dirty="0"/>
          </a:p>
          <a:p>
            <a:endParaRPr lang="en-GB" dirty="0"/>
          </a:p>
        </p:txBody>
      </p:sp>
    </p:spTree>
    <p:extLst>
      <p:ext uri="{BB962C8B-B14F-4D97-AF65-F5344CB8AC3E}">
        <p14:creationId xmlns:p14="http://schemas.microsoft.com/office/powerpoint/2010/main" xmlns="" val="14273950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92857E3-0654-4522-A450-2B9DA486CAAB}"/>
              </a:ext>
            </a:extLst>
          </p:cNvPr>
          <p:cNvSpPr>
            <a:spLocks noGrp="1"/>
          </p:cNvSpPr>
          <p:nvPr>
            <p:ph type="title"/>
          </p:nvPr>
        </p:nvSpPr>
        <p:spPr/>
        <p:txBody>
          <a:bodyPr/>
          <a:lstStyle/>
          <a:p>
            <a:r>
              <a:rPr lang="en-GB" dirty="0"/>
              <a:t>Vaccine implementation update (5): Administration Sites</a:t>
            </a:r>
          </a:p>
        </p:txBody>
      </p:sp>
      <p:sp>
        <p:nvSpPr>
          <p:cNvPr id="3" name="Slide Number Placeholder 2">
            <a:extLst>
              <a:ext uri="{FF2B5EF4-FFF2-40B4-BE49-F238E27FC236}">
                <a16:creationId xmlns:a16="http://schemas.microsoft.com/office/drawing/2014/main" xmlns="" id="{EC056A78-4CEE-4DC3-9523-2D731F914AC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a:extLst>
              <a:ext uri="{FF2B5EF4-FFF2-40B4-BE49-F238E27FC236}">
                <a16:creationId xmlns:a16="http://schemas.microsoft.com/office/drawing/2014/main" xmlns="" id="{EA77525B-CA0F-47B3-9ACC-235464A6CC1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Go to Insert &gt; Header &amp; Footer &gt; Enter presentation name into footer field</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graphicFrame>
        <p:nvGraphicFramePr>
          <p:cNvPr id="6" name="Table 6">
            <a:extLst>
              <a:ext uri="{FF2B5EF4-FFF2-40B4-BE49-F238E27FC236}">
                <a16:creationId xmlns:a16="http://schemas.microsoft.com/office/drawing/2014/main" xmlns="" id="{ED511F06-3B9C-4835-AB9A-7AB8E94DDFDC}"/>
              </a:ext>
            </a:extLst>
          </p:cNvPr>
          <p:cNvGraphicFramePr>
            <a:graphicFrameLocks noGrp="1"/>
          </p:cNvGraphicFramePr>
          <p:nvPr/>
        </p:nvGraphicFramePr>
        <p:xfrm>
          <a:off x="1259632" y="1772816"/>
          <a:ext cx="6912768" cy="4428480"/>
        </p:xfrm>
        <a:graphic>
          <a:graphicData uri="http://schemas.openxmlformats.org/drawingml/2006/table">
            <a:tbl>
              <a:tblPr firstRow="1" bandRow="1">
                <a:tableStyleId>{5C22544A-7EE6-4342-B048-85BDC9FD1C3A}</a:tableStyleId>
              </a:tblPr>
              <a:tblGrid>
                <a:gridCol w="3456384">
                  <a:extLst>
                    <a:ext uri="{9D8B030D-6E8A-4147-A177-3AD203B41FA5}">
                      <a16:colId xmlns:a16="http://schemas.microsoft.com/office/drawing/2014/main" xmlns="" val="497633778"/>
                    </a:ext>
                  </a:extLst>
                </a:gridCol>
                <a:gridCol w="3456384">
                  <a:extLst>
                    <a:ext uri="{9D8B030D-6E8A-4147-A177-3AD203B41FA5}">
                      <a16:colId xmlns:a16="http://schemas.microsoft.com/office/drawing/2014/main" xmlns="" val="2025386709"/>
                    </a:ext>
                  </a:extLst>
                </a:gridCol>
              </a:tblGrid>
              <a:tr h="442848">
                <a:tc>
                  <a:txBody>
                    <a:bodyPr/>
                    <a:lstStyle/>
                    <a:p>
                      <a:r>
                        <a:rPr lang="en-GB" dirty="0"/>
                        <a:t>District</a:t>
                      </a:r>
                    </a:p>
                  </a:txBody>
                  <a:tcPr/>
                </a:tc>
                <a:tc>
                  <a:txBody>
                    <a:bodyPr/>
                    <a:lstStyle/>
                    <a:p>
                      <a:r>
                        <a:rPr lang="en-GB" dirty="0"/>
                        <a:t> No. of sites </a:t>
                      </a:r>
                    </a:p>
                  </a:txBody>
                  <a:tcPr/>
                </a:tc>
                <a:extLst>
                  <a:ext uri="{0D108BD9-81ED-4DB2-BD59-A6C34878D82A}">
                    <a16:rowId xmlns:a16="http://schemas.microsoft.com/office/drawing/2014/main" xmlns="" val="1087018937"/>
                  </a:ext>
                </a:extLst>
              </a:tr>
              <a:tr h="442848">
                <a:tc>
                  <a:txBody>
                    <a:bodyPr/>
                    <a:lstStyle/>
                    <a:p>
                      <a:r>
                        <a:rPr lang="en-GB" dirty="0"/>
                        <a:t>Metro ( WCGH + COCT)</a:t>
                      </a:r>
                    </a:p>
                  </a:txBody>
                  <a:tcPr/>
                </a:tc>
                <a:tc>
                  <a:txBody>
                    <a:bodyPr/>
                    <a:lstStyle/>
                    <a:p>
                      <a:r>
                        <a:rPr lang="en-GB" dirty="0"/>
                        <a:t>154</a:t>
                      </a:r>
                    </a:p>
                  </a:txBody>
                  <a:tcPr/>
                </a:tc>
                <a:extLst>
                  <a:ext uri="{0D108BD9-81ED-4DB2-BD59-A6C34878D82A}">
                    <a16:rowId xmlns:a16="http://schemas.microsoft.com/office/drawing/2014/main" xmlns="" val="3571016745"/>
                  </a:ext>
                </a:extLst>
              </a:tr>
              <a:tr h="442848">
                <a:tc>
                  <a:txBody>
                    <a:bodyPr/>
                    <a:lstStyle/>
                    <a:p>
                      <a:r>
                        <a:rPr lang="en-GB" dirty="0"/>
                        <a:t>Cape Winelands </a:t>
                      </a:r>
                    </a:p>
                  </a:txBody>
                  <a:tcPr/>
                </a:tc>
                <a:tc>
                  <a:txBody>
                    <a:bodyPr/>
                    <a:lstStyle/>
                    <a:p>
                      <a:r>
                        <a:rPr lang="en-GB" dirty="0"/>
                        <a:t>56</a:t>
                      </a:r>
                    </a:p>
                  </a:txBody>
                  <a:tcPr/>
                </a:tc>
                <a:extLst>
                  <a:ext uri="{0D108BD9-81ED-4DB2-BD59-A6C34878D82A}">
                    <a16:rowId xmlns:a16="http://schemas.microsoft.com/office/drawing/2014/main" xmlns="" val="236491134"/>
                  </a:ext>
                </a:extLst>
              </a:tr>
              <a:tr h="442848">
                <a:tc>
                  <a:txBody>
                    <a:bodyPr/>
                    <a:lstStyle/>
                    <a:p>
                      <a:r>
                        <a:rPr lang="en-GB" dirty="0"/>
                        <a:t>Central Karoo </a:t>
                      </a:r>
                    </a:p>
                  </a:txBody>
                  <a:tcPr/>
                </a:tc>
                <a:tc>
                  <a:txBody>
                    <a:bodyPr/>
                    <a:lstStyle/>
                    <a:p>
                      <a:r>
                        <a:rPr lang="en-GB" dirty="0"/>
                        <a:t>17</a:t>
                      </a:r>
                    </a:p>
                  </a:txBody>
                  <a:tcPr/>
                </a:tc>
                <a:extLst>
                  <a:ext uri="{0D108BD9-81ED-4DB2-BD59-A6C34878D82A}">
                    <a16:rowId xmlns:a16="http://schemas.microsoft.com/office/drawing/2014/main" xmlns="" val="679790031"/>
                  </a:ext>
                </a:extLst>
              </a:tr>
              <a:tr h="442848">
                <a:tc>
                  <a:txBody>
                    <a:bodyPr/>
                    <a:lstStyle/>
                    <a:p>
                      <a:r>
                        <a:rPr lang="en-GB" dirty="0"/>
                        <a:t>Garden Route </a:t>
                      </a:r>
                    </a:p>
                  </a:txBody>
                  <a:tcPr/>
                </a:tc>
                <a:tc>
                  <a:txBody>
                    <a:bodyPr/>
                    <a:lstStyle/>
                    <a:p>
                      <a:r>
                        <a:rPr lang="en-GB" dirty="0"/>
                        <a:t>85</a:t>
                      </a:r>
                    </a:p>
                  </a:txBody>
                  <a:tcPr/>
                </a:tc>
                <a:extLst>
                  <a:ext uri="{0D108BD9-81ED-4DB2-BD59-A6C34878D82A}">
                    <a16:rowId xmlns:a16="http://schemas.microsoft.com/office/drawing/2014/main" xmlns="" val="1304867990"/>
                  </a:ext>
                </a:extLst>
              </a:tr>
              <a:tr h="442848">
                <a:tc>
                  <a:txBody>
                    <a:bodyPr/>
                    <a:lstStyle/>
                    <a:p>
                      <a:r>
                        <a:rPr lang="en-GB" dirty="0"/>
                        <a:t>Overberg</a:t>
                      </a:r>
                    </a:p>
                  </a:txBody>
                  <a:tcPr/>
                </a:tc>
                <a:tc>
                  <a:txBody>
                    <a:bodyPr/>
                    <a:lstStyle/>
                    <a:p>
                      <a:r>
                        <a:rPr lang="en-GB" dirty="0"/>
                        <a:t>25</a:t>
                      </a:r>
                    </a:p>
                  </a:txBody>
                  <a:tcPr/>
                </a:tc>
                <a:extLst>
                  <a:ext uri="{0D108BD9-81ED-4DB2-BD59-A6C34878D82A}">
                    <a16:rowId xmlns:a16="http://schemas.microsoft.com/office/drawing/2014/main" xmlns="" val="34834011"/>
                  </a:ext>
                </a:extLst>
              </a:tr>
              <a:tr h="442848">
                <a:tc>
                  <a:txBody>
                    <a:bodyPr/>
                    <a:lstStyle/>
                    <a:p>
                      <a:r>
                        <a:rPr lang="en-GB" dirty="0"/>
                        <a:t>West Coast</a:t>
                      </a:r>
                    </a:p>
                  </a:txBody>
                  <a:tcPr/>
                </a:tc>
                <a:tc>
                  <a:txBody>
                    <a:bodyPr/>
                    <a:lstStyle/>
                    <a:p>
                      <a:r>
                        <a:rPr lang="en-GB" dirty="0"/>
                        <a:t>36</a:t>
                      </a:r>
                    </a:p>
                  </a:txBody>
                  <a:tcPr/>
                </a:tc>
                <a:extLst>
                  <a:ext uri="{0D108BD9-81ED-4DB2-BD59-A6C34878D82A}">
                    <a16:rowId xmlns:a16="http://schemas.microsoft.com/office/drawing/2014/main" xmlns="" val="3699987564"/>
                  </a:ext>
                </a:extLst>
              </a:tr>
              <a:tr h="442848">
                <a:tc>
                  <a:txBody>
                    <a:bodyPr/>
                    <a:lstStyle/>
                    <a:p>
                      <a:r>
                        <a:rPr lang="en-GB" dirty="0"/>
                        <a:t>Central Hospitals </a:t>
                      </a:r>
                    </a:p>
                  </a:txBody>
                  <a:tcPr/>
                </a:tc>
                <a:tc>
                  <a:txBody>
                    <a:bodyPr/>
                    <a:lstStyle/>
                    <a:p>
                      <a:r>
                        <a:rPr lang="en-GB" dirty="0"/>
                        <a:t>3</a:t>
                      </a:r>
                    </a:p>
                  </a:txBody>
                  <a:tcPr/>
                </a:tc>
                <a:extLst>
                  <a:ext uri="{0D108BD9-81ED-4DB2-BD59-A6C34878D82A}">
                    <a16:rowId xmlns:a16="http://schemas.microsoft.com/office/drawing/2014/main" xmlns="" val="3809210451"/>
                  </a:ext>
                </a:extLst>
              </a:tr>
              <a:tr h="442848">
                <a:tc>
                  <a:txBody>
                    <a:bodyPr/>
                    <a:lstStyle/>
                    <a:p>
                      <a:r>
                        <a:rPr lang="en-GB" dirty="0"/>
                        <a:t>Other ( CDU, WCBTS)</a:t>
                      </a:r>
                    </a:p>
                  </a:txBody>
                  <a:tcPr/>
                </a:tc>
                <a:tc>
                  <a:txBody>
                    <a:bodyPr/>
                    <a:lstStyle/>
                    <a:p>
                      <a:r>
                        <a:rPr lang="en-GB" dirty="0"/>
                        <a:t>2</a:t>
                      </a:r>
                    </a:p>
                  </a:txBody>
                  <a:tcPr/>
                </a:tc>
                <a:extLst>
                  <a:ext uri="{0D108BD9-81ED-4DB2-BD59-A6C34878D82A}">
                    <a16:rowId xmlns:a16="http://schemas.microsoft.com/office/drawing/2014/main" xmlns="" val="4010560235"/>
                  </a:ext>
                </a:extLst>
              </a:tr>
              <a:tr h="442848">
                <a:tc>
                  <a:txBody>
                    <a:bodyPr/>
                    <a:lstStyle/>
                    <a:p>
                      <a:r>
                        <a:rPr lang="en-GB" b="1" dirty="0"/>
                        <a:t>Total </a:t>
                      </a:r>
                    </a:p>
                  </a:txBody>
                  <a:tcPr/>
                </a:tc>
                <a:tc>
                  <a:txBody>
                    <a:bodyPr/>
                    <a:lstStyle/>
                    <a:p>
                      <a:r>
                        <a:rPr lang="en-GB" b="1" dirty="0"/>
                        <a:t>378</a:t>
                      </a:r>
                    </a:p>
                  </a:txBody>
                  <a:tcPr/>
                </a:tc>
                <a:extLst>
                  <a:ext uri="{0D108BD9-81ED-4DB2-BD59-A6C34878D82A}">
                    <a16:rowId xmlns:a16="http://schemas.microsoft.com/office/drawing/2014/main" xmlns="" val="2072882101"/>
                  </a:ext>
                </a:extLst>
              </a:tr>
            </a:tbl>
          </a:graphicData>
        </a:graphic>
      </p:graphicFrame>
      <p:sp>
        <p:nvSpPr>
          <p:cNvPr id="7" name="Rectangle 6"/>
          <p:cNvSpPr/>
          <p:nvPr/>
        </p:nvSpPr>
        <p:spPr>
          <a:xfrm>
            <a:off x="395536" y="1052736"/>
            <a:ext cx="8208912" cy="369332"/>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800" b="0" i="0" u="none" strike="noStrike" kern="1200" cap="none" spc="0" normalizeH="0" baseline="0" noProof="0" dirty="0">
                <a:ln>
                  <a:noFill/>
                </a:ln>
                <a:solidFill>
                  <a:prstClr val="black"/>
                </a:solidFill>
                <a:effectLst/>
                <a:uLnTx/>
                <a:uFillTx/>
                <a:latin typeface="Century Gothic"/>
                <a:ea typeface="+mn-ea"/>
                <a:cs typeface="+mn-cs"/>
              </a:rPr>
              <a:t>Vaccine Administration Sites ( Public sector) </a:t>
            </a:r>
            <a:endParaRPr kumimoji="0" lang="en-ZA" sz="18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xmlns="" val="8386213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A498812-BCF4-4949-B110-7F2BE7775DBB}"/>
              </a:ext>
            </a:extLst>
          </p:cNvPr>
          <p:cNvSpPr>
            <a:spLocks noGrp="1"/>
          </p:cNvSpPr>
          <p:nvPr>
            <p:ph type="title"/>
          </p:nvPr>
        </p:nvSpPr>
        <p:spPr/>
        <p:txBody>
          <a:bodyPr/>
          <a:lstStyle/>
          <a:p>
            <a:r>
              <a:rPr lang="en-GB" dirty="0"/>
              <a:t>Vaccine implementation update (6): Distribution Plan</a:t>
            </a:r>
          </a:p>
        </p:txBody>
      </p:sp>
      <p:sp>
        <p:nvSpPr>
          <p:cNvPr id="3" name="Slide Number Placeholder 2">
            <a:extLst>
              <a:ext uri="{FF2B5EF4-FFF2-40B4-BE49-F238E27FC236}">
                <a16:creationId xmlns:a16="http://schemas.microsoft.com/office/drawing/2014/main" xmlns="" id="{22AC7C82-2338-4848-8994-5C2086550F6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a:extLst>
              <a:ext uri="{FF2B5EF4-FFF2-40B4-BE49-F238E27FC236}">
                <a16:creationId xmlns:a16="http://schemas.microsoft.com/office/drawing/2014/main" xmlns="" id="{E7135EF5-E155-46BB-8FC5-3EB536BCD127}"/>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Go to Insert &gt; Header &amp; Footer &gt; Enter presentation name into footer field</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5" name="Text Placeholder 4">
            <a:extLst>
              <a:ext uri="{FF2B5EF4-FFF2-40B4-BE49-F238E27FC236}">
                <a16:creationId xmlns:a16="http://schemas.microsoft.com/office/drawing/2014/main" xmlns="" id="{5FD2D489-172E-49BE-BC82-BD9978F19E00}"/>
              </a:ext>
            </a:extLst>
          </p:cNvPr>
          <p:cNvSpPr>
            <a:spLocks noGrp="1"/>
          </p:cNvSpPr>
          <p:nvPr>
            <p:ph type="body" sz="quarter" idx="10"/>
          </p:nvPr>
        </p:nvSpPr>
        <p:spPr>
          <a:xfrm>
            <a:off x="273397" y="1052736"/>
            <a:ext cx="8597205" cy="4896073"/>
          </a:xfrm>
        </p:spPr>
        <p:txBody>
          <a:bodyPr>
            <a:normAutofit lnSpcReduction="10000"/>
          </a:bodyPr>
          <a:lstStyle/>
          <a:p>
            <a:pPr marL="285750" indent="-285750">
              <a:lnSpc>
                <a:spcPct val="170000"/>
              </a:lnSpc>
              <a:buFont typeface="Wingdings" panose="05000000000000000000" pitchFamily="2" charset="2"/>
              <a:buChar char="§"/>
            </a:pPr>
            <a:r>
              <a:rPr lang="en-GB" sz="1800" dirty="0"/>
              <a:t>Central Medical Depot </a:t>
            </a:r>
          </a:p>
          <a:p>
            <a:pPr marL="982663" lvl="1" indent="-450850">
              <a:lnSpc>
                <a:spcPct val="170000"/>
              </a:lnSpc>
              <a:buFont typeface="Wingdings" panose="05000000000000000000" pitchFamily="2" charset="2"/>
              <a:buChar char="Ø"/>
            </a:pPr>
            <a:r>
              <a:rPr lang="en-GB" sz="1800" dirty="0"/>
              <a:t>Deliver to 41 private vaccination sites</a:t>
            </a:r>
          </a:p>
          <a:p>
            <a:pPr marL="982663" lvl="1" indent="-450850">
              <a:lnSpc>
                <a:spcPct val="170000"/>
              </a:lnSpc>
              <a:buFont typeface="Wingdings" panose="05000000000000000000" pitchFamily="2" charset="2"/>
              <a:buChar char="Ø"/>
            </a:pPr>
            <a:r>
              <a:rPr lang="en-GB" sz="1800" dirty="0"/>
              <a:t>Deliver to 378 public facilities (including City Health facilities)</a:t>
            </a:r>
          </a:p>
          <a:p>
            <a:pPr marL="982663" lvl="1" indent="-450850">
              <a:lnSpc>
                <a:spcPct val="170000"/>
              </a:lnSpc>
              <a:buFont typeface="Wingdings" panose="05000000000000000000" pitchFamily="2" charset="2"/>
              <a:buChar char="Ø"/>
            </a:pPr>
            <a:r>
              <a:rPr lang="en-GB" sz="1800" dirty="0"/>
              <a:t>Courier in place and dedicated to this, to ensure alignment to vaccine programme start date  </a:t>
            </a:r>
          </a:p>
          <a:p>
            <a:pPr marL="982663" lvl="1" indent="-450850">
              <a:lnSpc>
                <a:spcPct val="170000"/>
              </a:lnSpc>
              <a:buFont typeface="Wingdings" panose="05000000000000000000" pitchFamily="2" charset="2"/>
              <a:buChar char="Ø"/>
            </a:pPr>
            <a:r>
              <a:rPr lang="en-GB" sz="1800" dirty="0"/>
              <a:t>Distribution will take place within 5 – 10 working days from being received.</a:t>
            </a:r>
          </a:p>
          <a:p>
            <a:pPr marL="177188">
              <a:lnSpc>
                <a:spcPct val="170000"/>
              </a:lnSpc>
            </a:pPr>
            <a:endParaRPr lang="en-GB" sz="1800" dirty="0"/>
          </a:p>
          <a:p>
            <a:pPr marL="462938" indent="-285750">
              <a:lnSpc>
                <a:spcPct val="170000"/>
              </a:lnSpc>
              <a:buFont typeface="Wingdings" panose="05000000000000000000" pitchFamily="2" charset="2"/>
              <a:buChar char="§"/>
            </a:pPr>
            <a:r>
              <a:rPr lang="en-GB" sz="1800" dirty="0"/>
              <a:t>SAPS and Law enforcement </a:t>
            </a:r>
            <a:r>
              <a:rPr lang="en-GB" sz="1800" b="0" dirty="0"/>
              <a:t>are being briefed as things move to ensure safe-guarding of vaccines on route </a:t>
            </a:r>
          </a:p>
          <a:p>
            <a:pPr marL="177188">
              <a:lnSpc>
                <a:spcPct val="170000"/>
              </a:lnSpc>
            </a:pPr>
            <a:endParaRPr lang="en-GB" sz="1800" b="0" dirty="0"/>
          </a:p>
          <a:p>
            <a:pPr marL="357188" lvl="1" indent="0">
              <a:lnSpc>
                <a:spcPct val="170000"/>
              </a:lnSpc>
              <a:buNone/>
            </a:pPr>
            <a:endParaRPr lang="en-GB" sz="1800" dirty="0"/>
          </a:p>
          <a:p>
            <a:pPr marL="715963" lvl="1" indent="-358775">
              <a:lnSpc>
                <a:spcPct val="170000"/>
              </a:lnSpc>
              <a:buFont typeface="Arial" panose="020B0604020202020204" pitchFamily="34" charset="0"/>
              <a:buChar char="•"/>
            </a:pPr>
            <a:endParaRPr lang="en-GB" sz="1800" dirty="0"/>
          </a:p>
          <a:p>
            <a:endParaRPr lang="en-GB" dirty="0"/>
          </a:p>
        </p:txBody>
      </p:sp>
    </p:spTree>
    <p:extLst>
      <p:ext uri="{BB962C8B-B14F-4D97-AF65-F5344CB8AC3E}">
        <p14:creationId xmlns:p14="http://schemas.microsoft.com/office/powerpoint/2010/main" xmlns="" val="26081709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A498812-BCF4-4949-B110-7F2BE7775DBB}"/>
              </a:ext>
            </a:extLst>
          </p:cNvPr>
          <p:cNvSpPr>
            <a:spLocks noGrp="1"/>
          </p:cNvSpPr>
          <p:nvPr>
            <p:ph type="title"/>
          </p:nvPr>
        </p:nvSpPr>
        <p:spPr/>
        <p:txBody>
          <a:bodyPr/>
          <a:lstStyle/>
          <a:p>
            <a:r>
              <a:rPr lang="en-GB" dirty="0"/>
              <a:t>Vaccine implementation update (7): SCM</a:t>
            </a:r>
          </a:p>
        </p:txBody>
      </p:sp>
      <p:sp>
        <p:nvSpPr>
          <p:cNvPr id="3" name="Slide Number Placeholder 2">
            <a:extLst>
              <a:ext uri="{FF2B5EF4-FFF2-40B4-BE49-F238E27FC236}">
                <a16:creationId xmlns:a16="http://schemas.microsoft.com/office/drawing/2014/main" xmlns="" id="{22AC7C82-2338-4848-8994-5C2086550F6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a:extLst>
              <a:ext uri="{FF2B5EF4-FFF2-40B4-BE49-F238E27FC236}">
                <a16:creationId xmlns:a16="http://schemas.microsoft.com/office/drawing/2014/main" xmlns="" id="{E7135EF5-E155-46BB-8FC5-3EB536BCD127}"/>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Go to Insert &gt; Header &amp; Footer &gt; Enter presentation name into footer field</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5" name="Text Placeholder 4">
            <a:extLst>
              <a:ext uri="{FF2B5EF4-FFF2-40B4-BE49-F238E27FC236}">
                <a16:creationId xmlns:a16="http://schemas.microsoft.com/office/drawing/2014/main" xmlns="" id="{5FD2D489-172E-49BE-BC82-BD9978F19E00}"/>
              </a:ext>
            </a:extLst>
          </p:cNvPr>
          <p:cNvSpPr>
            <a:spLocks noGrp="1"/>
          </p:cNvSpPr>
          <p:nvPr>
            <p:ph type="body" sz="quarter" idx="10"/>
          </p:nvPr>
        </p:nvSpPr>
        <p:spPr>
          <a:xfrm>
            <a:off x="273397" y="1052736"/>
            <a:ext cx="8597205" cy="4896073"/>
          </a:xfrm>
        </p:spPr>
        <p:txBody>
          <a:bodyPr>
            <a:normAutofit fontScale="92500" lnSpcReduction="20000"/>
          </a:bodyPr>
          <a:lstStyle/>
          <a:p>
            <a:pPr marL="285750" indent="-285750">
              <a:lnSpc>
                <a:spcPct val="170000"/>
              </a:lnSpc>
              <a:buFont typeface="Wingdings" panose="05000000000000000000" pitchFamily="2" charset="2"/>
              <a:buChar char="§"/>
            </a:pPr>
            <a:r>
              <a:rPr lang="en-GB" sz="1800" dirty="0"/>
              <a:t>93 Vaccine Friendly fridges due for delivery this week</a:t>
            </a:r>
          </a:p>
          <a:p>
            <a:pPr marL="285750" indent="-285750">
              <a:lnSpc>
                <a:spcPct val="170000"/>
              </a:lnSpc>
              <a:buFont typeface="Wingdings" panose="05000000000000000000" pitchFamily="2" charset="2"/>
              <a:buChar char="§"/>
            </a:pPr>
            <a:r>
              <a:rPr lang="en-GB" sz="1800" dirty="0"/>
              <a:t>Generators assessment has been conducted and portable generators are on standby</a:t>
            </a:r>
          </a:p>
          <a:p>
            <a:pPr marL="285750" indent="-285750">
              <a:lnSpc>
                <a:spcPct val="170000"/>
              </a:lnSpc>
              <a:buFont typeface="Wingdings" panose="05000000000000000000" pitchFamily="2" charset="2"/>
              <a:buChar char="§"/>
            </a:pPr>
            <a:r>
              <a:rPr lang="en-GB" sz="1800" dirty="0"/>
              <a:t>Consumable orders placed and received (needles, syringes, cooler boxes)</a:t>
            </a:r>
          </a:p>
          <a:p>
            <a:pPr marL="285750" indent="-285750">
              <a:lnSpc>
                <a:spcPct val="170000"/>
              </a:lnSpc>
              <a:buFont typeface="Wingdings" panose="05000000000000000000" pitchFamily="2" charset="2"/>
              <a:buChar char="§"/>
            </a:pPr>
            <a:r>
              <a:rPr lang="en-GB" sz="1800" dirty="0"/>
              <a:t>PPE adequate </a:t>
            </a:r>
          </a:p>
          <a:p>
            <a:pPr marL="285750" indent="-285750">
              <a:lnSpc>
                <a:spcPct val="170000"/>
              </a:lnSpc>
              <a:buFont typeface="Wingdings" panose="05000000000000000000" pitchFamily="2" charset="2"/>
              <a:buChar char="§"/>
            </a:pPr>
            <a:r>
              <a:rPr lang="en-GB" sz="1800" dirty="0"/>
              <a:t>Vaccine cards designed and procurement commenced against an existing contract</a:t>
            </a:r>
          </a:p>
          <a:p>
            <a:pPr marL="285750" indent="-285750">
              <a:lnSpc>
                <a:spcPct val="170000"/>
              </a:lnSpc>
              <a:buFont typeface="Wingdings" panose="05000000000000000000" pitchFamily="2" charset="2"/>
              <a:buChar char="§"/>
            </a:pPr>
            <a:r>
              <a:rPr lang="en-GB" sz="1800" dirty="0"/>
              <a:t>Vaccines will be dispatched with the following: </a:t>
            </a:r>
          </a:p>
          <a:p>
            <a:pPr marL="982663" lvl="1" indent="-450850">
              <a:lnSpc>
                <a:spcPct val="170000"/>
              </a:lnSpc>
              <a:buFont typeface="Wingdings" panose="05000000000000000000" pitchFamily="2" charset="2"/>
              <a:buChar char="Ø"/>
            </a:pPr>
            <a:r>
              <a:rPr lang="en-GB" sz="1800" dirty="0"/>
              <a:t>All related consumables</a:t>
            </a:r>
          </a:p>
          <a:p>
            <a:pPr marL="982663" lvl="1" indent="-450850">
              <a:lnSpc>
                <a:spcPct val="170000"/>
              </a:lnSpc>
              <a:buFont typeface="Wingdings" panose="05000000000000000000" pitchFamily="2" charset="2"/>
              <a:buChar char="Ø"/>
            </a:pPr>
            <a:r>
              <a:rPr lang="en-GB" sz="1800" dirty="0"/>
              <a:t>Vaccine cards</a:t>
            </a:r>
          </a:p>
          <a:p>
            <a:pPr marL="982663" lvl="1" indent="-450850">
              <a:lnSpc>
                <a:spcPct val="170000"/>
              </a:lnSpc>
              <a:buFont typeface="Wingdings" panose="05000000000000000000" pitchFamily="2" charset="2"/>
              <a:buChar char="Ø"/>
            </a:pPr>
            <a:r>
              <a:rPr lang="en-GB" sz="1800" dirty="0"/>
              <a:t>Information sheets</a:t>
            </a:r>
          </a:p>
          <a:p>
            <a:pPr marL="177188">
              <a:lnSpc>
                <a:spcPct val="170000"/>
              </a:lnSpc>
            </a:pPr>
            <a:endParaRPr lang="en-GB" sz="1800" dirty="0"/>
          </a:p>
          <a:p>
            <a:pPr marL="177188">
              <a:lnSpc>
                <a:spcPct val="170000"/>
              </a:lnSpc>
            </a:pPr>
            <a:endParaRPr lang="en-GB" sz="1800" b="0" dirty="0"/>
          </a:p>
          <a:p>
            <a:pPr marL="357188" lvl="1" indent="0">
              <a:lnSpc>
                <a:spcPct val="170000"/>
              </a:lnSpc>
              <a:buNone/>
            </a:pPr>
            <a:endParaRPr lang="en-GB" sz="1800" dirty="0"/>
          </a:p>
          <a:p>
            <a:pPr marL="715963" lvl="1" indent="-358775">
              <a:lnSpc>
                <a:spcPct val="170000"/>
              </a:lnSpc>
              <a:buFont typeface="Arial" panose="020B0604020202020204" pitchFamily="34" charset="0"/>
              <a:buChar char="•"/>
            </a:pPr>
            <a:endParaRPr lang="en-GB" sz="1800" dirty="0"/>
          </a:p>
          <a:p>
            <a:endParaRPr lang="en-GB" dirty="0"/>
          </a:p>
        </p:txBody>
      </p:sp>
    </p:spTree>
    <p:extLst>
      <p:ext uri="{BB962C8B-B14F-4D97-AF65-F5344CB8AC3E}">
        <p14:creationId xmlns:p14="http://schemas.microsoft.com/office/powerpoint/2010/main" xmlns="" val="35187962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Vaccine implementation update (8): Training for </a:t>
            </a:r>
            <a:br>
              <a:rPr lang="en-GB" dirty="0"/>
            </a:br>
            <a:r>
              <a:rPr lang="en-GB" dirty="0"/>
              <a:t>Vaccinators</a:t>
            </a:r>
            <a:endParaRPr lang="en-ZA" dirty="0"/>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Go to Insert &gt; Header &amp; Footer &gt; Enter presentation name into footer field</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5" name="Text Placeholder 4"/>
          <p:cNvSpPr>
            <a:spLocks noGrp="1"/>
          </p:cNvSpPr>
          <p:nvPr>
            <p:ph type="body" sz="quarter" idx="10"/>
          </p:nvPr>
        </p:nvSpPr>
        <p:spPr>
          <a:xfrm>
            <a:off x="35496" y="980728"/>
            <a:ext cx="8597205" cy="5040560"/>
          </a:xfrm>
        </p:spPr>
        <p:txBody>
          <a:bodyPr>
            <a:normAutofit fontScale="92500" lnSpcReduction="10000"/>
          </a:bodyPr>
          <a:lstStyle/>
          <a:p>
            <a:pPr marL="642938" lvl="1" indent="-285750">
              <a:lnSpc>
                <a:spcPct val="170000"/>
              </a:lnSpc>
              <a:buFont typeface="Wingdings" panose="05000000000000000000" pitchFamily="2" charset="2"/>
              <a:buChar char="§"/>
            </a:pPr>
            <a:r>
              <a:rPr lang="en-GB" sz="1800" b="1" dirty="0"/>
              <a:t>Training of vaccinators </a:t>
            </a:r>
            <a:r>
              <a:rPr lang="en-GB" sz="1800" dirty="0"/>
              <a:t>will commence on 02 February 2021 by Provincial PDC. Over </a:t>
            </a:r>
            <a:r>
              <a:rPr lang="en-GB" sz="1800" b="1" dirty="0"/>
              <a:t>1995 vaccinators ready for training </a:t>
            </a:r>
            <a:r>
              <a:rPr lang="en-GB" sz="1800" dirty="0"/>
              <a:t>and 500 applicants to be loaded. </a:t>
            </a:r>
          </a:p>
          <a:p>
            <a:pPr marL="642938" lvl="1" indent="-285750">
              <a:lnSpc>
                <a:spcPct val="170000"/>
              </a:lnSpc>
              <a:buFont typeface="Wingdings" panose="05000000000000000000" pitchFamily="2" charset="2"/>
              <a:buChar char="§"/>
            </a:pPr>
            <a:r>
              <a:rPr lang="en-GB" sz="1800" dirty="0"/>
              <a:t>This will be the </a:t>
            </a:r>
            <a:r>
              <a:rPr lang="en-GB" sz="1800" b="1" dirty="0"/>
              <a:t>biggest training intervention </a:t>
            </a:r>
            <a:r>
              <a:rPr lang="en-GB" sz="1800" dirty="0"/>
              <a:t>launched by the People Development Centre to date and will include staff from WCGH, </a:t>
            </a:r>
            <a:r>
              <a:rPr lang="en-GB" sz="1800" dirty="0" err="1"/>
              <a:t>CoCT</a:t>
            </a:r>
            <a:r>
              <a:rPr lang="en-GB" sz="1800" dirty="0"/>
              <a:t>, NGOs and private sector.</a:t>
            </a:r>
          </a:p>
          <a:p>
            <a:pPr marL="642938" lvl="1" indent="-285750">
              <a:lnSpc>
                <a:spcPct val="170000"/>
              </a:lnSpc>
              <a:buFont typeface="Wingdings" panose="05000000000000000000" pitchFamily="2" charset="2"/>
              <a:buChar char="§"/>
            </a:pPr>
            <a:r>
              <a:rPr lang="en-ZA" sz="1800" dirty="0"/>
              <a:t>Training will </a:t>
            </a:r>
            <a:r>
              <a:rPr lang="en-ZA" sz="1800" b="1" dirty="0"/>
              <a:t>focus</a:t>
            </a:r>
            <a:r>
              <a:rPr lang="en-ZA" sz="1800" dirty="0"/>
              <a:t> on handling, storage, research, special considerations, product information and data management aspects, aligned to </a:t>
            </a:r>
            <a:r>
              <a:rPr lang="en-ZA" sz="1800" dirty="0" err="1"/>
              <a:t>NDoH</a:t>
            </a:r>
            <a:r>
              <a:rPr lang="en-ZA" sz="1800" dirty="0"/>
              <a:t> and WHO criteria for inclusion.</a:t>
            </a:r>
          </a:p>
          <a:p>
            <a:pPr marL="642938" lvl="1" indent="-285750">
              <a:lnSpc>
                <a:spcPct val="170000"/>
              </a:lnSpc>
              <a:buFont typeface="Wingdings" panose="05000000000000000000" pitchFamily="2" charset="2"/>
              <a:buChar char="§"/>
            </a:pPr>
            <a:r>
              <a:rPr lang="en-ZA" sz="1800" dirty="0"/>
              <a:t> The training programme includes a </a:t>
            </a:r>
            <a:r>
              <a:rPr lang="en-ZA" sz="1800" b="1" dirty="0"/>
              <a:t>virtual online training package </a:t>
            </a:r>
            <a:r>
              <a:rPr lang="en-ZA" sz="1800" dirty="0"/>
              <a:t>in both SD and HD format to allow access on </a:t>
            </a:r>
            <a:r>
              <a:rPr lang="en-ZA" sz="1800" b="1" dirty="0"/>
              <a:t>mobile devices </a:t>
            </a:r>
            <a:r>
              <a:rPr lang="en-ZA" sz="1800" dirty="0"/>
              <a:t>and </a:t>
            </a:r>
            <a:r>
              <a:rPr lang="en-ZA" sz="1800" b="1" dirty="0"/>
              <a:t>computers</a:t>
            </a:r>
            <a:r>
              <a:rPr lang="en-ZA" sz="1800" dirty="0"/>
              <a:t>. </a:t>
            </a:r>
          </a:p>
          <a:p>
            <a:pPr marL="642938" lvl="1" indent="-285750">
              <a:lnSpc>
                <a:spcPct val="170000"/>
              </a:lnSpc>
              <a:buFont typeface="Wingdings" panose="05000000000000000000" pitchFamily="2" charset="2"/>
              <a:buChar char="§"/>
            </a:pPr>
            <a:endParaRPr lang="en-ZA" sz="1800" dirty="0"/>
          </a:p>
          <a:p>
            <a:pPr marL="642938" lvl="1" indent="-285750">
              <a:lnSpc>
                <a:spcPct val="170000"/>
              </a:lnSpc>
              <a:buFont typeface="Wingdings" panose="05000000000000000000" pitchFamily="2" charset="2"/>
              <a:buChar char="§"/>
            </a:pPr>
            <a:endParaRPr lang="en-GB" sz="1800" dirty="0"/>
          </a:p>
          <a:p>
            <a:endParaRPr lang="en-ZA" dirty="0"/>
          </a:p>
        </p:txBody>
      </p:sp>
    </p:spTree>
    <p:extLst>
      <p:ext uri="{BB962C8B-B14F-4D97-AF65-F5344CB8AC3E}">
        <p14:creationId xmlns:p14="http://schemas.microsoft.com/office/powerpoint/2010/main" xmlns="" val="9244059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Vaccine implementation update (9): Training for </a:t>
            </a:r>
            <a:br>
              <a:rPr lang="en-GB" dirty="0"/>
            </a:br>
            <a:r>
              <a:rPr lang="en-GB" dirty="0"/>
              <a:t>Vaccinators</a:t>
            </a:r>
            <a:endParaRPr lang="en-ZA" dirty="0"/>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Go to Insert &gt; Header &amp; Footer &gt; Enter presentation name into footer field</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graphicFrame>
        <p:nvGraphicFramePr>
          <p:cNvPr id="6" name="Table 5">
            <a:extLst>
              <a:ext uri="{FF2B5EF4-FFF2-40B4-BE49-F238E27FC236}">
                <a16:creationId xmlns:a16="http://schemas.microsoft.com/office/drawing/2014/main" xmlns="" id="{D7D7C94D-E634-4C22-BBC5-FC986F7920F5}"/>
              </a:ext>
            </a:extLst>
          </p:cNvPr>
          <p:cNvGraphicFramePr>
            <a:graphicFrameLocks noGrp="1"/>
          </p:cNvGraphicFramePr>
          <p:nvPr/>
        </p:nvGraphicFramePr>
        <p:xfrm>
          <a:off x="467544" y="1340768"/>
          <a:ext cx="8289926" cy="4752527"/>
        </p:xfrm>
        <a:graphic>
          <a:graphicData uri="http://schemas.openxmlformats.org/drawingml/2006/table">
            <a:tbl>
              <a:tblPr firstRow="1" firstCol="1" bandRow="1"/>
              <a:tblGrid>
                <a:gridCol w="2121659">
                  <a:extLst>
                    <a:ext uri="{9D8B030D-6E8A-4147-A177-3AD203B41FA5}">
                      <a16:colId xmlns:a16="http://schemas.microsoft.com/office/drawing/2014/main" xmlns="" val="4030548098"/>
                    </a:ext>
                  </a:extLst>
                </a:gridCol>
                <a:gridCol w="2978754">
                  <a:extLst>
                    <a:ext uri="{9D8B030D-6E8A-4147-A177-3AD203B41FA5}">
                      <a16:colId xmlns:a16="http://schemas.microsoft.com/office/drawing/2014/main" xmlns="" val="93342441"/>
                    </a:ext>
                  </a:extLst>
                </a:gridCol>
                <a:gridCol w="3189513">
                  <a:extLst>
                    <a:ext uri="{9D8B030D-6E8A-4147-A177-3AD203B41FA5}">
                      <a16:colId xmlns:a16="http://schemas.microsoft.com/office/drawing/2014/main" xmlns="" val="3113898413"/>
                    </a:ext>
                  </a:extLst>
                </a:gridCol>
              </a:tblGrid>
              <a:tr h="592527">
                <a:tc gridSpan="3">
                  <a:txBody>
                    <a:bodyPr/>
                    <a:lstStyle/>
                    <a:p>
                      <a:pPr algn="ctr">
                        <a:lnSpc>
                          <a:spcPct val="150000"/>
                        </a:lnSpc>
                        <a:spcAft>
                          <a:spcPts val="0"/>
                        </a:spcAft>
                      </a:pPr>
                      <a:r>
                        <a:rPr lang="en-US" sz="1100" b="1" dirty="0">
                          <a:solidFill>
                            <a:srgbClr val="FFFFFF"/>
                          </a:solidFill>
                          <a:effectLst/>
                          <a:latin typeface="Century Gothic" panose="020B0502020202020204" pitchFamily="34" charset="0"/>
                          <a:ea typeface="Century Gothic" panose="020B0502020202020204" pitchFamily="34" charset="0"/>
                          <a:cs typeface="Century Gothic" panose="020B0502020202020204" pitchFamily="34" charset="0"/>
                        </a:rPr>
                        <a:t>TRAINING PROGRAMME</a:t>
                      </a:r>
                    </a:p>
                    <a:p>
                      <a:pPr algn="ctr">
                        <a:lnSpc>
                          <a:spcPct val="150000"/>
                        </a:lnSpc>
                        <a:spcAft>
                          <a:spcPts val="0"/>
                        </a:spcAft>
                      </a:pPr>
                      <a:endParaRPr lang="en-ZA" sz="1100" dirty="0">
                        <a:effectLst/>
                        <a:latin typeface="Century Gothic" panose="020B0502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7DBA"/>
                      </a:solidFill>
                      <a:prstDash val="solid"/>
                      <a:round/>
                      <a:headEnd type="none" w="med" len="med"/>
                      <a:tailEnd type="none" w="med" len="med"/>
                    </a:lnL>
                    <a:lnR w="12700" cap="flat" cmpd="sng" algn="ctr">
                      <a:solidFill>
                        <a:srgbClr val="007DBA"/>
                      </a:solidFill>
                      <a:prstDash val="solid"/>
                      <a:round/>
                      <a:headEnd type="none" w="med" len="med"/>
                      <a:tailEnd type="none" w="med" len="med"/>
                    </a:lnR>
                    <a:lnT w="12700" cap="flat" cmpd="sng" algn="ctr">
                      <a:solidFill>
                        <a:srgbClr val="007DBA"/>
                      </a:solidFill>
                      <a:prstDash val="solid"/>
                      <a:round/>
                      <a:headEnd type="none" w="med" len="med"/>
                      <a:tailEnd type="none" w="med" len="med"/>
                    </a:lnT>
                    <a:lnB w="12700" cap="flat" cmpd="sng" algn="ctr">
                      <a:solidFill>
                        <a:srgbClr val="007DBA"/>
                      </a:solidFill>
                      <a:prstDash val="solid"/>
                      <a:round/>
                      <a:headEnd type="none" w="med" len="med"/>
                      <a:tailEnd type="none" w="med" len="med"/>
                    </a:lnB>
                    <a:solidFill>
                      <a:srgbClr val="007DBA"/>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3025833046"/>
                  </a:ext>
                </a:extLst>
              </a:tr>
              <a:tr h="560100">
                <a:tc>
                  <a:txBody>
                    <a:bodyPr/>
                    <a:lstStyle/>
                    <a:p>
                      <a:pPr algn="ctr">
                        <a:lnSpc>
                          <a:spcPct val="150000"/>
                        </a:lnSpc>
                        <a:spcAft>
                          <a:spcPts val="0"/>
                        </a:spcAft>
                      </a:pPr>
                      <a:r>
                        <a:rPr lang="en-US" sz="1100" b="1" dirty="0">
                          <a:solidFill>
                            <a:srgbClr val="007DBA"/>
                          </a:solidFill>
                          <a:effectLst/>
                          <a:latin typeface="Century Gothic" panose="020B0502020202020204" pitchFamily="34" charset="0"/>
                          <a:ea typeface="Century Gothic" panose="020B0502020202020204" pitchFamily="34" charset="0"/>
                          <a:cs typeface="Century Gothic" panose="020B0502020202020204" pitchFamily="34" charset="0"/>
                        </a:rPr>
                        <a:t>TRAINING INTERVENTION</a:t>
                      </a:r>
                      <a:endParaRPr lang="en-ZA" sz="1100" dirty="0">
                        <a:effectLst/>
                        <a:latin typeface="Century Gothic" panose="020B0502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A6BBC8"/>
                      </a:solidFill>
                      <a:prstDash val="solid"/>
                      <a:round/>
                      <a:headEnd type="none" w="med" len="med"/>
                      <a:tailEnd type="none" w="med" len="med"/>
                    </a:lnL>
                    <a:lnR w="12700" cap="flat" cmpd="sng" algn="ctr">
                      <a:solidFill>
                        <a:srgbClr val="A6BBC8"/>
                      </a:solidFill>
                      <a:prstDash val="solid"/>
                      <a:round/>
                      <a:headEnd type="none" w="med" len="med"/>
                      <a:tailEnd type="none" w="med" len="med"/>
                    </a:lnR>
                    <a:lnT w="12700" cap="flat" cmpd="sng" algn="ctr">
                      <a:solidFill>
                        <a:srgbClr val="007DBA"/>
                      </a:solidFill>
                      <a:prstDash val="solid"/>
                      <a:round/>
                      <a:headEnd type="none" w="med" len="med"/>
                      <a:tailEnd type="none" w="med" len="med"/>
                    </a:lnT>
                    <a:lnB w="12700" cap="flat" cmpd="sng" algn="ctr">
                      <a:solidFill>
                        <a:srgbClr val="A6BBC8"/>
                      </a:solidFill>
                      <a:prstDash val="solid"/>
                      <a:round/>
                      <a:headEnd type="none" w="med" len="med"/>
                      <a:tailEnd type="none" w="med" len="med"/>
                    </a:lnB>
                  </a:tcPr>
                </a:tc>
                <a:tc>
                  <a:txBody>
                    <a:bodyPr/>
                    <a:lstStyle/>
                    <a:p>
                      <a:pPr algn="ctr">
                        <a:lnSpc>
                          <a:spcPct val="150000"/>
                        </a:lnSpc>
                        <a:spcAft>
                          <a:spcPts val="0"/>
                        </a:spcAft>
                      </a:pPr>
                      <a:r>
                        <a:rPr lang="en-US" sz="1100" b="1" dirty="0">
                          <a:solidFill>
                            <a:srgbClr val="007DBA"/>
                          </a:solidFill>
                          <a:effectLst/>
                          <a:latin typeface="Century Gothic" panose="020B0502020202020204" pitchFamily="34" charset="0"/>
                          <a:ea typeface="Century Gothic" panose="020B0502020202020204" pitchFamily="34" charset="0"/>
                          <a:cs typeface="Century Gothic" panose="020B0502020202020204" pitchFamily="34" charset="0"/>
                        </a:rPr>
                        <a:t>MODE OF DELIVERY</a:t>
                      </a:r>
                      <a:endParaRPr lang="en-ZA" sz="1100" dirty="0">
                        <a:effectLst/>
                        <a:latin typeface="Century Gothic" panose="020B0502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A6BBC8"/>
                      </a:solidFill>
                      <a:prstDash val="solid"/>
                      <a:round/>
                      <a:headEnd type="none" w="med" len="med"/>
                      <a:tailEnd type="none" w="med" len="med"/>
                    </a:lnL>
                    <a:lnR w="12700" cap="flat" cmpd="sng" algn="ctr">
                      <a:solidFill>
                        <a:srgbClr val="A6BBC8"/>
                      </a:solidFill>
                      <a:prstDash val="solid"/>
                      <a:round/>
                      <a:headEnd type="none" w="med" len="med"/>
                      <a:tailEnd type="none" w="med" len="med"/>
                    </a:lnR>
                    <a:lnT w="12700" cap="flat" cmpd="sng" algn="ctr">
                      <a:solidFill>
                        <a:srgbClr val="007DBA"/>
                      </a:solidFill>
                      <a:prstDash val="solid"/>
                      <a:round/>
                      <a:headEnd type="none" w="med" len="med"/>
                      <a:tailEnd type="none" w="med" len="med"/>
                    </a:lnT>
                    <a:lnB w="12700" cap="flat" cmpd="sng" algn="ctr">
                      <a:solidFill>
                        <a:srgbClr val="A6BBC8"/>
                      </a:solidFill>
                      <a:prstDash val="solid"/>
                      <a:round/>
                      <a:headEnd type="none" w="med" len="med"/>
                      <a:tailEnd type="none" w="med" len="med"/>
                    </a:lnB>
                  </a:tcPr>
                </a:tc>
                <a:tc>
                  <a:txBody>
                    <a:bodyPr/>
                    <a:lstStyle/>
                    <a:p>
                      <a:pPr algn="ctr">
                        <a:lnSpc>
                          <a:spcPct val="150000"/>
                        </a:lnSpc>
                        <a:spcAft>
                          <a:spcPts val="0"/>
                        </a:spcAft>
                      </a:pPr>
                      <a:r>
                        <a:rPr lang="en-US" sz="1100" b="1" dirty="0">
                          <a:solidFill>
                            <a:srgbClr val="007DBA"/>
                          </a:solidFill>
                          <a:effectLst/>
                          <a:latin typeface="Century Gothic" panose="020B0502020202020204" pitchFamily="34" charset="0"/>
                          <a:ea typeface="Century Gothic" panose="020B0502020202020204" pitchFamily="34" charset="0"/>
                          <a:cs typeface="Century Gothic" panose="020B0502020202020204" pitchFamily="34" charset="0"/>
                        </a:rPr>
                        <a:t>TARGET GROUP</a:t>
                      </a:r>
                      <a:endParaRPr lang="en-ZA" sz="1100" dirty="0">
                        <a:effectLst/>
                        <a:latin typeface="Century Gothic" panose="020B0502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A6BBC8"/>
                      </a:solidFill>
                      <a:prstDash val="solid"/>
                      <a:round/>
                      <a:headEnd type="none" w="med" len="med"/>
                      <a:tailEnd type="none" w="med" len="med"/>
                    </a:lnL>
                    <a:lnR w="12700" cap="flat" cmpd="sng" algn="ctr">
                      <a:solidFill>
                        <a:srgbClr val="A6BBC8"/>
                      </a:solidFill>
                      <a:prstDash val="solid"/>
                      <a:round/>
                      <a:headEnd type="none" w="med" len="med"/>
                      <a:tailEnd type="none" w="med" len="med"/>
                    </a:lnR>
                    <a:lnT w="12700" cap="flat" cmpd="sng" algn="ctr">
                      <a:solidFill>
                        <a:srgbClr val="007DBA"/>
                      </a:solidFill>
                      <a:prstDash val="solid"/>
                      <a:round/>
                      <a:headEnd type="none" w="med" len="med"/>
                      <a:tailEnd type="none" w="med" len="med"/>
                    </a:lnT>
                    <a:lnB w="12700" cap="flat" cmpd="sng" algn="ctr">
                      <a:solidFill>
                        <a:srgbClr val="A6BBC8"/>
                      </a:solidFill>
                      <a:prstDash val="solid"/>
                      <a:round/>
                      <a:headEnd type="none" w="med" len="med"/>
                      <a:tailEnd type="none" w="med" len="med"/>
                    </a:lnB>
                  </a:tcPr>
                </a:tc>
                <a:extLst>
                  <a:ext uri="{0D108BD9-81ED-4DB2-BD59-A6C34878D82A}">
                    <a16:rowId xmlns:a16="http://schemas.microsoft.com/office/drawing/2014/main" xmlns="" val="858715837"/>
                  </a:ext>
                </a:extLst>
              </a:tr>
              <a:tr h="888791">
                <a:tc>
                  <a:txBody>
                    <a:bodyPr/>
                    <a:lstStyle/>
                    <a:p>
                      <a:pPr algn="l">
                        <a:lnSpc>
                          <a:spcPct val="150000"/>
                        </a:lnSpc>
                        <a:spcAft>
                          <a:spcPts val="0"/>
                        </a:spcAft>
                      </a:pPr>
                      <a:r>
                        <a:rPr lang="en-US" sz="1100" b="1" dirty="0">
                          <a:effectLst/>
                          <a:latin typeface="Century Gothic" panose="020B0502020202020204" pitchFamily="34" charset="0"/>
                          <a:ea typeface="Century Gothic" panose="020B0502020202020204" pitchFamily="34" charset="0"/>
                          <a:cs typeface="Century Gothic" panose="020B0502020202020204" pitchFamily="34" charset="0"/>
                        </a:rPr>
                        <a:t>COVID-19 VACCINE TRAINING</a:t>
                      </a:r>
                      <a:endParaRPr lang="en-ZA" sz="1100" dirty="0">
                        <a:effectLst/>
                        <a:latin typeface="Century Gothic" panose="020B0502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A6BBC8"/>
                      </a:solidFill>
                      <a:prstDash val="solid"/>
                      <a:round/>
                      <a:headEnd type="none" w="med" len="med"/>
                      <a:tailEnd type="none" w="med" len="med"/>
                    </a:lnL>
                    <a:lnR w="12700" cap="flat" cmpd="sng" algn="ctr">
                      <a:solidFill>
                        <a:srgbClr val="A6BBC8"/>
                      </a:solidFill>
                      <a:prstDash val="solid"/>
                      <a:round/>
                      <a:headEnd type="none" w="med" len="med"/>
                      <a:tailEnd type="none" w="med" len="med"/>
                    </a:lnR>
                    <a:lnT w="12700" cap="flat" cmpd="sng" algn="ctr">
                      <a:solidFill>
                        <a:srgbClr val="A6BBC8"/>
                      </a:solidFill>
                      <a:prstDash val="solid"/>
                      <a:round/>
                      <a:headEnd type="none" w="med" len="med"/>
                      <a:tailEnd type="none" w="med" len="med"/>
                    </a:lnT>
                    <a:lnB w="12700" cap="flat" cmpd="sng" algn="ctr">
                      <a:solidFill>
                        <a:srgbClr val="A6BBC8"/>
                      </a:solidFill>
                      <a:prstDash val="solid"/>
                      <a:round/>
                      <a:headEnd type="none" w="med" len="med"/>
                      <a:tailEnd type="none" w="med" len="med"/>
                    </a:lnB>
                  </a:tcPr>
                </a:tc>
                <a:tc>
                  <a:txBody>
                    <a:bodyPr/>
                    <a:lstStyle/>
                    <a:p>
                      <a:pPr algn="just">
                        <a:lnSpc>
                          <a:spcPct val="150000"/>
                        </a:lnSpc>
                        <a:spcAft>
                          <a:spcPts val="0"/>
                        </a:spcAft>
                      </a:pPr>
                      <a:r>
                        <a:rPr lang="en-US" sz="1100" dirty="0">
                          <a:effectLst/>
                          <a:latin typeface="Century Gothic" panose="020B0502020202020204" pitchFamily="34" charset="0"/>
                          <a:ea typeface="Century Gothic" panose="020B0502020202020204" pitchFamily="34" charset="0"/>
                          <a:cs typeface="Century Gothic" panose="020B0502020202020204" pitchFamily="34" charset="0"/>
                        </a:rPr>
                        <a:t>3,5-hour podcast, available via online link or flash drive (</a:t>
                      </a:r>
                      <a:r>
                        <a:rPr lang="en-US" sz="1100" dirty="0" err="1">
                          <a:effectLst/>
                          <a:latin typeface="Century Gothic" panose="020B0502020202020204" pitchFamily="34" charset="0"/>
                          <a:ea typeface="Century Gothic" panose="020B0502020202020204" pitchFamily="34" charset="0"/>
                          <a:cs typeface="Century Gothic" panose="020B0502020202020204" pitchFamily="34" charset="0"/>
                        </a:rPr>
                        <a:t>Stellmed</a:t>
                      </a:r>
                      <a:r>
                        <a:rPr lang="en-US" sz="1100" dirty="0">
                          <a:effectLst/>
                          <a:latin typeface="Century Gothic" panose="020B0502020202020204" pitchFamily="34" charset="0"/>
                          <a:ea typeface="Century Gothic" panose="020B0502020202020204" pitchFamily="34" charset="0"/>
                          <a:cs typeface="Century Gothic" panose="020B0502020202020204" pitchFamily="34" charset="0"/>
                        </a:rPr>
                        <a:t> and PDC)</a:t>
                      </a:r>
                      <a:endParaRPr lang="en-ZA" sz="1100" dirty="0">
                        <a:effectLst/>
                        <a:latin typeface="Century Gothic" panose="020B0502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A6BBC8"/>
                      </a:solidFill>
                      <a:prstDash val="solid"/>
                      <a:round/>
                      <a:headEnd type="none" w="med" len="med"/>
                      <a:tailEnd type="none" w="med" len="med"/>
                    </a:lnL>
                    <a:lnR w="12700" cap="flat" cmpd="sng" algn="ctr">
                      <a:solidFill>
                        <a:srgbClr val="A6BBC8"/>
                      </a:solidFill>
                      <a:prstDash val="solid"/>
                      <a:round/>
                      <a:headEnd type="none" w="med" len="med"/>
                      <a:tailEnd type="none" w="med" len="med"/>
                    </a:lnR>
                    <a:lnT w="12700" cap="flat" cmpd="sng" algn="ctr">
                      <a:solidFill>
                        <a:srgbClr val="A6BBC8"/>
                      </a:solidFill>
                      <a:prstDash val="solid"/>
                      <a:round/>
                      <a:headEnd type="none" w="med" len="med"/>
                      <a:tailEnd type="none" w="med" len="med"/>
                    </a:lnT>
                    <a:lnB w="12700" cap="flat" cmpd="sng" algn="ctr">
                      <a:solidFill>
                        <a:srgbClr val="A6BBC8"/>
                      </a:solidFill>
                      <a:prstDash val="solid"/>
                      <a:round/>
                      <a:headEnd type="none" w="med" len="med"/>
                      <a:tailEnd type="none" w="med" len="med"/>
                    </a:lnB>
                  </a:tcPr>
                </a:tc>
                <a:tc>
                  <a:txBody>
                    <a:bodyPr/>
                    <a:lstStyle/>
                    <a:p>
                      <a:pPr marL="342900" lvl="0" indent="-342900" algn="l">
                        <a:lnSpc>
                          <a:spcPct val="150000"/>
                        </a:lnSpc>
                        <a:spcAft>
                          <a:spcPts val="0"/>
                        </a:spcAft>
                        <a:buFont typeface="Symbol" panose="05050102010706020507" pitchFamily="18" charset="2"/>
                        <a:buChar char=""/>
                      </a:pPr>
                      <a:r>
                        <a:rPr lang="en-US" sz="1100" dirty="0">
                          <a:effectLst/>
                          <a:latin typeface="Century Gothic" panose="020B0502020202020204" pitchFamily="34" charset="0"/>
                          <a:ea typeface="Century Gothic" panose="020B0502020202020204" pitchFamily="34" charset="0"/>
                          <a:cs typeface="Century Gothic" panose="020B0502020202020204" pitchFamily="34" charset="0"/>
                        </a:rPr>
                        <a:t>vaccinators</a:t>
                      </a:r>
                      <a:endParaRPr lang="en-ZA" sz="1100" dirty="0">
                        <a:effectLst/>
                        <a:latin typeface="Century Gothic" panose="020B0502020202020204" pitchFamily="34" charset="0"/>
                        <a:ea typeface="Calibri" panose="020F0502020204030204" pitchFamily="34" charset="0"/>
                        <a:cs typeface="Arial" panose="020B0604020202020204" pitchFamily="34" charset="0"/>
                      </a:endParaRPr>
                    </a:p>
                    <a:p>
                      <a:pPr marL="342900" lvl="0" indent="-342900" algn="l">
                        <a:lnSpc>
                          <a:spcPct val="150000"/>
                        </a:lnSpc>
                        <a:spcAft>
                          <a:spcPts val="0"/>
                        </a:spcAft>
                        <a:buFont typeface="Symbol" panose="05050102010706020507" pitchFamily="18" charset="2"/>
                        <a:buChar char=""/>
                      </a:pPr>
                      <a:r>
                        <a:rPr lang="en-US" sz="1100" dirty="0">
                          <a:effectLst/>
                          <a:latin typeface="Century Gothic" panose="020B0502020202020204" pitchFamily="34" charset="0"/>
                          <a:ea typeface="Century Gothic" panose="020B0502020202020204" pitchFamily="34" charset="0"/>
                          <a:cs typeface="Century Gothic" panose="020B0502020202020204" pitchFamily="34" charset="0"/>
                        </a:rPr>
                        <a:t>team managers</a:t>
                      </a:r>
                      <a:endParaRPr lang="en-ZA" sz="1100" dirty="0">
                        <a:effectLst/>
                        <a:latin typeface="Century Gothic" panose="020B0502020202020204" pitchFamily="34" charset="0"/>
                        <a:ea typeface="Calibri" panose="020F0502020204030204" pitchFamily="34" charset="0"/>
                        <a:cs typeface="Arial" panose="020B0604020202020204" pitchFamily="34" charset="0"/>
                      </a:endParaRPr>
                    </a:p>
                    <a:p>
                      <a:pPr marL="342900" lvl="0" indent="-342900" algn="l">
                        <a:lnSpc>
                          <a:spcPct val="150000"/>
                        </a:lnSpc>
                        <a:spcAft>
                          <a:spcPts val="0"/>
                        </a:spcAft>
                        <a:buFont typeface="Symbol" panose="05050102010706020507" pitchFamily="18" charset="2"/>
                        <a:buChar char=""/>
                      </a:pPr>
                      <a:r>
                        <a:rPr lang="en-US" sz="1100" dirty="0">
                          <a:effectLst/>
                          <a:latin typeface="Century Gothic" panose="020B0502020202020204" pitchFamily="34" charset="0"/>
                          <a:ea typeface="Century Gothic" panose="020B0502020202020204" pitchFamily="34" charset="0"/>
                          <a:cs typeface="Century Gothic" panose="020B0502020202020204" pitchFamily="34" charset="0"/>
                        </a:rPr>
                        <a:t>support staff (e.g., pharmacy)</a:t>
                      </a:r>
                      <a:endParaRPr lang="en-ZA" sz="1100" dirty="0">
                        <a:effectLst/>
                        <a:latin typeface="Century Gothic" panose="020B0502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A6BBC8"/>
                      </a:solidFill>
                      <a:prstDash val="solid"/>
                      <a:round/>
                      <a:headEnd type="none" w="med" len="med"/>
                      <a:tailEnd type="none" w="med" len="med"/>
                    </a:lnL>
                    <a:lnR w="12700" cap="flat" cmpd="sng" algn="ctr">
                      <a:solidFill>
                        <a:srgbClr val="A6BBC8"/>
                      </a:solidFill>
                      <a:prstDash val="solid"/>
                      <a:round/>
                      <a:headEnd type="none" w="med" len="med"/>
                      <a:tailEnd type="none" w="med" len="med"/>
                    </a:lnR>
                    <a:lnT w="12700" cap="flat" cmpd="sng" algn="ctr">
                      <a:solidFill>
                        <a:srgbClr val="A6BBC8"/>
                      </a:solidFill>
                      <a:prstDash val="solid"/>
                      <a:round/>
                      <a:headEnd type="none" w="med" len="med"/>
                      <a:tailEnd type="none" w="med" len="med"/>
                    </a:lnT>
                    <a:lnB w="12700" cap="flat" cmpd="sng" algn="ctr">
                      <a:solidFill>
                        <a:srgbClr val="A6BBC8"/>
                      </a:solidFill>
                      <a:prstDash val="solid"/>
                      <a:round/>
                      <a:headEnd type="none" w="med" len="med"/>
                      <a:tailEnd type="none" w="med" len="med"/>
                    </a:lnB>
                  </a:tcPr>
                </a:tc>
                <a:extLst>
                  <a:ext uri="{0D108BD9-81ED-4DB2-BD59-A6C34878D82A}">
                    <a16:rowId xmlns:a16="http://schemas.microsoft.com/office/drawing/2014/main" xmlns="" val="2446866121"/>
                  </a:ext>
                </a:extLst>
              </a:tr>
              <a:tr h="1822318">
                <a:tc>
                  <a:txBody>
                    <a:bodyPr/>
                    <a:lstStyle/>
                    <a:p>
                      <a:pPr algn="l">
                        <a:lnSpc>
                          <a:spcPct val="150000"/>
                        </a:lnSpc>
                        <a:spcAft>
                          <a:spcPts val="0"/>
                        </a:spcAft>
                      </a:pPr>
                      <a:r>
                        <a:rPr lang="en-US" sz="1100" b="1" dirty="0">
                          <a:effectLst/>
                          <a:latin typeface="Century Gothic" panose="020B0502020202020204" pitchFamily="34" charset="0"/>
                          <a:ea typeface="Century Gothic" panose="020B0502020202020204" pitchFamily="34" charset="0"/>
                          <a:cs typeface="Century Gothic" panose="020B0502020202020204" pitchFamily="34" charset="0"/>
                        </a:rPr>
                        <a:t>WEEKLY SHORT UPDATE TRAINING CHECK-INS</a:t>
                      </a:r>
                      <a:endParaRPr lang="en-ZA" sz="1100" dirty="0">
                        <a:effectLst/>
                        <a:latin typeface="Century Gothic" panose="020B0502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A6BBC8"/>
                      </a:solidFill>
                      <a:prstDash val="solid"/>
                      <a:round/>
                      <a:headEnd type="none" w="med" len="med"/>
                      <a:tailEnd type="none" w="med" len="med"/>
                    </a:lnL>
                    <a:lnR w="12700" cap="flat" cmpd="sng" algn="ctr">
                      <a:solidFill>
                        <a:srgbClr val="A6BBC8"/>
                      </a:solidFill>
                      <a:prstDash val="solid"/>
                      <a:round/>
                      <a:headEnd type="none" w="med" len="med"/>
                      <a:tailEnd type="none" w="med" len="med"/>
                    </a:lnR>
                    <a:lnT w="12700" cap="flat" cmpd="sng" algn="ctr">
                      <a:solidFill>
                        <a:srgbClr val="A6BBC8"/>
                      </a:solidFill>
                      <a:prstDash val="solid"/>
                      <a:round/>
                      <a:headEnd type="none" w="med" len="med"/>
                      <a:tailEnd type="none" w="med" len="med"/>
                    </a:lnT>
                    <a:lnB w="12700" cap="flat" cmpd="sng" algn="ctr">
                      <a:solidFill>
                        <a:srgbClr val="A6BBC8"/>
                      </a:solidFill>
                      <a:prstDash val="solid"/>
                      <a:round/>
                      <a:headEnd type="none" w="med" len="med"/>
                      <a:tailEnd type="none" w="med" len="med"/>
                    </a:lnB>
                  </a:tcPr>
                </a:tc>
                <a:tc>
                  <a:txBody>
                    <a:bodyPr/>
                    <a:lstStyle/>
                    <a:p>
                      <a:pPr algn="just">
                        <a:lnSpc>
                          <a:spcPct val="150000"/>
                        </a:lnSpc>
                        <a:spcAft>
                          <a:spcPts val="0"/>
                        </a:spcAft>
                      </a:pPr>
                      <a:r>
                        <a:rPr lang="en-US" sz="1100" dirty="0">
                          <a:effectLst/>
                          <a:latin typeface="Century Gothic" panose="020B0502020202020204" pitchFamily="34" charset="0"/>
                          <a:ea typeface="Century Gothic" panose="020B0502020202020204" pitchFamily="34" charset="0"/>
                          <a:cs typeface="Century Gothic" panose="020B0502020202020204" pitchFamily="34" charset="0"/>
                        </a:rPr>
                        <a:t>MS Teams (PDC and content experts)</a:t>
                      </a:r>
                      <a:endParaRPr lang="en-ZA" sz="1100" dirty="0">
                        <a:effectLst/>
                        <a:latin typeface="Century Gothic" panose="020B0502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A6BBC8"/>
                      </a:solidFill>
                      <a:prstDash val="solid"/>
                      <a:round/>
                      <a:headEnd type="none" w="med" len="med"/>
                      <a:tailEnd type="none" w="med" len="med"/>
                    </a:lnL>
                    <a:lnR w="12700" cap="flat" cmpd="sng" algn="ctr">
                      <a:solidFill>
                        <a:srgbClr val="A6BBC8"/>
                      </a:solidFill>
                      <a:prstDash val="solid"/>
                      <a:round/>
                      <a:headEnd type="none" w="med" len="med"/>
                      <a:tailEnd type="none" w="med" len="med"/>
                    </a:lnR>
                    <a:lnT w="12700" cap="flat" cmpd="sng" algn="ctr">
                      <a:solidFill>
                        <a:srgbClr val="A6BBC8"/>
                      </a:solidFill>
                      <a:prstDash val="solid"/>
                      <a:round/>
                      <a:headEnd type="none" w="med" len="med"/>
                      <a:tailEnd type="none" w="med" len="med"/>
                    </a:lnT>
                    <a:lnB w="12700" cap="flat" cmpd="sng" algn="ctr">
                      <a:solidFill>
                        <a:srgbClr val="A6BBC8"/>
                      </a:solidFill>
                      <a:prstDash val="solid"/>
                      <a:round/>
                      <a:headEnd type="none" w="med" len="med"/>
                      <a:tailEnd type="none" w="med" len="med"/>
                    </a:lnB>
                  </a:tcPr>
                </a:tc>
                <a:tc>
                  <a:txBody>
                    <a:bodyPr/>
                    <a:lstStyle/>
                    <a:p>
                      <a:pPr marL="342900" lvl="0" indent="-342900" algn="l">
                        <a:lnSpc>
                          <a:spcPct val="150000"/>
                        </a:lnSpc>
                        <a:spcAft>
                          <a:spcPts val="0"/>
                        </a:spcAft>
                        <a:buFont typeface="Symbol" panose="05050102010706020507" pitchFamily="18" charset="2"/>
                        <a:buChar char=""/>
                      </a:pPr>
                      <a:r>
                        <a:rPr lang="en-US" sz="1100" dirty="0">
                          <a:effectLst/>
                          <a:latin typeface="Century Gothic" panose="020B0502020202020204" pitchFamily="34" charset="0"/>
                          <a:ea typeface="Century Gothic" panose="020B0502020202020204" pitchFamily="34" charset="0"/>
                          <a:cs typeface="Century Gothic" panose="020B0502020202020204" pitchFamily="34" charset="0"/>
                        </a:rPr>
                        <a:t>Vaccinators</a:t>
                      </a:r>
                      <a:endParaRPr lang="en-ZA" sz="1100" dirty="0">
                        <a:effectLst/>
                        <a:latin typeface="Century Gothic" panose="020B0502020202020204" pitchFamily="34" charset="0"/>
                        <a:ea typeface="Calibri" panose="020F0502020204030204" pitchFamily="34" charset="0"/>
                        <a:cs typeface="Arial" panose="020B0604020202020204" pitchFamily="34" charset="0"/>
                      </a:endParaRPr>
                    </a:p>
                    <a:p>
                      <a:pPr marL="342900" lvl="0" indent="-342900" algn="l">
                        <a:lnSpc>
                          <a:spcPct val="150000"/>
                        </a:lnSpc>
                        <a:spcAft>
                          <a:spcPts val="0"/>
                        </a:spcAft>
                        <a:buFont typeface="Symbol" panose="05050102010706020507" pitchFamily="18" charset="2"/>
                        <a:buChar char=""/>
                      </a:pPr>
                      <a:r>
                        <a:rPr lang="en-US" sz="1100" dirty="0">
                          <a:effectLst/>
                          <a:latin typeface="Century Gothic" panose="020B0502020202020204" pitchFamily="34" charset="0"/>
                          <a:ea typeface="Century Gothic" panose="020B0502020202020204" pitchFamily="34" charset="0"/>
                          <a:cs typeface="Century Gothic" panose="020B0502020202020204" pitchFamily="34" charset="0"/>
                        </a:rPr>
                        <a:t>team managers</a:t>
                      </a:r>
                      <a:endParaRPr lang="en-ZA" sz="1100" dirty="0">
                        <a:effectLst/>
                        <a:latin typeface="Century Gothic" panose="020B0502020202020204" pitchFamily="34" charset="0"/>
                        <a:ea typeface="Calibri" panose="020F0502020204030204" pitchFamily="34" charset="0"/>
                        <a:cs typeface="Arial" panose="020B0604020202020204" pitchFamily="34" charset="0"/>
                      </a:endParaRPr>
                    </a:p>
                    <a:p>
                      <a:pPr marL="342900" lvl="0" indent="-342900" algn="l">
                        <a:lnSpc>
                          <a:spcPct val="150000"/>
                        </a:lnSpc>
                        <a:spcAft>
                          <a:spcPts val="0"/>
                        </a:spcAft>
                        <a:buFont typeface="Symbol" panose="05050102010706020507" pitchFamily="18" charset="2"/>
                        <a:buChar char=""/>
                      </a:pPr>
                      <a:r>
                        <a:rPr lang="en-US" sz="1100" dirty="0">
                          <a:effectLst/>
                          <a:latin typeface="Century Gothic" panose="020B0502020202020204" pitchFamily="34" charset="0"/>
                          <a:ea typeface="Century Gothic" panose="020B0502020202020204" pitchFamily="34" charset="0"/>
                          <a:cs typeface="Century Gothic" panose="020B0502020202020204" pitchFamily="34" charset="0"/>
                        </a:rPr>
                        <a:t>support staff (e.g., pharmacy) </a:t>
                      </a:r>
                      <a:endParaRPr lang="en-ZA" sz="1100" dirty="0">
                        <a:effectLst/>
                        <a:latin typeface="Century Gothic" panose="020B0502020202020204" pitchFamily="34" charset="0"/>
                        <a:ea typeface="Calibri" panose="020F0502020204030204" pitchFamily="34" charset="0"/>
                        <a:cs typeface="Arial" panose="020B0604020202020204" pitchFamily="34" charset="0"/>
                      </a:endParaRPr>
                    </a:p>
                    <a:p>
                      <a:pPr algn="just">
                        <a:lnSpc>
                          <a:spcPct val="150000"/>
                        </a:lnSpc>
                        <a:spcAft>
                          <a:spcPts val="0"/>
                        </a:spcAft>
                      </a:pPr>
                      <a:r>
                        <a:rPr lang="en-US" sz="1100" dirty="0">
                          <a:effectLst/>
                          <a:latin typeface="Century Gothic" panose="020B0502020202020204" pitchFamily="34" charset="0"/>
                          <a:ea typeface="Century Gothic" panose="020B0502020202020204" pitchFamily="34" charset="0"/>
                          <a:cs typeface="Century Gothic" panose="020B0502020202020204" pitchFamily="34" charset="0"/>
                        </a:rPr>
                        <a:t>NOTE: </a:t>
                      </a:r>
                      <a:r>
                        <a:rPr lang="en-US" sz="1100" i="1" dirty="0">
                          <a:effectLst/>
                          <a:latin typeface="Century Gothic" panose="020B0502020202020204" pitchFamily="34" charset="0"/>
                          <a:ea typeface="Century Gothic" panose="020B0502020202020204" pitchFamily="34" charset="0"/>
                          <a:cs typeface="Century Gothic" panose="020B0502020202020204" pitchFamily="34" charset="0"/>
                        </a:rPr>
                        <a:t>Alternatively, one member of the COVID-19 vaccine team will update the rest of the team members.</a:t>
                      </a:r>
                      <a:endParaRPr lang="en-ZA" sz="1100" dirty="0">
                        <a:effectLst/>
                        <a:latin typeface="Century Gothic" panose="020B0502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A6BBC8"/>
                      </a:solidFill>
                      <a:prstDash val="solid"/>
                      <a:round/>
                      <a:headEnd type="none" w="med" len="med"/>
                      <a:tailEnd type="none" w="med" len="med"/>
                    </a:lnL>
                    <a:lnR w="12700" cap="flat" cmpd="sng" algn="ctr">
                      <a:solidFill>
                        <a:srgbClr val="A6BBC8"/>
                      </a:solidFill>
                      <a:prstDash val="solid"/>
                      <a:round/>
                      <a:headEnd type="none" w="med" len="med"/>
                      <a:tailEnd type="none" w="med" len="med"/>
                    </a:lnR>
                    <a:lnT w="12700" cap="flat" cmpd="sng" algn="ctr">
                      <a:solidFill>
                        <a:srgbClr val="A6BBC8"/>
                      </a:solidFill>
                      <a:prstDash val="solid"/>
                      <a:round/>
                      <a:headEnd type="none" w="med" len="med"/>
                      <a:tailEnd type="none" w="med" len="med"/>
                    </a:lnT>
                    <a:lnB w="12700" cap="flat" cmpd="sng" algn="ctr">
                      <a:solidFill>
                        <a:srgbClr val="A6BBC8"/>
                      </a:solidFill>
                      <a:prstDash val="solid"/>
                      <a:round/>
                      <a:headEnd type="none" w="med" len="med"/>
                      <a:tailEnd type="none" w="med" len="med"/>
                    </a:lnB>
                  </a:tcPr>
                </a:tc>
                <a:extLst>
                  <a:ext uri="{0D108BD9-81ED-4DB2-BD59-A6C34878D82A}">
                    <a16:rowId xmlns:a16="http://schemas.microsoft.com/office/drawing/2014/main" xmlns="" val="3797350665"/>
                  </a:ext>
                </a:extLst>
              </a:tr>
              <a:tr h="888791">
                <a:tc>
                  <a:txBody>
                    <a:bodyPr/>
                    <a:lstStyle/>
                    <a:p>
                      <a:pPr algn="l">
                        <a:lnSpc>
                          <a:spcPct val="150000"/>
                        </a:lnSpc>
                        <a:spcAft>
                          <a:spcPts val="0"/>
                        </a:spcAft>
                      </a:pPr>
                      <a:r>
                        <a:rPr lang="en-US" sz="1100" b="1" dirty="0">
                          <a:effectLst/>
                          <a:latin typeface="Century Gothic" panose="020B0502020202020204" pitchFamily="34" charset="0"/>
                          <a:ea typeface="Century Gothic" panose="020B0502020202020204" pitchFamily="34" charset="0"/>
                          <a:cs typeface="Century Gothic" panose="020B0502020202020204" pitchFamily="34" charset="0"/>
                        </a:rPr>
                        <a:t>COVID-19 INFORMATION SESSIONS</a:t>
                      </a:r>
                      <a:endParaRPr lang="en-ZA" sz="1100" dirty="0">
                        <a:effectLst/>
                        <a:latin typeface="Century Gothic" panose="020B0502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A6BBC8"/>
                      </a:solidFill>
                      <a:prstDash val="solid"/>
                      <a:round/>
                      <a:headEnd type="none" w="med" len="med"/>
                      <a:tailEnd type="none" w="med" len="med"/>
                    </a:lnL>
                    <a:lnR w="12700" cap="flat" cmpd="sng" algn="ctr">
                      <a:solidFill>
                        <a:srgbClr val="A6BBC8"/>
                      </a:solidFill>
                      <a:prstDash val="solid"/>
                      <a:round/>
                      <a:headEnd type="none" w="med" len="med"/>
                      <a:tailEnd type="none" w="med" len="med"/>
                    </a:lnR>
                    <a:lnT w="12700" cap="flat" cmpd="sng" algn="ctr">
                      <a:solidFill>
                        <a:srgbClr val="A6BBC8"/>
                      </a:solidFill>
                      <a:prstDash val="solid"/>
                      <a:round/>
                      <a:headEnd type="none" w="med" len="med"/>
                      <a:tailEnd type="none" w="med" len="med"/>
                    </a:lnT>
                    <a:lnB w="12700" cap="flat" cmpd="sng" algn="ctr">
                      <a:solidFill>
                        <a:srgbClr val="A6BBC8"/>
                      </a:solidFill>
                      <a:prstDash val="solid"/>
                      <a:round/>
                      <a:headEnd type="none" w="med" len="med"/>
                      <a:tailEnd type="none" w="med" len="med"/>
                    </a:lnB>
                  </a:tcPr>
                </a:tc>
                <a:tc>
                  <a:txBody>
                    <a:bodyPr/>
                    <a:lstStyle/>
                    <a:p>
                      <a:pPr algn="just">
                        <a:lnSpc>
                          <a:spcPct val="150000"/>
                        </a:lnSpc>
                        <a:spcAft>
                          <a:spcPts val="0"/>
                        </a:spcAft>
                      </a:pPr>
                      <a:r>
                        <a:rPr lang="en-US" sz="1100" dirty="0">
                          <a:effectLst/>
                          <a:latin typeface="Century Gothic" panose="020B0502020202020204" pitchFamily="34" charset="0"/>
                          <a:ea typeface="Century Gothic" panose="020B0502020202020204" pitchFamily="34" charset="0"/>
                          <a:cs typeface="Century Gothic" panose="020B0502020202020204" pitchFamily="34" charset="0"/>
                        </a:rPr>
                        <a:t>Online / Presentation by the Knowledge Translation Unit with the support of the Communications Directorate</a:t>
                      </a:r>
                      <a:endParaRPr lang="en-ZA" sz="1100" dirty="0">
                        <a:effectLst/>
                        <a:latin typeface="Century Gothic" panose="020B0502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A6BBC8"/>
                      </a:solidFill>
                      <a:prstDash val="solid"/>
                      <a:round/>
                      <a:headEnd type="none" w="med" len="med"/>
                      <a:tailEnd type="none" w="med" len="med"/>
                    </a:lnL>
                    <a:lnR w="12700" cap="flat" cmpd="sng" algn="ctr">
                      <a:solidFill>
                        <a:srgbClr val="A6BBC8"/>
                      </a:solidFill>
                      <a:prstDash val="solid"/>
                      <a:round/>
                      <a:headEnd type="none" w="med" len="med"/>
                      <a:tailEnd type="none" w="med" len="med"/>
                    </a:lnR>
                    <a:lnT w="12700" cap="flat" cmpd="sng" algn="ctr">
                      <a:solidFill>
                        <a:srgbClr val="A6BBC8"/>
                      </a:solidFill>
                      <a:prstDash val="solid"/>
                      <a:round/>
                      <a:headEnd type="none" w="med" len="med"/>
                      <a:tailEnd type="none" w="med" len="med"/>
                    </a:lnT>
                    <a:lnB w="12700" cap="flat" cmpd="sng" algn="ctr">
                      <a:solidFill>
                        <a:srgbClr val="A6BBC8"/>
                      </a:solidFill>
                      <a:prstDash val="solid"/>
                      <a:round/>
                      <a:headEnd type="none" w="med" len="med"/>
                      <a:tailEnd type="none" w="med" len="med"/>
                    </a:lnB>
                  </a:tcPr>
                </a:tc>
                <a:tc>
                  <a:txBody>
                    <a:bodyPr/>
                    <a:lstStyle/>
                    <a:p>
                      <a:pPr algn="just">
                        <a:lnSpc>
                          <a:spcPct val="150000"/>
                        </a:lnSpc>
                        <a:spcAft>
                          <a:spcPts val="0"/>
                        </a:spcAft>
                      </a:pPr>
                      <a:r>
                        <a:rPr lang="en-US" sz="1100" dirty="0">
                          <a:effectLst/>
                          <a:latin typeface="Century Gothic" panose="020B0502020202020204" pitchFamily="34" charset="0"/>
                          <a:ea typeface="Century Gothic" panose="020B0502020202020204" pitchFamily="34" charset="0"/>
                          <a:cs typeface="Century Gothic" panose="020B0502020202020204" pitchFamily="34" charset="0"/>
                        </a:rPr>
                        <a:t>All Health Care Workers</a:t>
                      </a:r>
                      <a:endParaRPr lang="en-ZA" sz="1100" dirty="0">
                        <a:effectLst/>
                        <a:latin typeface="Century Gothic" panose="020B0502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A6BBC8"/>
                      </a:solidFill>
                      <a:prstDash val="solid"/>
                      <a:round/>
                      <a:headEnd type="none" w="med" len="med"/>
                      <a:tailEnd type="none" w="med" len="med"/>
                    </a:lnL>
                    <a:lnR w="12700" cap="flat" cmpd="sng" algn="ctr">
                      <a:solidFill>
                        <a:srgbClr val="A6BBC8"/>
                      </a:solidFill>
                      <a:prstDash val="solid"/>
                      <a:round/>
                      <a:headEnd type="none" w="med" len="med"/>
                      <a:tailEnd type="none" w="med" len="med"/>
                    </a:lnR>
                    <a:lnT w="12700" cap="flat" cmpd="sng" algn="ctr">
                      <a:solidFill>
                        <a:srgbClr val="A6BBC8"/>
                      </a:solidFill>
                      <a:prstDash val="solid"/>
                      <a:round/>
                      <a:headEnd type="none" w="med" len="med"/>
                      <a:tailEnd type="none" w="med" len="med"/>
                    </a:lnT>
                    <a:lnB w="12700" cap="flat" cmpd="sng" algn="ctr">
                      <a:solidFill>
                        <a:srgbClr val="A6BBC8"/>
                      </a:solidFill>
                      <a:prstDash val="solid"/>
                      <a:round/>
                      <a:headEnd type="none" w="med" len="med"/>
                      <a:tailEnd type="none" w="med" len="med"/>
                    </a:lnB>
                  </a:tcPr>
                </a:tc>
                <a:extLst>
                  <a:ext uri="{0D108BD9-81ED-4DB2-BD59-A6C34878D82A}">
                    <a16:rowId xmlns:a16="http://schemas.microsoft.com/office/drawing/2014/main" xmlns="" val="134735872"/>
                  </a:ext>
                </a:extLst>
              </a:tr>
            </a:tbl>
          </a:graphicData>
        </a:graphic>
      </p:graphicFrame>
    </p:spTree>
    <p:extLst>
      <p:ext uri="{BB962C8B-B14F-4D97-AF65-F5344CB8AC3E}">
        <p14:creationId xmlns:p14="http://schemas.microsoft.com/office/powerpoint/2010/main" xmlns="" val="16566496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Vaccine implementation Update (10)</a:t>
            </a:r>
            <a:endParaRPr lang="en-ZA" dirty="0"/>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Go to Insert &gt; Header &amp; Footer &gt; Enter presentation name into footer field</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5" name="Text Placeholder 4"/>
          <p:cNvSpPr>
            <a:spLocks noGrp="1"/>
          </p:cNvSpPr>
          <p:nvPr>
            <p:ph type="body" sz="quarter" idx="10"/>
          </p:nvPr>
        </p:nvSpPr>
        <p:spPr/>
        <p:txBody>
          <a:bodyPr/>
          <a:lstStyle/>
          <a:p>
            <a:pPr marL="462938" indent="-285750">
              <a:lnSpc>
                <a:spcPct val="170000"/>
              </a:lnSpc>
              <a:buFont typeface="Wingdings" panose="05000000000000000000" pitchFamily="2" charset="2"/>
              <a:buChar char="§"/>
            </a:pPr>
            <a:r>
              <a:rPr lang="en-GB" sz="1800" dirty="0"/>
              <a:t>Early discussions have started about planning for Phase II and III</a:t>
            </a:r>
          </a:p>
          <a:p>
            <a:pPr marL="987425" lvl="1" indent="-342900">
              <a:lnSpc>
                <a:spcPct val="170000"/>
              </a:lnSpc>
              <a:buFont typeface="Wingdings" panose="05000000000000000000" pitchFamily="2" charset="2"/>
              <a:buChar char="Ø"/>
            </a:pPr>
            <a:r>
              <a:rPr lang="en-GB" sz="1800" dirty="0"/>
              <a:t>Massive scale-up</a:t>
            </a:r>
          </a:p>
          <a:p>
            <a:pPr marL="987425" lvl="1" indent="-342900">
              <a:lnSpc>
                <a:spcPct val="170000"/>
              </a:lnSpc>
              <a:buFont typeface="Wingdings" panose="05000000000000000000" pitchFamily="2" charset="2"/>
              <a:buChar char="Ø"/>
            </a:pPr>
            <a:r>
              <a:rPr lang="en-GB" sz="1800" dirty="0"/>
              <a:t>High volume centres will need to be explored </a:t>
            </a:r>
          </a:p>
          <a:p>
            <a:pPr marL="987425" lvl="1" indent="-342900">
              <a:lnSpc>
                <a:spcPct val="170000"/>
              </a:lnSpc>
              <a:buFont typeface="Wingdings" panose="05000000000000000000" pitchFamily="2" charset="2"/>
              <a:buChar char="Ø"/>
            </a:pPr>
            <a:r>
              <a:rPr lang="en-GB" sz="1800" dirty="0"/>
              <a:t>Will engage with the private sector</a:t>
            </a:r>
          </a:p>
          <a:p>
            <a:pPr marL="987425" lvl="1" indent="-342900">
              <a:lnSpc>
                <a:spcPct val="170000"/>
              </a:lnSpc>
              <a:buFont typeface="Wingdings" panose="05000000000000000000" pitchFamily="2" charset="2"/>
              <a:buChar char="Ø"/>
            </a:pPr>
            <a:r>
              <a:rPr lang="en-GB" sz="1800" dirty="0"/>
              <a:t>Parallel planning logistics, social mobilisation is critical. </a:t>
            </a:r>
          </a:p>
          <a:p>
            <a:endParaRPr lang="en-ZA" dirty="0"/>
          </a:p>
        </p:txBody>
      </p:sp>
    </p:spTree>
    <p:extLst>
      <p:ext uri="{BB962C8B-B14F-4D97-AF65-F5344CB8AC3E}">
        <p14:creationId xmlns:p14="http://schemas.microsoft.com/office/powerpoint/2010/main" xmlns="" val="19185757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CA0ECC-0495-4F27-B62B-087C68354B2D}"/>
              </a:ext>
            </a:extLst>
          </p:cNvPr>
          <p:cNvSpPr>
            <a:spLocks noGrp="1"/>
          </p:cNvSpPr>
          <p:nvPr>
            <p:ph type="title"/>
          </p:nvPr>
        </p:nvSpPr>
        <p:spPr>
          <a:xfrm>
            <a:off x="467544" y="240887"/>
            <a:ext cx="8597205" cy="559256"/>
          </a:xfrm>
        </p:spPr>
        <p:txBody>
          <a:bodyPr/>
          <a:lstStyle/>
          <a:p>
            <a:pPr algn="r"/>
            <a:r>
              <a:rPr lang="en-ZA" dirty="0"/>
              <a:t>Hospitalisation trends of patients with confirmed SARS-CoV-2</a:t>
            </a:r>
            <a:br>
              <a:rPr lang="en-ZA" dirty="0"/>
            </a:br>
            <a:r>
              <a:rPr lang="en-ZA" sz="1600" dirty="0"/>
              <a:t>(including specialised hospitals, excluding PUIs)</a:t>
            </a:r>
            <a:endParaRPr lang="en-GB" dirty="0"/>
          </a:p>
        </p:txBody>
      </p:sp>
      <p:sp>
        <p:nvSpPr>
          <p:cNvPr id="3" name="Slide Number Placeholder 2">
            <a:extLst>
              <a:ext uri="{FF2B5EF4-FFF2-40B4-BE49-F238E27FC236}">
                <a16:creationId xmlns:a16="http://schemas.microsoft.com/office/drawing/2014/main" xmlns="" id="{9656E95C-95CB-4767-ABFD-E366C8758FE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a:extLst>
              <a:ext uri="{FF2B5EF4-FFF2-40B4-BE49-F238E27FC236}">
                <a16:creationId xmlns:a16="http://schemas.microsoft.com/office/drawing/2014/main" xmlns="" id="{72E31694-8398-49CB-A09B-5CD253E85C92}"/>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Go to Insert &gt; Header &amp; Footer &gt; Enter presentation name into footer field</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pic>
        <p:nvPicPr>
          <p:cNvPr id="7" name="Picture 6">
            <a:extLst>
              <a:ext uri="{FF2B5EF4-FFF2-40B4-BE49-F238E27FC236}">
                <a16:creationId xmlns:a16="http://schemas.microsoft.com/office/drawing/2014/main" xmlns="" id="{784BEDD8-142F-4D1B-8206-6079E114D48B}"/>
              </a:ext>
            </a:extLst>
          </p:cNvPr>
          <p:cNvPicPr>
            <a:picLocks noChangeAspect="1"/>
          </p:cNvPicPr>
          <p:nvPr/>
        </p:nvPicPr>
        <p:blipFill>
          <a:blip r:embed="rId2" cstate="print"/>
          <a:stretch>
            <a:fillRect/>
          </a:stretch>
        </p:blipFill>
        <p:spPr>
          <a:xfrm>
            <a:off x="0" y="1148658"/>
            <a:ext cx="9144000" cy="4560684"/>
          </a:xfrm>
          <a:prstGeom prst="rect">
            <a:avLst/>
          </a:prstGeom>
        </p:spPr>
      </p:pic>
    </p:spTree>
    <p:extLst>
      <p:ext uri="{BB962C8B-B14F-4D97-AF65-F5344CB8AC3E}">
        <p14:creationId xmlns:p14="http://schemas.microsoft.com/office/powerpoint/2010/main" xmlns="" val="888743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Vaccine implementation Update (11) - Next steps</a:t>
            </a:r>
            <a:endParaRPr lang="en-ZA" dirty="0"/>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Go to Insert &gt; Header &amp; Footer &gt; Enter presentation name into footer field</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5" name="Text Placeholder 4"/>
          <p:cNvSpPr>
            <a:spLocks noGrp="1"/>
          </p:cNvSpPr>
          <p:nvPr>
            <p:ph type="body" sz="quarter" idx="10"/>
          </p:nvPr>
        </p:nvSpPr>
        <p:spPr>
          <a:xfrm>
            <a:off x="295274" y="1052736"/>
            <a:ext cx="8597205" cy="4896073"/>
          </a:xfrm>
        </p:spPr>
        <p:txBody>
          <a:bodyPr/>
          <a:lstStyle/>
          <a:p>
            <a:pPr marL="462938" indent="-285750">
              <a:lnSpc>
                <a:spcPct val="170000"/>
              </a:lnSpc>
              <a:buFont typeface="Wingdings" panose="05000000000000000000" pitchFamily="2" charset="2"/>
              <a:buChar char="§"/>
            </a:pPr>
            <a:r>
              <a:rPr lang="en-GB" sz="1800" dirty="0"/>
              <a:t>Finalise non-PERSAL beneficiary list:</a:t>
            </a:r>
          </a:p>
          <a:p>
            <a:pPr marL="642938" lvl="1" indent="-285750">
              <a:lnSpc>
                <a:spcPct val="170000"/>
              </a:lnSpc>
              <a:buFont typeface="Courier New" panose="02070309020205020404" pitchFamily="49" charset="0"/>
              <a:buChar char="o"/>
            </a:pPr>
            <a:r>
              <a:rPr lang="en-GB" sz="1800" dirty="0"/>
              <a:t>33 000 names uploaded on </a:t>
            </a:r>
            <a:r>
              <a:rPr lang="en-GB" sz="1800" dirty="0" err="1"/>
              <a:t>Sharepoint</a:t>
            </a:r>
            <a:endParaRPr lang="en-GB" sz="1800" dirty="0"/>
          </a:p>
          <a:p>
            <a:pPr marL="642938" lvl="1" indent="-285750">
              <a:lnSpc>
                <a:spcPct val="170000"/>
              </a:lnSpc>
              <a:buFont typeface="Courier New" panose="02070309020205020404" pitchFamily="49" charset="0"/>
              <a:buChar char="o"/>
            </a:pPr>
            <a:r>
              <a:rPr lang="en-GB" sz="1800" dirty="0"/>
              <a:t>Confirmation required from all sources</a:t>
            </a:r>
          </a:p>
          <a:p>
            <a:pPr marL="462938" indent="-285750">
              <a:lnSpc>
                <a:spcPct val="170000"/>
              </a:lnSpc>
              <a:buFont typeface="Wingdings" panose="05000000000000000000" pitchFamily="2" charset="2"/>
              <a:buChar char="§"/>
            </a:pPr>
            <a:r>
              <a:rPr lang="en-GB" sz="1800" dirty="0"/>
              <a:t>Engage Private Sector:</a:t>
            </a:r>
          </a:p>
          <a:p>
            <a:pPr marL="642938" lvl="1" indent="-285750">
              <a:lnSpc>
                <a:spcPct val="170000"/>
              </a:lnSpc>
              <a:buFont typeface="Courier New" panose="02070309020205020404" pitchFamily="49" charset="0"/>
              <a:buChar char="o"/>
            </a:pPr>
            <a:r>
              <a:rPr lang="en-GB" sz="1800" dirty="0"/>
              <a:t>Met with National B4SA team</a:t>
            </a:r>
          </a:p>
          <a:p>
            <a:pPr marL="642938" lvl="1" indent="-285750">
              <a:lnSpc>
                <a:spcPct val="170000"/>
              </a:lnSpc>
              <a:buFont typeface="Courier New" panose="02070309020205020404" pitchFamily="49" charset="0"/>
              <a:buChar char="o"/>
            </a:pPr>
            <a:r>
              <a:rPr lang="en-GB" sz="1800" dirty="0"/>
              <a:t>Western Cape team to be formalised by Friday</a:t>
            </a:r>
          </a:p>
          <a:p>
            <a:pPr marL="462938" indent="-285750">
              <a:lnSpc>
                <a:spcPct val="170000"/>
              </a:lnSpc>
              <a:buFont typeface="Wingdings" panose="05000000000000000000" pitchFamily="2" charset="2"/>
              <a:buChar char="§"/>
            </a:pPr>
            <a:r>
              <a:rPr lang="en-GB" sz="1800" dirty="0"/>
              <a:t>Set-up Phase 2 &amp; 3 planning co-ordination:</a:t>
            </a:r>
          </a:p>
          <a:p>
            <a:pPr marL="642938" lvl="1" indent="-285750">
              <a:lnSpc>
                <a:spcPct val="170000"/>
              </a:lnSpc>
              <a:buFont typeface="Courier New" panose="02070309020205020404" pitchFamily="49" charset="0"/>
              <a:buChar char="o"/>
            </a:pPr>
            <a:r>
              <a:rPr lang="en-GB" sz="1800" dirty="0"/>
              <a:t>Exploratory meetings held with City and IEC already</a:t>
            </a:r>
          </a:p>
          <a:p>
            <a:pPr marL="642938" lvl="1" indent="-285750">
              <a:lnSpc>
                <a:spcPct val="170000"/>
              </a:lnSpc>
              <a:buFont typeface="Courier New" panose="02070309020205020404" pitchFamily="49" charset="0"/>
              <a:buChar char="o"/>
            </a:pPr>
            <a:r>
              <a:rPr lang="en-GB" sz="1800" dirty="0"/>
              <a:t>Formal committee to be commenced next week</a:t>
            </a:r>
          </a:p>
          <a:p>
            <a:endParaRPr lang="en-ZA" dirty="0"/>
          </a:p>
        </p:txBody>
      </p:sp>
    </p:spTree>
    <p:extLst>
      <p:ext uri="{BB962C8B-B14F-4D97-AF65-F5344CB8AC3E}">
        <p14:creationId xmlns:p14="http://schemas.microsoft.com/office/powerpoint/2010/main" xmlns="" val="198551829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E8D437E-ED2B-4B04-9012-736A12A9A66A}"/>
              </a:ext>
            </a:extLst>
          </p:cNvPr>
          <p:cNvSpPr>
            <a:spLocks noGrp="1"/>
          </p:cNvSpPr>
          <p:nvPr>
            <p:ph type="title"/>
          </p:nvPr>
        </p:nvSpPr>
        <p:spPr/>
        <p:txBody>
          <a:bodyPr/>
          <a:lstStyle/>
          <a:p>
            <a:r>
              <a:rPr lang="en-ZA" dirty="0"/>
              <a:t>Staff Readiness: Rapid Poll Results</a:t>
            </a:r>
          </a:p>
        </p:txBody>
      </p:sp>
      <p:sp>
        <p:nvSpPr>
          <p:cNvPr id="3" name="Slide Number Placeholder 2">
            <a:extLst>
              <a:ext uri="{FF2B5EF4-FFF2-40B4-BE49-F238E27FC236}">
                <a16:creationId xmlns:a16="http://schemas.microsoft.com/office/drawing/2014/main" xmlns="" id="{2405D777-DFA3-4117-A253-A9EBF5A98398}"/>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a:extLst>
              <a:ext uri="{FF2B5EF4-FFF2-40B4-BE49-F238E27FC236}">
                <a16:creationId xmlns:a16="http://schemas.microsoft.com/office/drawing/2014/main" xmlns="" id="{F549CD88-11D3-4169-BC66-FF4EE4AF0BC6}"/>
              </a:ext>
            </a:extLst>
          </p:cNvPr>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998F86"/>
                </a:solidFill>
                <a:effectLst/>
                <a:uLnTx/>
                <a:uFillTx/>
                <a:latin typeface="Century Gothic"/>
                <a:ea typeface="+mn-ea"/>
                <a:cs typeface="+mn-cs"/>
              </a:rPr>
              <a:t>Go to Insert &gt; Header &amp; Footer &gt; Enter presentation name into footer field</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5" name="Text Placeholder 4">
            <a:extLst>
              <a:ext uri="{FF2B5EF4-FFF2-40B4-BE49-F238E27FC236}">
                <a16:creationId xmlns:a16="http://schemas.microsoft.com/office/drawing/2014/main" xmlns="" id="{0E196523-1F0A-4DA4-87A0-CB2183B757F7}"/>
              </a:ext>
            </a:extLst>
          </p:cNvPr>
          <p:cNvSpPr>
            <a:spLocks noGrp="1"/>
          </p:cNvSpPr>
          <p:nvPr>
            <p:ph type="body" sz="quarter" idx="10"/>
          </p:nvPr>
        </p:nvSpPr>
        <p:spPr>
          <a:xfrm>
            <a:off x="219482" y="980728"/>
            <a:ext cx="8597205" cy="5116781"/>
          </a:xfrm>
        </p:spPr>
        <p:txBody>
          <a:bodyPr/>
          <a:lstStyle/>
          <a:p>
            <a:r>
              <a:rPr lang="en-GB" b="0" i="0" dirty="0">
                <a:solidFill>
                  <a:srgbClr val="333333"/>
                </a:solidFill>
                <a:effectLst/>
                <a:latin typeface="Segoe UI" panose="020B0502040204020203" pitchFamily="34" charset="0"/>
              </a:rPr>
              <a:t/>
            </a:r>
            <a:br>
              <a:rPr lang="en-GB" b="0" i="0" dirty="0">
                <a:solidFill>
                  <a:srgbClr val="333333"/>
                </a:solidFill>
                <a:effectLst/>
                <a:latin typeface="Segoe UI" panose="020B0502040204020203" pitchFamily="34" charset="0"/>
              </a:rPr>
            </a:br>
            <a:endParaRPr lang="en-ZA" dirty="0"/>
          </a:p>
        </p:txBody>
      </p:sp>
      <p:sp>
        <p:nvSpPr>
          <p:cNvPr id="13" name="TextBox 12">
            <a:extLst>
              <a:ext uri="{FF2B5EF4-FFF2-40B4-BE49-F238E27FC236}">
                <a16:creationId xmlns:a16="http://schemas.microsoft.com/office/drawing/2014/main" xmlns="" id="{02F33C45-FD2F-44F9-A9B8-487946A2E800}"/>
              </a:ext>
            </a:extLst>
          </p:cNvPr>
          <p:cNvSpPr txBox="1"/>
          <p:nvPr/>
        </p:nvSpPr>
        <p:spPr>
          <a:xfrm>
            <a:off x="363220" y="1058876"/>
            <a:ext cx="7359720"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entury Gothic"/>
                <a:ea typeface="+mn-ea"/>
                <a:cs typeface="+mn-cs"/>
              </a:rPr>
              <a:t>Number of respondents at the time of Report: </a:t>
            </a:r>
            <a:r>
              <a:rPr kumimoji="0" lang="en-ZA" sz="1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entury Gothic"/>
                <a:ea typeface="+mn-ea"/>
                <a:cs typeface="+mn-cs"/>
              </a:rPr>
              <a:t>3027</a:t>
            </a:r>
          </a:p>
        </p:txBody>
      </p:sp>
      <p:graphicFrame>
        <p:nvGraphicFramePr>
          <p:cNvPr id="12" name="Chart 11">
            <a:extLst>
              <a:ext uri="{FF2B5EF4-FFF2-40B4-BE49-F238E27FC236}">
                <a16:creationId xmlns:a16="http://schemas.microsoft.com/office/drawing/2014/main" xmlns="" id="{CE73CBCD-D953-4B2F-A35F-634F8594A3D1}"/>
              </a:ext>
            </a:extLst>
          </p:cNvPr>
          <p:cNvGraphicFramePr>
            <a:graphicFrameLocks/>
          </p:cNvGraphicFramePr>
          <p:nvPr/>
        </p:nvGraphicFramePr>
        <p:xfrm>
          <a:off x="2632515" y="4029570"/>
          <a:ext cx="5319625" cy="2467591"/>
        </p:xfrm>
        <a:graphic>
          <a:graphicData uri="http://schemas.openxmlformats.org/drawingml/2006/chart">
            <c:chart xmlns:c="http://schemas.openxmlformats.org/drawingml/2006/chart" xmlns:r="http://schemas.openxmlformats.org/officeDocument/2006/relationships" r:id="rId2"/>
          </a:graphicData>
        </a:graphic>
      </p:graphicFrame>
      <p:pic>
        <p:nvPicPr>
          <p:cNvPr id="18" name="Picture 17">
            <a:extLst>
              <a:ext uri="{FF2B5EF4-FFF2-40B4-BE49-F238E27FC236}">
                <a16:creationId xmlns:a16="http://schemas.microsoft.com/office/drawing/2014/main" xmlns="" id="{671C5EF2-DE84-4F96-9DD7-321499EE6FE2}"/>
              </a:ext>
            </a:extLst>
          </p:cNvPr>
          <p:cNvPicPr>
            <a:picLocks noChangeAspect="1"/>
          </p:cNvPicPr>
          <p:nvPr/>
        </p:nvPicPr>
        <p:blipFill>
          <a:blip r:embed="rId3" cstate="print"/>
          <a:stretch>
            <a:fillRect/>
          </a:stretch>
        </p:blipFill>
        <p:spPr>
          <a:xfrm>
            <a:off x="693769" y="4767416"/>
            <a:ext cx="1781175" cy="1171575"/>
          </a:xfrm>
          <a:prstGeom prst="rect">
            <a:avLst/>
          </a:prstGeom>
        </p:spPr>
      </p:pic>
      <p:graphicFrame>
        <p:nvGraphicFramePr>
          <p:cNvPr id="19" name="Table 19">
            <a:extLst>
              <a:ext uri="{FF2B5EF4-FFF2-40B4-BE49-F238E27FC236}">
                <a16:creationId xmlns:a16="http://schemas.microsoft.com/office/drawing/2014/main" xmlns="" id="{BE08A643-D959-4E02-B5C4-60EB3F20B092}"/>
              </a:ext>
            </a:extLst>
          </p:cNvPr>
          <p:cNvGraphicFramePr>
            <a:graphicFrameLocks noGrp="1"/>
          </p:cNvGraphicFramePr>
          <p:nvPr/>
        </p:nvGraphicFramePr>
        <p:xfrm>
          <a:off x="530348" y="3941171"/>
          <a:ext cx="7635991" cy="2387468"/>
        </p:xfrm>
        <a:graphic>
          <a:graphicData uri="http://schemas.openxmlformats.org/drawingml/2006/table">
            <a:tbl>
              <a:tblPr firstRow="1" bandRow="1">
                <a:effectLst>
                  <a:outerShdw blurRad="50800" dist="38100" dir="8100000" algn="tr" rotWithShape="0">
                    <a:prstClr val="black">
                      <a:alpha val="40000"/>
                    </a:prstClr>
                  </a:outerShdw>
                </a:effectLst>
                <a:tableStyleId>{5C22544A-7EE6-4342-B048-85BDC9FD1C3A}</a:tableStyleId>
              </a:tblPr>
              <a:tblGrid>
                <a:gridCol w="7635991">
                  <a:extLst>
                    <a:ext uri="{9D8B030D-6E8A-4147-A177-3AD203B41FA5}">
                      <a16:colId xmlns:a16="http://schemas.microsoft.com/office/drawing/2014/main" xmlns="" val="1897670070"/>
                    </a:ext>
                  </a:extLst>
                </a:gridCol>
              </a:tblGrid>
              <a:tr h="2387468">
                <a:tc>
                  <a:txBody>
                    <a:bodyPr/>
                    <a:lstStyle/>
                    <a:p>
                      <a:endParaRPr lang="en-ZA"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980043539"/>
                  </a:ext>
                </a:extLst>
              </a:tr>
            </a:tbl>
          </a:graphicData>
        </a:graphic>
      </p:graphicFrame>
      <p:pic>
        <p:nvPicPr>
          <p:cNvPr id="22" name="Picture 21">
            <a:extLst>
              <a:ext uri="{FF2B5EF4-FFF2-40B4-BE49-F238E27FC236}">
                <a16:creationId xmlns:a16="http://schemas.microsoft.com/office/drawing/2014/main" xmlns="" id="{64AA0B40-FCD7-480B-B376-59C9E1D32FF1}"/>
              </a:ext>
            </a:extLst>
          </p:cNvPr>
          <p:cNvPicPr>
            <a:picLocks noChangeAspect="1"/>
          </p:cNvPicPr>
          <p:nvPr/>
        </p:nvPicPr>
        <p:blipFill>
          <a:blip r:embed="rId4" cstate="print"/>
          <a:stretch>
            <a:fillRect/>
          </a:stretch>
        </p:blipFill>
        <p:spPr>
          <a:xfrm>
            <a:off x="539552" y="1504796"/>
            <a:ext cx="7642100" cy="2272136"/>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sp>
        <p:nvSpPr>
          <p:cNvPr id="23" name="TextBox 22">
            <a:extLst>
              <a:ext uri="{FF2B5EF4-FFF2-40B4-BE49-F238E27FC236}">
                <a16:creationId xmlns:a16="http://schemas.microsoft.com/office/drawing/2014/main" xmlns="" id="{8B9F44FA-CD71-476B-A178-0025D617F9E9}"/>
              </a:ext>
            </a:extLst>
          </p:cNvPr>
          <p:cNvSpPr txBox="1"/>
          <p:nvPr/>
        </p:nvSpPr>
        <p:spPr>
          <a:xfrm>
            <a:off x="608869" y="3934509"/>
            <a:ext cx="7818433"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333333"/>
                </a:solidFill>
                <a:effectLst/>
                <a:uLnTx/>
                <a:uFillTx/>
                <a:latin typeface="Century Gothic"/>
                <a:ea typeface="+mn-ea"/>
                <a:cs typeface="+mn-cs"/>
              </a:rPr>
              <a:t>3</a:t>
            </a:r>
            <a:r>
              <a:rPr kumimoji="0" lang="en-GB" sz="1800" b="0" i="0" u="none" strike="noStrike" kern="1200" cap="none" spc="0" normalizeH="0" baseline="0" noProof="0" dirty="0">
                <a:ln>
                  <a:noFill/>
                </a:ln>
                <a:solidFill>
                  <a:srgbClr val="333333"/>
                </a:solidFill>
                <a:effectLst/>
                <a:uLnTx/>
                <a:uFillTx/>
                <a:latin typeface="Century Gothic"/>
                <a:ea typeface="+mn-ea"/>
                <a:cs typeface="+mn-cs"/>
              </a:rPr>
              <a:t>. </a:t>
            </a:r>
            <a:r>
              <a:rPr kumimoji="0" lang="en-GB" sz="1400" b="0" i="0" u="none" strike="noStrike" kern="1200" cap="none" spc="0" normalizeH="0" baseline="0" noProof="0" dirty="0">
                <a:ln>
                  <a:noFill/>
                </a:ln>
                <a:solidFill>
                  <a:srgbClr val="333333"/>
                </a:solidFill>
                <a:effectLst/>
                <a:uLnTx/>
                <a:uFillTx/>
                <a:latin typeface="Century Gothic"/>
                <a:ea typeface="+mn-ea"/>
                <a:cs typeface="+mn-cs"/>
              </a:rPr>
              <a:t>Are you a Frontline Worker (direct contact with clients / public / pati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33333"/>
                </a:solidFill>
                <a:effectLst/>
                <a:uLnTx/>
                <a:uFillTx/>
                <a:latin typeface="Segoe UI" panose="020B0502040204020203" pitchFamily="34" charset="0"/>
                <a:ea typeface="+mn-ea"/>
                <a:cs typeface="+mn-cs"/>
              </a:rPr>
              <a:t/>
            </a:r>
            <a:br>
              <a:rPr kumimoji="0" lang="en-GB" sz="1800" b="0" i="0" u="none" strike="noStrike" kern="1200" cap="none" spc="0" normalizeH="0" baseline="0" noProof="0" dirty="0">
                <a:ln>
                  <a:noFill/>
                </a:ln>
                <a:solidFill>
                  <a:srgbClr val="333333"/>
                </a:solidFill>
                <a:effectLst/>
                <a:uLnTx/>
                <a:uFillTx/>
                <a:latin typeface="Segoe UI" panose="020B0502040204020203" pitchFamily="34" charset="0"/>
                <a:ea typeface="+mn-ea"/>
                <a:cs typeface="+mn-cs"/>
              </a:rPr>
            </a:br>
            <a:endParaRPr kumimoji="0" lang="en-ZA" sz="18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xmlns="" val="27415627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xmlns="" id="{1B1AF585-75CB-4C81-AF84-943AE65E5D5A}"/>
              </a:ext>
            </a:extLst>
          </p:cNvPr>
          <p:cNvSpPr>
            <a:spLocks noGrp="1"/>
          </p:cNvSpPr>
          <p:nvPr>
            <p:ph type="subTitle" idx="1"/>
          </p:nvPr>
        </p:nvSpPr>
        <p:spPr>
          <a:xfrm>
            <a:off x="539552" y="3937202"/>
            <a:ext cx="7920881" cy="1548248"/>
          </a:xfrm>
        </p:spPr>
        <p:txBody>
          <a:bodyPr>
            <a:normAutofit/>
          </a:bodyPr>
          <a:lstStyle/>
          <a:p>
            <a:r>
              <a:rPr lang="en-US" b="1" dirty="0"/>
              <a:t>Getting to “Yes” – Build the Credibility and Trust</a:t>
            </a:r>
          </a:p>
          <a:p>
            <a:pPr marL="285750" indent="-285750">
              <a:lnSpc>
                <a:spcPct val="150000"/>
              </a:lnSpc>
              <a:buBlip>
                <a:blip r:embed="rId2"/>
              </a:buBlip>
            </a:pPr>
            <a:r>
              <a:rPr lang="en-US" sz="1400" b="0" dirty="0"/>
              <a:t>Continue supplying credible information about the vaccines (science and safety)</a:t>
            </a:r>
          </a:p>
          <a:p>
            <a:pPr marL="285750" indent="-285750">
              <a:lnSpc>
                <a:spcPct val="150000"/>
              </a:lnSpc>
              <a:buBlip>
                <a:blip r:embed="rId2"/>
              </a:buBlip>
            </a:pPr>
            <a:r>
              <a:rPr lang="en-US" sz="1400" b="0" dirty="0"/>
              <a:t>Clarifying processes and localising the information to address the hesitancy</a:t>
            </a:r>
          </a:p>
          <a:p>
            <a:pPr marL="285750" indent="-285750">
              <a:lnSpc>
                <a:spcPct val="150000"/>
              </a:lnSpc>
              <a:buBlip>
                <a:blip r:embed="rId2"/>
              </a:buBlip>
            </a:pPr>
            <a:r>
              <a:rPr lang="en-US" sz="1400" b="0" dirty="0"/>
              <a:t>Engaging with trusted influencers within communities</a:t>
            </a:r>
          </a:p>
          <a:p>
            <a:pPr marL="285750" indent="-285750">
              <a:lnSpc>
                <a:spcPct val="150000"/>
              </a:lnSpc>
              <a:buBlip>
                <a:blip r:embed="rId2"/>
              </a:buBlip>
            </a:pPr>
            <a:endParaRPr lang="en-ZA" sz="1400" b="0" dirty="0"/>
          </a:p>
        </p:txBody>
      </p:sp>
      <p:sp>
        <p:nvSpPr>
          <p:cNvPr id="12" name="Title 1">
            <a:extLst>
              <a:ext uri="{FF2B5EF4-FFF2-40B4-BE49-F238E27FC236}">
                <a16:creationId xmlns:a16="http://schemas.microsoft.com/office/drawing/2014/main" xmlns="" id="{31653CF3-4744-4596-85ED-B64D1B02830D}"/>
              </a:ext>
            </a:extLst>
          </p:cNvPr>
          <p:cNvSpPr txBox="1">
            <a:spLocks noGrp="1"/>
          </p:cNvSpPr>
          <p:nvPr>
            <p:ph type="ctrTitle"/>
          </p:nvPr>
        </p:nvSpPr>
        <p:spPr>
          <a:xfrm>
            <a:off x="216617" y="50939"/>
            <a:ext cx="8819228" cy="876300"/>
          </a:xfrm>
          <a:prstGeom prst="rect">
            <a:avLst/>
          </a:prstGeom>
        </p:spPr>
        <p:txBody>
          <a:bodyPr anchor="ctr">
            <a:noAutofit/>
          </a:bodyPr>
          <a:lstStyle>
            <a:lvl1pPr algn="l" defTabSz="457200" rtl="0" eaLnBrk="1" latinLnBrk="0" hangingPunct="1">
              <a:spcBef>
                <a:spcPct val="0"/>
              </a:spcBef>
              <a:buNone/>
              <a:defRPr sz="2800" b="1" kern="1200">
                <a:solidFill>
                  <a:srgbClr val="003399"/>
                </a:solidFill>
                <a:latin typeface="Century Gothic" pitchFamily="34" charset="0"/>
                <a:ea typeface="+mj-ea"/>
                <a:cs typeface="+mj-cs"/>
              </a:defRPr>
            </a:lvl1pPr>
          </a:lstStyle>
          <a:p>
            <a:pPr marL="0" marR="0" lvl="0" indent="0" algn="l" defTabSz="457200" rtl="0" eaLnBrk="1" fontAlgn="auto" latinLnBrk="0" hangingPunct="1">
              <a:lnSpc>
                <a:spcPct val="150000"/>
              </a:lnSpc>
              <a:spcBef>
                <a:spcPct val="0"/>
              </a:spcBef>
              <a:spcAft>
                <a:spcPts val="0"/>
              </a:spcAft>
              <a:buClrTx/>
              <a:buSzTx/>
              <a:buFontTx/>
              <a:buNone/>
              <a:tabLst/>
              <a:defRPr/>
            </a:pPr>
            <a:r>
              <a:rPr lang="en-US" sz="2400" dirty="0"/>
              <a:t>Staff Opinion Poll</a:t>
            </a:r>
            <a:endParaRPr kumimoji="0" lang="en-GB" sz="2400" i="0" u="none" strike="noStrike" kern="1200" cap="none" spc="0" normalizeH="0" baseline="0" noProof="0" dirty="0">
              <a:ln>
                <a:noFill/>
              </a:ln>
              <a:solidFill>
                <a:srgbClr val="003399"/>
              </a:solidFill>
              <a:effectLst/>
              <a:uLnTx/>
              <a:uFillTx/>
              <a:latin typeface="Century Gothic" pitchFamily="34" charset="0"/>
              <a:ea typeface="+mj-ea"/>
              <a:cs typeface="+mj-cs"/>
            </a:endParaRPr>
          </a:p>
        </p:txBody>
      </p:sp>
      <p:pic>
        <p:nvPicPr>
          <p:cNvPr id="10" name="Picture 9">
            <a:extLst>
              <a:ext uri="{FF2B5EF4-FFF2-40B4-BE49-F238E27FC236}">
                <a16:creationId xmlns:a16="http://schemas.microsoft.com/office/drawing/2014/main" xmlns="" id="{1D8A4236-49FB-47EB-B4F6-F248F32EB829}"/>
              </a:ext>
            </a:extLst>
          </p:cNvPr>
          <p:cNvPicPr>
            <a:picLocks noChangeAspect="1"/>
          </p:cNvPicPr>
          <p:nvPr/>
        </p:nvPicPr>
        <p:blipFill>
          <a:blip r:embed="rId3" cstate="print"/>
          <a:stretch>
            <a:fillRect/>
          </a:stretch>
        </p:blipFill>
        <p:spPr>
          <a:xfrm>
            <a:off x="539552" y="1268761"/>
            <a:ext cx="7920880" cy="2376264"/>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13" name="Picture 12">
            <a:extLst>
              <a:ext uri="{FF2B5EF4-FFF2-40B4-BE49-F238E27FC236}">
                <a16:creationId xmlns:a16="http://schemas.microsoft.com/office/drawing/2014/main" xmlns="" id="{5AAD474C-DC64-4FB9-95D3-8AB7EA227D7B}"/>
              </a:ext>
            </a:extLst>
          </p:cNvPr>
          <p:cNvPicPr>
            <a:picLocks noChangeAspect="1"/>
          </p:cNvPicPr>
          <p:nvPr/>
        </p:nvPicPr>
        <p:blipFill>
          <a:blip r:embed="rId4" cstate="print"/>
          <a:stretch>
            <a:fillRect/>
          </a:stretch>
        </p:blipFill>
        <p:spPr>
          <a:xfrm>
            <a:off x="7024633" y="3109186"/>
            <a:ext cx="1291783" cy="234089"/>
          </a:xfrm>
          <a:prstGeom prst="rect">
            <a:avLst/>
          </a:prstGeom>
        </p:spPr>
      </p:pic>
      <p:pic>
        <p:nvPicPr>
          <p:cNvPr id="15" name="Picture 14">
            <a:extLst>
              <a:ext uri="{FF2B5EF4-FFF2-40B4-BE49-F238E27FC236}">
                <a16:creationId xmlns:a16="http://schemas.microsoft.com/office/drawing/2014/main" xmlns="" id="{EEEC9810-4D84-4CBE-BFCC-5929295576DD}"/>
              </a:ext>
            </a:extLst>
          </p:cNvPr>
          <p:cNvPicPr>
            <a:picLocks noChangeAspect="1"/>
          </p:cNvPicPr>
          <p:nvPr/>
        </p:nvPicPr>
        <p:blipFill>
          <a:blip r:embed="rId5" cstate="print"/>
          <a:stretch>
            <a:fillRect/>
          </a:stretch>
        </p:blipFill>
        <p:spPr>
          <a:xfrm>
            <a:off x="7164289" y="1950673"/>
            <a:ext cx="1152128" cy="203680"/>
          </a:xfrm>
          <a:prstGeom prst="rect">
            <a:avLst/>
          </a:prstGeom>
        </p:spPr>
      </p:pic>
    </p:spTree>
    <p:extLst>
      <p:ext uri="{BB962C8B-B14F-4D97-AF65-F5344CB8AC3E}">
        <p14:creationId xmlns:p14="http://schemas.microsoft.com/office/powerpoint/2010/main" xmlns="" val="3487588701"/>
      </p:ext>
    </p:extLst>
  </p:cSld>
  <p:clrMapOvr>
    <a:masterClrMapping/>
  </p:clrMapOvr>
  <mc:AlternateContent xmlns:mc="http://schemas.openxmlformats.org/markup-compatibility/2006">
    <mc:Choice xmlns:p14="http://schemas.microsoft.com/office/powerpoint/2010/main" xmlns="" Requires="p14">
      <p:transition spd="slow" p14:dur="2000" advTm="177187"/>
    </mc:Choice>
    <mc:Fallback>
      <p:transition spd="slow" advTm="177187"/>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Shape, circle&#10;&#10;Description automatically generated">
            <a:extLst>
              <a:ext uri="{FF2B5EF4-FFF2-40B4-BE49-F238E27FC236}">
                <a16:creationId xmlns:a16="http://schemas.microsoft.com/office/drawing/2014/main" xmlns="" id="{C75595C3-2BB0-4425-A105-C5C297A01711}"/>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653725" y="2234791"/>
            <a:ext cx="1604396" cy="1569860"/>
          </a:xfrm>
          <a:prstGeom prst="rect">
            <a:avLst/>
          </a:prstGeom>
        </p:spPr>
      </p:pic>
      <p:pic>
        <p:nvPicPr>
          <p:cNvPr id="7" name="Picture 6" descr="Shape, circle&#10;&#10;Description automatically generated">
            <a:extLst>
              <a:ext uri="{FF2B5EF4-FFF2-40B4-BE49-F238E27FC236}">
                <a16:creationId xmlns:a16="http://schemas.microsoft.com/office/drawing/2014/main" xmlns="" id="{F5CAC400-8B2F-4F98-B6A7-CD3EE0A9DAEC}"/>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334747" y="2263348"/>
            <a:ext cx="1604396" cy="1569860"/>
          </a:xfrm>
          <a:prstGeom prst="rect">
            <a:avLst/>
          </a:prstGeom>
        </p:spPr>
      </p:pic>
      <p:pic>
        <p:nvPicPr>
          <p:cNvPr id="5" name="Picture 4" descr="Shape, circle&#10;&#10;Description automatically generated">
            <a:extLst>
              <a:ext uri="{FF2B5EF4-FFF2-40B4-BE49-F238E27FC236}">
                <a16:creationId xmlns:a16="http://schemas.microsoft.com/office/drawing/2014/main" xmlns="" id="{503743BF-E2ED-4779-B5B0-B33B351021C2}"/>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276862" y="2263348"/>
            <a:ext cx="1604396" cy="1569860"/>
          </a:xfrm>
          <a:prstGeom prst="rect">
            <a:avLst/>
          </a:prstGeom>
        </p:spPr>
      </p:pic>
      <p:sp>
        <p:nvSpPr>
          <p:cNvPr id="2" name="Title 1">
            <a:extLst>
              <a:ext uri="{FF2B5EF4-FFF2-40B4-BE49-F238E27FC236}">
                <a16:creationId xmlns:a16="http://schemas.microsoft.com/office/drawing/2014/main" xmlns="" id="{B81FF106-FB0F-43BF-BCFC-E34D396BA2AF}"/>
              </a:ext>
            </a:extLst>
          </p:cNvPr>
          <p:cNvSpPr>
            <a:spLocks noGrp="1"/>
          </p:cNvSpPr>
          <p:nvPr>
            <p:ph type="title"/>
          </p:nvPr>
        </p:nvSpPr>
        <p:spPr>
          <a:xfrm>
            <a:off x="350328" y="1152694"/>
            <a:ext cx="6237515" cy="994172"/>
          </a:xfrm>
        </p:spPr>
        <p:txBody>
          <a:bodyPr/>
          <a:lstStyle/>
          <a:p>
            <a:r>
              <a:rPr lang="en-US" dirty="0"/>
              <a:t>	</a:t>
            </a:r>
            <a:r>
              <a:rPr lang="en-US" sz="4050" dirty="0"/>
              <a:t>          </a:t>
            </a:r>
            <a:r>
              <a:rPr lang="en-US" sz="4050" dirty="0">
                <a:solidFill>
                  <a:srgbClr val="1C3B8E"/>
                </a:solidFill>
                <a:latin typeface="Gotham Black" panose="02000603040000020004" pitchFamily="2" charset="0"/>
              </a:rPr>
              <a:t>Communication</a:t>
            </a:r>
            <a:endParaRPr lang="en-ZA" sz="4050" dirty="0">
              <a:solidFill>
                <a:srgbClr val="1C3B8E"/>
              </a:solidFill>
              <a:latin typeface="Gotham Black" panose="02000603040000020004" pitchFamily="2" charset="0"/>
            </a:endParaRPr>
          </a:p>
        </p:txBody>
      </p:sp>
      <p:sp>
        <p:nvSpPr>
          <p:cNvPr id="11" name="Oval 10">
            <a:extLst>
              <a:ext uri="{FF2B5EF4-FFF2-40B4-BE49-F238E27FC236}">
                <a16:creationId xmlns:a16="http://schemas.microsoft.com/office/drawing/2014/main" xmlns="" id="{A1C789C9-3D4B-459B-B128-D08C8A4BF288}"/>
              </a:ext>
            </a:extLst>
          </p:cNvPr>
          <p:cNvSpPr/>
          <p:nvPr/>
        </p:nvSpPr>
        <p:spPr>
          <a:xfrm>
            <a:off x="1044750" y="1809558"/>
            <a:ext cx="1092196" cy="1160983"/>
          </a:xfrm>
          <a:prstGeom prst="ellipse">
            <a:avLst/>
          </a:prstGeom>
          <a:noFill/>
        </p:spPr>
        <p:style>
          <a:lnRef idx="0">
            <a:schemeClr val="lt1">
              <a:alpha val="0"/>
              <a:hueOff val="0"/>
              <a:satOff val="0"/>
              <a:lumOff val="0"/>
              <a:alphaOff val="0"/>
            </a:schemeClr>
          </a:lnRef>
          <a:fillRef idx="1">
            <a:scrgbClr r="0" g="0" b="0"/>
          </a:fillRef>
          <a:effectRef idx="0">
            <a:schemeClr val="accent4">
              <a:hueOff val="0"/>
              <a:satOff val="0"/>
              <a:lumOff val="0"/>
              <a:alphaOff val="0"/>
            </a:schemeClr>
          </a:effectRef>
          <a:fontRef idx="minor"/>
        </p:style>
      </p:sp>
      <p:sp>
        <p:nvSpPr>
          <p:cNvPr id="13" name="Freeform: Shape 12">
            <a:extLst>
              <a:ext uri="{FF2B5EF4-FFF2-40B4-BE49-F238E27FC236}">
                <a16:creationId xmlns:a16="http://schemas.microsoft.com/office/drawing/2014/main" xmlns="" id="{CFEA5905-B3B9-41C4-8C1A-60785DD6AB23}"/>
              </a:ext>
            </a:extLst>
          </p:cNvPr>
          <p:cNvSpPr/>
          <p:nvPr/>
        </p:nvSpPr>
        <p:spPr>
          <a:xfrm>
            <a:off x="632376" y="3987183"/>
            <a:ext cx="2426513" cy="1248560"/>
          </a:xfrm>
          <a:custGeom>
            <a:avLst/>
            <a:gdLst>
              <a:gd name="connsiteX0" fmla="*/ 0 w 3235350"/>
              <a:gd name="connsiteY0" fmla="*/ 0 h 1664746"/>
              <a:gd name="connsiteX1" fmla="*/ 3235350 w 3235350"/>
              <a:gd name="connsiteY1" fmla="*/ 0 h 1664746"/>
              <a:gd name="connsiteX2" fmla="*/ 3235350 w 3235350"/>
              <a:gd name="connsiteY2" fmla="*/ 1664746 h 1664746"/>
              <a:gd name="connsiteX3" fmla="*/ 0 w 3235350"/>
              <a:gd name="connsiteY3" fmla="*/ 1664746 h 1664746"/>
              <a:gd name="connsiteX4" fmla="*/ 0 w 3235350"/>
              <a:gd name="connsiteY4" fmla="*/ 0 h 1664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5350" h="1664746">
                <a:moveTo>
                  <a:pt x="0" y="0"/>
                </a:moveTo>
                <a:lnTo>
                  <a:pt x="3235350" y="0"/>
                </a:lnTo>
                <a:lnTo>
                  <a:pt x="3235350" y="1664746"/>
                </a:lnTo>
                <a:lnTo>
                  <a:pt x="0" y="16647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466725" rtl="0" eaLnBrk="1" fontAlgn="auto" latinLnBrk="0" hangingPunct="1">
              <a:lnSpc>
                <a:spcPct val="100000"/>
              </a:lnSpc>
              <a:spcBef>
                <a:spcPct val="0"/>
              </a:spcBef>
              <a:spcAft>
                <a:spcPct val="35000"/>
              </a:spcAft>
              <a:buClrTx/>
              <a:buSzTx/>
              <a:buFontTx/>
              <a:buNone/>
              <a:tabLst/>
              <a:defRPr cap="all"/>
            </a:pPr>
            <a:r>
              <a:rPr kumimoji="0" lang="en-US" sz="1050" b="0" i="0" u="none" strike="noStrike" kern="1200" cap="all" spc="0" normalizeH="0" baseline="0" noProof="0" dirty="0">
                <a:ln>
                  <a:noFill/>
                </a:ln>
                <a:solidFill>
                  <a:srgbClr val="1C3B8E"/>
                </a:solidFill>
                <a:effectLst/>
                <a:uLnTx/>
                <a:uFillTx/>
                <a:latin typeface="Century Gothic" panose="020B0502020202020204" pitchFamily="34" charset="0"/>
                <a:ea typeface="+mn-ea"/>
                <a:cs typeface="+mn-cs"/>
              </a:rPr>
              <a:t>Give reassurance – evidence-led quality information: good set of tools to be used internally and externally (to form the foundation of discourse) </a:t>
            </a:r>
            <a:r>
              <a:rPr kumimoji="0" lang="en-US" sz="1050" b="0" i="0" u="none" strike="noStrike" kern="1200" cap="all" spc="0" normalizeH="0" baseline="0" noProof="0" dirty="0" err="1">
                <a:ln>
                  <a:noFill/>
                </a:ln>
                <a:solidFill>
                  <a:srgbClr val="1C3B8E"/>
                </a:solidFill>
                <a:effectLst/>
                <a:uLnTx/>
                <a:uFillTx/>
                <a:latin typeface="Century Gothic" panose="020B0502020202020204" pitchFamily="34" charset="0"/>
                <a:ea typeface="+mn-ea"/>
                <a:cs typeface="+mn-cs"/>
              </a:rPr>
              <a:t>e.G.</a:t>
            </a:r>
            <a:r>
              <a:rPr kumimoji="0" lang="en-US" sz="1050" b="0" i="0" u="none" strike="noStrike" kern="1200" cap="all" spc="0" normalizeH="0" baseline="0" noProof="0" dirty="0">
                <a:ln>
                  <a:noFill/>
                </a:ln>
                <a:solidFill>
                  <a:srgbClr val="1C3B8E"/>
                </a:solidFill>
                <a:effectLst/>
                <a:uLnTx/>
                <a:uFillTx/>
                <a:latin typeface="Century Gothic" panose="020B0502020202020204" pitchFamily="34" charset="0"/>
                <a:ea typeface="+mn-ea"/>
                <a:cs typeface="+mn-cs"/>
              </a:rPr>
              <a:t> FAQ/info sheet and voice-over slide presentation</a:t>
            </a:r>
          </a:p>
        </p:txBody>
      </p:sp>
      <p:sp>
        <p:nvSpPr>
          <p:cNvPr id="14" name="Oval 13">
            <a:extLst>
              <a:ext uri="{FF2B5EF4-FFF2-40B4-BE49-F238E27FC236}">
                <a16:creationId xmlns:a16="http://schemas.microsoft.com/office/drawing/2014/main" xmlns="" id="{EFC5AE16-0AF1-41DF-9499-2935588756DE}"/>
              </a:ext>
            </a:extLst>
          </p:cNvPr>
          <p:cNvSpPr/>
          <p:nvPr/>
        </p:nvSpPr>
        <p:spPr>
          <a:xfrm>
            <a:off x="4140715" y="2407338"/>
            <a:ext cx="1021657" cy="1021657"/>
          </a:xfrm>
          <a:prstGeom prst="ellipse">
            <a:avLst/>
          </a:prstGeom>
          <a:noFill/>
        </p:spPr>
        <p:style>
          <a:lnRef idx="0">
            <a:schemeClr val="lt1">
              <a:alpha val="0"/>
              <a:hueOff val="0"/>
              <a:satOff val="0"/>
              <a:lumOff val="0"/>
              <a:alphaOff val="0"/>
            </a:schemeClr>
          </a:lnRef>
          <a:fillRef idx="1">
            <a:scrgbClr r="0" g="0" b="0"/>
          </a:fillRef>
          <a:effectRef idx="0">
            <a:schemeClr val="accent4">
              <a:hueOff val="0"/>
              <a:satOff val="0"/>
              <a:lumOff val="0"/>
              <a:alphaOff val="0"/>
            </a:schemeClr>
          </a:effectRef>
          <a:fontRef idx="minor"/>
        </p:style>
      </p:sp>
      <p:sp>
        <p:nvSpPr>
          <p:cNvPr id="16" name="Freeform: Shape 15">
            <a:extLst>
              <a:ext uri="{FF2B5EF4-FFF2-40B4-BE49-F238E27FC236}">
                <a16:creationId xmlns:a16="http://schemas.microsoft.com/office/drawing/2014/main" xmlns="" id="{FB478118-4403-4A21-9E29-6AC92E1ADBAA}"/>
              </a:ext>
            </a:extLst>
          </p:cNvPr>
          <p:cNvSpPr/>
          <p:nvPr/>
        </p:nvSpPr>
        <p:spPr>
          <a:xfrm>
            <a:off x="3411844" y="3987183"/>
            <a:ext cx="2320313" cy="993522"/>
          </a:xfrm>
          <a:custGeom>
            <a:avLst/>
            <a:gdLst>
              <a:gd name="connsiteX0" fmla="*/ 0 w 3093750"/>
              <a:gd name="connsiteY0" fmla="*/ 0 h 1324696"/>
              <a:gd name="connsiteX1" fmla="*/ 3093750 w 3093750"/>
              <a:gd name="connsiteY1" fmla="*/ 0 h 1324696"/>
              <a:gd name="connsiteX2" fmla="*/ 3093750 w 3093750"/>
              <a:gd name="connsiteY2" fmla="*/ 1324696 h 1324696"/>
              <a:gd name="connsiteX3" fmla="*/ 0 w 3093750"/>
              <a:gd name="connsiteY3" fmla="*/ 1324696 h 1324696"/>
              <a:gd name="connsiteX4" fmla="*/ 0 w 3093750"/>
              <a:gd name="connsiteY4" fmla="*/ 0 h 132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1324696">
                <a:moveTo>
                  <a:pt x="0" y="0"/>
                </a:moveTo>
                <a:lnTo>
                  <a:pt x="3093750" y="0"/>
                </a:lnTo>
                <a:lnTo>
                  <a:pt x="3093750" y="1324696"/>
                </a:lnTo>
                <a:lnTo>
                  <a:pt x="0" y="132469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466725" rtl="0" eaLnBrk="1" fontAlgn="auto" latinLnBrk="0" hangingPunct="1">
              <a:lnSpc>
                <a:spcPct val="100000"/>
              </a:lnSpc>
              <a:spcBef>
                <a:spcPct val="0"/>
              </a:spcBef>
              <a:spcAft>
                <a:spcPct val="35000"/>
              </a:spcAft>
              <a:buClrTx/>
              <a:buSzTx/>
              <a:buFontTx/>
              <a:buNone/>
              <a:tabLst/>
              <a:defRPr cap="all"/>
            </a:pPr>
            <a:r>
              <a:rPr kumimoji="0" lang="en-US" sz="1050" b="0" i="0" u="none" strike="noStrike" kern="1200" cap="all" spc="0" normalizeH="0" baseline="0" noProof="0" dirty="0">
                <a:ln>
                  <a:noFill/>
                </a:ln>
                <a:solidFill>
                  <a:srgbClr val="1C3B8E"/>
                </a:solidFill>
                <a:effectLst/>
                <a:uLnTx/>
                <a:uFillTx/>
                <a:latin typeface="Century Gothic" panose="020B0502020202020204" pitchFamily="34" charset="0"/>
                <a:ea typeface="+mn-ea"/>
                <a:cs typeface="+mn-cs"/>
              </a:rPr>
              <a:t>Inspire trust through advocacy and info sharing: through a range of expert voices and “local” trusted people throughout the health system. Not a punitive approach, but respectful and reasonable, yet hopeful</a:t>
            </a:r>
          </a:p>
        </p:txBody>
      </p:sp>
      <p:sp>
        <p:nvSpPr>
          <p:cNvPr id="17" name="Oval 16">
            <a:extLst>
              <a:ext uri="{FF2B5EF4-FFF2-40B4-BE49-F238E27FC236}">
                <a16:creationId xmlns:a16="http://schemas.microsoft.com/office/drawing/2014/main" xmlns="" id="{5DBC2BA4-E75E-4ECB-ABAE-8A577DB67F02}"/>
              </a:ext>
            </a:extLst>
          </p:cNvPr>
          <p:cNvSpPr/>
          <p:nvPr/>
        </p:nvSpPr>
        <p:spPr>
          <a:xfrm>
            <a:off x="6270178" y="2528098"/>
            <a:ext cx="1552994" cy="1202516"/>
          </a:xfrm>
          <a:prstGeom prst="ellipse">
            <a:avLst/>
          </a:prstGeom>
          <a:noFill/>
        </p:spPr>
        <p:style>
          <a:lnRef idx="0">
            <a:schemeClr val="lt1">
              <a:alpha val="0"/>
              <a:hueOff val="0"/>
              <a:satOff val="0"/>
              <a:lumOff val="0"/>
              <a:alphaOff val="0"/>
            </a:schemeClr>
          </a:lnRef>
          <a:fillRef idx="1">
            <a:scrgbClr r="0" g="0" b="0"/>
          </a:fillRef>
          <a:effectRef idx="0">
            <a:schemeClr val="accent4">
              <a:hueOff val="0"/>
              <a:satOff val="0"/>
              <a:lumOff val="0"/>
              <a:alphaOff val="0"/>
            </a:schemeClr>
          </a:effectRef>
          <a:fontRef idx="minor"/>
        </p:style>
      </p:sp>
      <p:sp>
        <p:nvSpPr>
          <p:cNvPr id="19" name="Freeform: Shape 18">
            <a:extLst>
              <a:ext uri="{FF2B5EF4-FFF2-40B4-BE49-F238E27FC236}">
                <a16:creationId xmlns:a16="http://schemas.microsoft.com/office/drawing/2014/main" xmlns="" id="{45CD73BE-7053-4795-94CD-DE3039DFCAC2}"/>
              </a:ext>
            </a:extLst>
          </p:cNvPr>
          <p:cNvSpPr/>
          <p:nvPr/>
        </p:nvSpPr>
        <p:spPr>
          <a:xfrm>
            <a:off x="5939580" y="3953071"/>
            <a:ext cx="2320313" cy="1241456"/>
          </a:xfrm>
          <a:custGeom>
            <a:avLst/>
            <a:gdLst>
              <a:gd name="connsiteX0" fmla="*/ 0 w 3093750"/>
              <a:gd name="connsiteY0" fmla="*/ 0 h 1655275"/>
              <a:gd name="connsiteX1" fmla="*/ 3093750 w 3093750"/>
              <a:gd name="connsiteY1" fmla="*/ 0 h 1655275"/>
              <a:gd name="connsiteX2" fmla="*/ 3093750 w 3093750"/>
              <a:gd name="connsiteY2" fmla="*/ 1655275 h 1655275"/>
              <a:gd name="connsiteX3" fmla="*/ 0 w 3093750"/>
              <a:gd name="connsiteY3" fmla="*/ 1655275 h 1655275"/>
              <a:gd name="connsiteX4" fmla="*/ 0 w 3093750"/>
              <a:gd name="connsiteY4" fmla="*/ 0 h 165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3750" h="1655275">
                <a:moveTo>
                  <a:pt x="0" y="0"/>
                </a:moveTo>
                <a:lnTo>
                  <a:pt x="3093750" y="0"/>
                </a:lnTo>
                <a:lnTo>
                  <a:pt x="3093750" y="1655275"/>
                </a:lnTo>
                <a:lnTo>
                  <a:pt x="0" y="165527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466725" rtl="0" eaLnBrk="1" fontAlgn="auto" latinLnBrk="0" hangingPunct="1">
              <a:lnSpc>
                <a:spcPct val="100000"/>
              </a:lnSpc>
              <a:spcBef>
                <a:spcPct val="0"/>
              </a:spcBef>
              <a:spcAft>
                <a:spcPct val="35000"/>
              </a:spcAft>
              <a:buClrTx/>
              <a:buSzTx/>
              <a:buFontTx/>
              <a:buNone/>
              <a:tabLst/>
              <a:defRPr cap="all"/>
            </a:pPr>
            <a:r>
              <a:rPr kumimoji="0" lang="en-US" sz="1050" b="0" i="0" u="none" strike="noStrike" kern="1200" cap="all" spc="0" normalizeH="0" baseline="0" noProof="0" dirty="0">
                <a:ln>
                  <a:noFill/>
                </a:ln>
                <a:solidFill>
                  <a:srgbClr val="1C3B8E"/>
                </a:solidFill>
                <a:effectLst/>
                <a:uLnTx/>
                <a:uFillTx/>
                <a:latin typeface="Century Gothic" panose="020B0502020202020204" pitchFamily="34" charset="0"/>
                <a:ea typeface="+mn-ea"/>
                <a:cs typeface="+mn-cs"/>
              </a:rPr>
              <a:t>Hear voices, give honest feedback and be open and responsive: always give adequate time in sessions for listening and capturing feedback to ensure we maintain a dialogue. Counter polarization, while accepting we will not win all</a:t>
            </a:r>
          </a:p>
        </p:txBody>
      </p:sp>
      <p:pic>
        <p:nvPicPr>
          <p:cNvPr id="21" name="Picture 20">
            <a:extLst>
              <a:ext uri="{FF2B5EF4-FFF2-40B4-BE49-F238E27FC236}">
                <a16:creationId xmlns:a16="http://schemas.microsoft.com/office/drawing/2014/main" xmlns="" id="{708BCDA5-782A-4FB4-B54B-C8C6D251A693}"/>
              </a:ext>
            </a:extLst>
          </p:cNvPr>
          <p:cNvPicPr>
            <a:picLocks noChangeAspect="1"/>
          </p:cNvPicPr>
          <p:nvPr/>
        </p:nvPicPr>
        <p:blipFill>
          <a:blip r:embed="rId3" cstate="print">
            <a:extLst>
              <a:ext uri="{28A0092B-C50C-407E-A947-70E740481C1C}">
                <a14:useLocalDpi xmlns:a14="http://schemas.microsoft.com/office/drawing/2010/main" xmlns="" val="0"/>
              </a:ext>
            </a:extLst>
          </a:blip>
          <a:srcRect/>
          <a:stretch/>
        </p:blipFill>
        <p:spPr>
          <a:xfrm>
            <a:off x="6551618" y="2625641"/>
            <a:ext cx="1003067" cy="933980"/>
          </a:xfrm>
          <a:prstGeom prst="rect">
            <a:avLst/>
          </a:prstGeom>
        </p:spPr>
      </p:pic>
      <p:pic>
        <p:nvPicPr>
          <p:cNvPr id="23" name="Picture 22" descr="Icon&#10;&#10;Description automatically generated">
            <a:extLst>
              <a:ext uri="{FF2B5EF4-FFF2-40B4-BE49-F238E27FC236}">
                <a16:creationId xmlns:a16="http://schemas.microsoft.com/office/drawing/2014/main" xmlns="" id="{C1757BDE-D364-4EA5-A617-817B6C57DC91}"/>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674133" y="2512447"/>
            <a:ext cx="753382" cy="921893"/>
          </a:xfrm>
          <a:prstGeom prst="rect">
            <a:avLst/>
          </a:prstGeom>
        </p:spPr>
      </p:pic>
      <p:pic>
        <p:nvPicPr>
          <p:cNvPr id="31" name="Picture 30" descr="A picture containing text, light&#10;&#10;Description automatically generated">
            <a:extLst>
              <a:ext uri="{FF2B5EF4-FFF2-40B4-BE49-F238E27FC236}">
                <a16:creationId xmlns:a16="http://schemas.microsoft.com/office/drawing/2014/main" xmlns="" id="{1652DACD-46D9-4014-AFCD-C386F83A8D2D}"/>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982152" y="2565534"/>
            <a:ext cx="947540" cy="923289"/>
          </a:xfrm>
          <a:prstGeom prst="rect">
            <a:avLst/>
          </a:prstGeom>
        </p:spPr>
      </p:pic>
    </p:spTree>
    <p:extLst>
      <p:ext uri="{BB962C8B-B14F-4D97-AF65-F5344CB8AC3E}">
        <p14:creationId xmlns:p14="http://schemas.microsoft.com/office/powerpoint/2010/main" xmlns="" val="1043864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E5103A9-133C-4329-B84C-C98A5022DDFF}"/>
              </a:ext>
            </a:extLst>
          </p:cNvPr>
          <p:cNvSpPr>
            <a:spLocks noGrp="1"/>
          </p:cNvSpPr>
          <p:nvPr>
            <p:ph type="title"/>
          </p:nvPr>
        </p:nvSpPr>
        <p:spPr/>
        <p:txBody>
          <a:bodyPr>
            <a:normAutofit/>
          </a:bodyPr>
          <a:lstStyle/>
          <a:p>
            <a:r>
              <a:rPr lang="en-US" dirty="0">
                <a:solidFill>
                  <a:srgbClr val="1C3B8E"/>
                </a:solidFill>
              </a:rPr>
              <a:t>             </a:t>
            </a:r>
            <a:r>
              <a:rPr lang="en-US" sz="3000" b="1" dirty="0">
                <a:solidFill>
                  <a:srgbClr val="1C3B8E"/>
                </a:solidFill>
                <a:latin typeface="Gotham Black" panose="02000603040000020004" pitchFamily="2" charset="0"/>
              </a:rPr>
              <a:t>Tools that can help</a:t>
            </a:r>
            <a:endParaRPr lang="en-ZA" sz="3000" b="1" dirty="0">
              <a:solidFill>
                <a:srgbClr val="1C3B8E"/>
              </a:solidFill>
              <a:latin typeface="Gotham Black" panose="02000603040000020004" pitchFamily="2" charset="0"/>
            </a:endParaRPr>
          </a:p>
        </p:txBody>
      </p:sp>
      <p:sp>
        <p:nvSpPr>
          <p:cNvPr id="7" name="Text Placeholder 6">
            <a:extLst>
              <a:ext uri="{FF2B5EF4-FFF2-40B4-BE49-F238E27FC236}">
                <a16:creationId xmlns:a16="http://schemas.microsoft.com/office/drawing/2014/main" xmlns="" id="{F613AAFC-C3FF-4414-8F50-A85BE912625A}"/>
              </a:ext>
            </a:extLst>
          </p:cNvPr>
          <p:cNvSpPr>
            <a:spLocks noGrp="1"/>
          </p:cNvSpPr>
          <p:nvPr>
            <p:ph type="body" idx="1"/>
          </p:nvPr>
        </p:nvSpPr>
        <p:spPr/>
        <p:txBody>
          <a:bodyPr/>
          <a:lstStyle/>
          <a:p>
            <a:r>
              <a:rPr lang="en-US" dirty="0"/>
              <a:t>Coronavirus web page with resources</a:t>
            </a:r>
          </a:p>
        </p:txBody>
      </p:sp>
      <p:sp>
        <p:nvSpPr>
          <p:cNvPr id="3" name="Content Placeholder 2">
            <a:extLst>
              <a:ext uri="{FF2B5EF4-FFF2-40B4-BE49-F238E27FC236}">
                <a16:creationId xmlns:a16="http://schemas.microsoft.com/office/drawing/2014/main" xmlns="" id="{EE503076-6EB2-4CEE-9EAA-7B179E1C862E}"/>
              </a:ext>
            </a:extLst>
          </p:cNvPr>
          <p:cNvSpPr>
            <a:spLocks noGrp="1"/>
          </p:cNvSpPr>
          <p:nvPr>
            <p:ph sz="half" idx="2"/>
          </p:nvPr>
        </p:nvSpPr>
        <p:spPr/>
        <p:txBody>
          <a:bodyPr>
            <a:normAutofit/>
          </a:bodyPr>
          <a:lstStyle/>
          <a:p>
            <a:pPr marL="342900" indent="-342900">
              <a:buFont typeface="Courier New" panose="02070309020205020404" pitchFamily="49" charset="0"/>
              <a:buChar char="o"/>
            </a:pPr>
            <a:r>
              <a:rPr lang="en-US" sz="1350" dirty="0">
                <a:solidFill>
                  <a:srgbClr val="1C3B8E"/>
                </a:solidFill>
                <a:latin typeface="Gotham Book" panose="02000603040000020004" pitchFamily="2" charset="0"/>
                <a:hlinkClick r:id="rId2"/>
              </a:rPr>
              <a:t>https://coronavirus.westerncape.gov.za/covid-19-vaccination</a:t>
            </a:r>
            <a:endParaRPr lang="en-US" sz="1350" dirty="0">
              <a:solidFill>
                <a:srgbClr val="1C3B8E"/>
              </a:solidFill>
              <a:latin typeface="Gotham Book" panose="02000603040000020004" pitchFamily="2" charset="0"/>
            </a:endParaRPr>
          </a:p>
          <a:p>
            <a:pPr marL="342900" indent="-342900">
              <a:buFont typeface="Courier New" panose="02070309020205020404" pitchFamily="49" charset="0"/>
              <a:buChar char="o"/>
            </a:pPr>
            <a:endParaRPr lang="en-US" sz="1350" dirty="0">
              <a:solidFill>
                <a:srgbClr val="1C3B8E"/>
              </a:solidFill>
              <a:latin typeface="Gotham Book" panose="02000603040000020004" pitchFamily="2" charset="0"/>
            </a:endParaRPr>
          </a:p>
          <a:p>
            <a:pPr marL="342900" indent="-342900">
              <a:buFont typeface="Courier New" panose="02070309020205020404" pitchFamily="49" charset="0"/>
              <a:buChar char="o"/>
            </a:pPr>
            <a:endParaRPr lang="en-US" sz="1350" dirty="0">
              <a:solidFill>
                <a:srgbClr val="1C3B8E"/>
              </a:solidFill>
              <a:latin typeface="Gotham Book" panose="02000603040000020004" pitchFamily="2" charset="0"/>
            </a:endParaRPr>
          </a:p>
          <a:p>
            <a:pPr marL="342900" indent="-342900">
              <a:buFont typeface="Courier New" panose="02070309020205020404" pitchFamily="49" charset="0"/>
              <a:buChar char="o"/>
            </a:pPr>
            <a:endParaRPr lang="en-US" sz="1350" dirty="0">
              <a:solidFill>
                <a:srgbClr val="1C3B8E"/>
              </a:solidFill>
              <a:latin typeface="Gotham Book" panose="02000603040000020004" pitchFamily="2" charset="0"/>
            </a:endParaRPr>
          </a:p>
          <a:p>
            <a:pPr marL="342900" indent="-342900">
              <a:buFont typeface="Courier New" panose="02070309020205020404" pitchFamily="49" charset="0"/>
              <a:buChar char="o"/>
            </a:pPr>
            <a:endParaRPr lang="en-US" sz="1350" dirty="0">
              <a:solidFill>
                <a:srgbClr val="1C3B8E"/>
              </a:solidFill>
              <a:latin typeface="Gotham Book" panose="02000603040000020004" pitchFamily="2" charset="0"/>
            </a:endParaRPr>
          </a:p>
          <a:p>
            <a:pPr marL="342900" indent="-342900">
              <a:buFont typeface="Courier New" panose="02070309020205020404" pitchFamily="49" charset="0"/>
              <a:buChar char="o"/>
            </a:pPr>
            <a:endParaRPr lang="en-US" sz="1350" dirty="0">
              <a:solidFill>
                <a:srgbClr val="1C3B8E"/>
              </a:solidFill>
              <a:latin typeface="Gotham Book" panose="02000603040000020004" pitchFamily="2" charset="0"/>
            </a:endParaRPr>
          </a:p>
          <a:p>
            <a:pPr marL="342900" indent="-342900">
              <a:buFont typeface="Courier New" panose="02070309020205020404" pitchFamily="49" charset="0"/>
              <a:buChar char="o"/>
            </a:pPr>
            <a:endParaRPr lang="en-US" sz="1350" dirty="0">
              <a:solidFill>
                <a:srgbClr val="1C3B8E"/>
              </a:solidFill>
              <a:latin typeface="Gotham Book" panose="02000603040000020004" pitchFamily="2" charset="0"/>
            </a:endParaRPr>
          </a:p>
          <a:p>
            <a:endParaRPr lang="en-ZA" dirty="0"/>
          </a:p>
        </p:txBody>
      </p:sp>
      <p:sp>
        <p:nvSpPr>
          <p:cNvPr id="8" name="Text Placeholder 7">
            <a:extLst>
              <a:ext uri="{FF2B5EF4-FFF2-40B4-BE49-F238E27FC236}">
                <a16:creationId xmlns:a16="http://schemas.microsoft.com/office/drawing/2014/main" xmlns="" id="{297A5D20-15A3-46E6-8881-B0D5CAE36B1C}"/>
              </a:ext>
            </a:extLst>
          </p:cNvPr>
          <p:cNvSpPr>
            <a:spLocks noGrp="1"/>
          </p:cNvSpPr>
          <p:nvPr>
            <p:ph type="body" sz="quarter" idx="3"/>
          </p:nvPr>
        </p:nvSpPr>
        <p:spPr/>
        <p:txBody>
          <a:bodyPr/>
          <a:lstStyle/>
          <a:p>
            <a:r>
              <a:rPr lang="en-US" dirty="0"/>
              <a:t>Covid-19 Vaccination Fact Sheet</a:t>
            </a:r>
          </a:p>
        </p:txBody>
      </p:sp>
      <p:sp>
        <p:nvSpPr>
          <p:cNvPr id="9" name="Content Placeholder 8">
            <a:extLst>
              <a:ext uri="{FF2B5EF4-FFF2-40B4-BE49-F238E27FC236}">
                <a16:creationId xmlns:a16="http://schemas.microsoft.com/office/drawing/2014/main" xmlns="" id="{9AAAF924-7F26-421D-B5A5-DB93F78F161B}"/>
              </a:ext>
            </a:extLst>
          </p:cNvPr>
          <p:cNvSpPr>
            <a:spLocks noGrp="1"/>
          </p:cNvSpPr>
          <p:nvPr>
            <p:ph sz="quarter" idx="4"/>
          </p:nvPr>
        </p:nvSpPr>
        <p:spPr/>
        <p:txBody>
          <a:bodyPr>
            <a:normAutofit/>
          </a:bodyPr>
          <a:lstStyle/>
          <a:p>
            <a:endParaRPr lang="en-US"/>
          </a:p>
        </p:txBody>
      </p:sp>
      <p:pic>
        <p:nvPicPr>
          <p:cNvPr id="4" name="Graphic 3">
            <a:extLst>
              <a:ext uri="{FF2B5EF4-FFF2-40B4-BE49-F238E27FC236}">
                <a16:creationId xmlns:a16="http://schemas.microsoft.com/office/drawing/2014/main" xmlns="" id="{CD8AA249-69C7-4C90-B29A-326888EE7276}"/>
              </a:ext>
            </a:extLst>
          </p:cNvPr>
          <p:cNvPicPr>
            <a:picLocks noChangeAspect="1"/>
          </p:cNvPicPr>
          <p:nvPr/>
        </p:nvPicPr>
        <p:blipFill>
          <a:blip r:embed="rId3" cstate="print">
            <a:extLst>
              <a:ext uri="{96DAC541-7B7A-43D3-8B79-37D633B846F1}">
                <asvg:svgBlip xmlns:asvg="http://schemas.microsoft.com/office/drawing/2016/SVG/main" xmlns="" r:embed="rId4"/>
              </a:ext>
            </a:extLst>
          </a:blip>
          <a:stretch>
            <a:fillRect/>
          </a:stretch>
        </p:blipFill>
        <p:spPr>
          <a:xfrm>
            <a:off x="1123526" y="1256872"/>
            <a:ext cx="810289" cy="946166"/>
          </a:xfrm>
          <a:prstGeom prst="rect">
            <a:avLst/>
          </a:prstGeom>
        </p:spPr>
      </p:pic>
      <p:pic>
        <p:nvPicPr>
          <p:cNvPr id="5" name="Picture 4">
            <a:extLst>
              <a:ext uri="{FF2B5EF4-FFF2-40B4-BE49-F238E27FC236}">
                <a16:creationId xmlns:a16="http://schemas.microsoft.com/office/drawing/2014/main" xmlns="" id="{85F6BE29-9EBC-4470-B3E8-9F267DC6CC00}"/>
              </a:ext>
            </a:extLst>
          </p:cNvPr>
          <p:cNvPicPr>
            <a:picLocks noChangeAspect="1"/>
          </p:cNvPicPr>
          <p:nvPr/>
        </p:nvPicPr>
        <p:blipFill>
          <a:blip r:embed="rId5" cstate="print"/>
          <a:stretch>
            <a:fillRect/>
          </a:stretch>
        </p:blipFill>
        <p:spPr>
          <a:xfrm>
            <a:off x="741971" y="3226976"/>
            <a:ext cx="3830029" cy="1512902"/>
          </a:xfrm>
          <a:prstGeom prst="rect">
            <a:avLst/>
          </a:prstGeom>
        </p:spPr>
      </p:pic>
      <p:pic>
        <p:nvPicPr>
          <p:cNvPr id="6" name="Picture 5">
            <a:extLst>
              <a:ext uri="{FF2B5EF4-FFF2-40B4-BE49-F238E27FC236}">
                <a16:creationId xmlns:a16="http://schemas.microsoft.com/office/drawing/2014/main" xmlns="" id="{B211A200-1645-4EFC-B5BC-6A0EE0122831}"/>
              </a:ext>
            </a:extLst>
          </p:cNvPr>
          <p:cNvPicPr>
            <a:picLocks noChangeAspect="1"/>
          </p:cNvPicPr>
          <p:nvPr/>
        </p:nvPicPr>
        <p:blipFill>
          <a:blip r:embed="rId6" cstate="print"/>
          <a:stretch>
            <a:fillRect/>
          </a:stretch>
        </p:blipFill>
        <p:spPr>
          <a:xfrm>
            <a:off x="4629150" y="2736056"/>
            <a:ext cx="4155240" cy="2763440"/>
          </a:xfrm>
          <a:prstGeom prst="rect">
            <a:avLst/>
          </a:prstGeom>
        </p:spPr>
      </p:pic>
    </p:spTree>
    <p:extLst>
      <p:ext uri="{BB962C8B-B14F-4D97-AF65-F5344CB8AC3E}">
        <p14:creationId xmlns:p14="http://schemas.microsoft.com/office/powerpoint/2010/main" xmlns="" val="16569464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E5103A9-133C-4329-B84C-C98A5022DDFF}"/>
              </a:ext>
            </a:extLst>
          </p:cNvPr>
          <p:cNvSpPr>
            <a:spLocks noGrp="1"/>
          </p:cNvSpPr>
          <p:nvPr>
            <p:ph type="title"/>
          </p:nvPr>
        </p:nvSpPr>
        <p:spPr/>
        <p:txBody>
          <a:bodyPr>
            <a:normAutofit/>
          </a:bodyPr>
          <a:lstStyle/>
          <a:p>
            <a:r>
              <a:rPr lang="en-US" dirty="0">
                <a:solidFill>
                  <a:srgbClr val="1C3B8E"/>
                </a:solidFill>
              </a:rPr>
              <a:t>             </a:t>
            </a:r>
            <a:r>
              <a:rPr lang="en-US" sz="3000" b="1" dirty="0">
                <a:solidFill>
                  <a:srgbClr val="1C3B8E"/>
                </a:solidFill>
                <a:latin typeface="Gotham Black" panose="02000603040000020004" pitchFamily="2" charset="0"/>
              </a:rPr>
              <a:t>Tools that can help</a:t>
            </a:r>
            <a:endParaRPr lang="en-ZA" sz="3000" b="1" dirty="0">
              <a:solidFill>
                <a:srgbClr val="1C3B8E"/>
              </a:solidFill>
              <a:latin typeface="Gotham Black" panose="02000603040000020004" pitchFamily="2" charset="0"/>
            </a:endParaRPr>
          </a:p>
        </p:txBody>
      </p:sp>
      <p:sp>
        <p:nvSpPr>
          <p:cNvPr id="7" name="Text Placeholder 6">
            <a:extLst>
              <a:ext uri="{FF2B5EF4-FFF2-40B4-BE49-F238E27FC236}">
                <a16:creationId xmlns:a16="http://schemas.microsoft.com/office/drawing/2014/main" xmlns="" id="{F613AAFC-C3FF-4414-8F50-A85BE912625A}"/>
              </a:ext>
            </a:extLst>
          </p:cNvPr>
          <p:cNvSpPr>
            <a:spLocks noGrp="1"/>
          </p:cNvSpPr>
          <p:nvPr>
            <p:ph type="body" idx="1"/>
          </p:nvPr>
        </p:nvSpPr>
        <p:spPr/>
        <p:txBody>
          <a:bodyPr/>
          <a:lstStyle/>
          <a:p>
            <a:r>
              <a:rPr lang="en-US" dirty="0"/>
              <a:t> </a:t>
            </a:r>
            <a:r>
              <a:rPr lang="en-US" dirty="0">
                <a:solidFill>
                  <a:srgbClr val="1C3B8E"/>
                </a:solidFill>
              </a:rPr>
              <a:t>Video with encouragement</a:t>
            </a:r>
          </a:p>
        </p:txBody>
      </p:sp>
      <p:sp>
        <p:nvSpPr>
          <p:cNvPr id="3" name="Content Placeholder 2">
            <a:extLst>
              <a:ext uri="{FF2B5EF4-FFF2-40B4-BE49-F238E27FC236}">
                <a16:creationId xmlns:a16="http://schemas.microsoft.com/office/drawing/2014/main" xmlns="" id="{EE503076-6EB2-4CEE-9EAA-7B179E1C862E}"/>
              </a:ext>
            </a:extLst>
          </p:cNvPr>
          <p:cNvSpPr>
            <a:spLocks noGrp="1"/>
          </p:cNvSpPr>
          <p:nvPr>
            <p:ph sz="half" idx="2"/>
          </p:nvPr>
        </p:nvSpPr>
        <p:spPr/>
        <p:txBody>
          <a:bodyPr>
            <a:normAutofit/>
          </a:bodyPr>
          <a:lstStyle/>
          <a:p>
            <a:pPr marL="342900" indent="-342900">
              <a:buFont typeface="Courier New" panose="02070309020205020404" pitchFamily="49" charset="0"/>
              <a:buChar char="o"/>
            </a:pPr>
            <a:endParaRPr lang="en-US" sz="1350" dirty="0">
              <a:solidFill>
                <a:srgbClr val="1C3B8E"/>
              </a:solidFill>
              <a:latin typeface="Gotham Book" panose="02000603040000020004" pitchFamily="2" charset="0"/>
            </a:endParaRPr>
          </a:p>
          <a:p>
            <a:pPr marL="342900" indent="-342900">
              <a:buFont typeface="Courier New" panose="02070309020205020404" pitchFamily="49" charset="0"/>
              <a:buChar char="o"/>
            </a:pPr>
            <a:endParaRPr lang="en-US" sz="1350" dirty="0">
              <a:solidFill>
                <a:srgbClr val="1C3B8E"/>
              </a:solidFill>
              <a:latin typeface="Gotham Book" panose="02000603040000020004" pitchFamily="2" charset="0"/>
            </a:endParaRPr>
          </a:p>
          <a:p>
            <a:pPr marL="342900" indent="-342900">
              <a:buFont typeface="Courier New" panose="02070309020205020404" pitchFamily="49" charset="0"/>
              <a:buChar char="o"/>
            </a:pPr>
            <a:endParaRPr lang="en-US" sz="1350" dirty="0">
              <a:solidFill>
                <a:srgbClr val="1C3B8E"/>
              </a:solidFill>
              <a:latin typeface="Gotham Book" panose="02000603040000020004" pitchFamily="2" charset="0"/>
            </a:endParaRPr>
          </a:p>
          <a:p>
            <a:pPr marL="342900" indent="-342900">
              <a:buFont typeface="Courier New" panose="02070309020205020404" pitchFamily="49" charset="0"/>
              <a:buChar char="o"/>
            </a:pPr>
            <a:endParaRPr lang="en-US" sz="1350" dirty="0">
              <a:solidFill>
                <a:srgbClr val="1C3B8E"/>
              </a:solidFill>
              <a:latin typeface="Gotham Book" panose="02000603040000020004" pitchFamily="2" charset="0"/>
            </a:endParaRPr>
          </a:p>
          <a:p>
            <a:pPr marL="342900" indent="-342900">
              <a:buFont typeface="Courier New" panose="02070309020205020404" pitchFamily="49" charset="0"/>
              <a:buChar char="o"/>
            </a:pPr>
            <a:endParaRPr lang="en-US" sz="1350" dirty="0">
              <a:solidFill>
                <a:srgbClr val="1C3B8E"/>
              </a:solidFill>
              <a:latin typeface="Gotham Book" panose="02000603040000020004" pitchFamily="2" charset="0"/>
            </a:endParaRPr>
          </a:p>
          <a:p>
            <a:pPr marL="342900" indent="-342900">
              <a:buFont typeface="Courier New" panose="02070309020205020404" pitchFamily="49" charset="0"/>
              <a:buChar char="o"/>
            </a:pPr>
            <a:endParaRPr lang="en-US" sz="1350" dirty="0">
              <a:solidFill>
                <a:srgbClr val="1C3B8E"/>
              </a:solidFill>
              <a:latin typeface="Gotham Book" panose="02000603040000020004" pitchFamily="2" charset="0"/>
            </a:endParaRPr>
          </a:p>
          <a:p>
            <a:endParaRPr lang="en-ZA" dirty="0"/>
          </a:p>
        </p:txBody>
      </p:sp>
      <p:sp>
        <p:nvSpPr>
          <p:cNvPr id="8" name="Text Placeholder 7">
            <a:extLst>
              <a:ext uri="{FF2B5EF4-FFF2-40B4-BE49-F238E27FC236}">
                <a16:creationId xmlns:a16="http://schemas.microsoft.com/office/drawing/2014/main" xmlns="" id="{297A5D20-15A3-46E6-8881-B0D5CAE36B1C}"/>
              </a:ext>
            </a:extLst>
          </p:cNvPr>
          <p:cNvSpPr>
            <a:spLocks noGrp="1"/>
          </p:cNvSpPr>
          <p:nvPr>
            <p:ph type="body" sz="quarter" idx="3"/>
          </p:nvPr>
        </p:nvSpPr>
        <p:spPr>
          <a:xfrm>
            <a:off x="4629150" y="2118122"/>
            <a:ext cx="4514850" cy="617934"/>
          </a:xfrm>
        </p:spPr>
        <p:txBody>
          <a:bodyPr/>
          <a:lstStyle/>
          <a:p>
            <a:r>
              <a:rPr lang="en-US" dirty="0">
                <a:solidFill>
                  <a:srgbClr val="1C3B8E"/>
                </a:solidFill>
              </a:rPr>
              <a:t>Slideshow with basic science info and voice</a:t>
            </a:r>
          </a:p>
        </p:txBody>
      </p:sp>
      <p:pic>
        <p:nvPicPr>
          <p:cNvPr id="11" name="Content Placeholder 10">
            <a:extLst>
              <a:ext uri="{FF2B5EF4-FFF2-40B4-BE49-F238E27FC236}">
                <a16:creationId xmlns:a16="http://schemas.microsoft.com/office/drawing/2014/main" xmlns="" id="{3D5652F7-77CE-4752-AA2B-BAA4CEC2A787}"/>
              </a:ext>
            </a:extLst>
          </p:cNvPr>
          <p:cNvPicPr>
            <a:picLocks noGrp="1" noChangeAspect="1"/>
          </p:cNvPicPr>
          <p:nvPr>
            <p:ph sz="quarter" idx="4"/>
          </p:nvPr>
        </p:nvPicPr>
        <p:blipFill>
          <a:blip r:embed="rId2" cstate="print"/>
          <a:stretch>
            <a:fillRect/>
          </a:stretch>
        </p:blipFill>
        <p:spPr>
          <a:xfrm>
            <a:off x="4670111" y="2736056"/>
            <a:ext cx="3805469" cy="2763441"/>
          </a:xfrm>
          <a:prstGeom prst="rect">
            <a:avLst/>
          </a:prstGeom>
        </p:spPr>
      </p:pic>
      <p:pic>
        <p:nvPicPr>
          <p:cNvPr id="4" name="Graphic 3">
            <a:extLst>
              <a:ext uri="{FF2B5EF4-FFF2-40B4-BE49-F238E27FC236}">
                <a16:creationId xmlns:a16="http://schemas.microsoft.com/office/drawing/2014/main" xmlns="" id="{CD8AA249-69C7-4C90-B29A-326888EE7276}"/>
              </a:ext>
            </a:extLst>
          </p:cNvPr>
          <p:cNvPicPr>
            <a:picLocks noChangeAspect="1"/>
          </p:cNvPicPr>
          <p:nvPr/>
        </p:nvPicPr>
        <p:blipFill>
          <a:blip r:embed="rId3" cstate="print">
            <a:extLst>
              <a:ext uri="{96DAC541-7B7A-43D3-8B79-37D633B846F1}">
                <asvg:svgBlip xmlns:asvg="http://schemas.microsoft.com/office/drawing/2016/SVG/main" xmlns="" r:embed="rId4"/>
              </a:ext>
            </a:extLst>
          </a:blip>
          <a:stretch>
            <a:fillRect/>
          </a:stretch>
        </p:blipFill>
        <p:spPr>
          <a:xfrm>
            <a:off x="1123526" y="1256872"/>
            <a:ext cx="810289" cy="946166"/>
          </a:xfrm>
          <a:prstGeom prst="rect">
            <a:avLst/>
          </a:prstGeom>
        </p:spPr>
      </p:pic>
      <p:pic>
        <p:nvPicPr>
          <p:cNvPr id="12" name="Picture 11">
            <a:extLst>
              <a:ext uri="{FF2B5EF4-FFF2-40B4-BE49-F238E27FC236}">
                <a16:creationId xmlns:a16="http://schemas.microsoft.com/office/drawing/2014/main" xmlns="" id="{F9372ABC-7730-4B8A-8359-69EC6CB6382F}"/>
              </a:ext>
            </a:extLst>
          </p:cNvPr>
          <p:cNvPicPr>
            <a:picLocks noChangeAspect="1"/>
          </p:cNvPicPr>
          <p:nvPr/>
        </p:nvPicPr>
        <p:blipFill>
          <a:blip r:embed="rId5" cstate="print"/>
          <a:stretch>
            <a:fillRect/>
          </a:stretch>
        </p:blipFill>
        <p:spPr>
          <a:xfrm>
            <a:off x="680695" y="2736056"/>
            <a:ext cx="3783437" cy="2726789"/>
          </a:xfrm>
          <a:prstGeom prst="rect">
            <a:avLst/>
          </a:prstGeom>
        </p:spPr>
      </p:pic>
    </p:spTree>
    <p:extLst>
      <p:ext uri="{BB962C8B-B14F-4D97-AF65-F5344CB8AC3E}">
        <p14:creationId xmlns:p14="http://schemas.microsoft.com/office/powerpoint/2010/main" xmlns="" val="33082250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001489"/>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A5BB2699-2CDA-44A8-BE6E-DA302536D42F}"/>
              </a:ext>
            </a:extLst>
          </p:cNvPr>
          <p:cNvSpPr>
            <a:spLocks noGrp="1"/>
          </p:cNvSpPr>
          <p:nvPr>
            <p:ph type="body" sz="quarter" idx="12"/>
          </p:nvPr>
        </p:nvSpPr>
        <p:spPr>
          <a:xfrm>
            <a:off x="827584" y="2564513"/>
            <a:ext cx="6210968" cy="864487"/>
          </a:xfrm>
        </p:spPr>
        <p:txBody>
          <a:bodyPr>
            <a:noAutofit/>
          </a:bodyPr>
          <a:lstStyle/>
          <a:p>
            <a:pPr>
              <a:lnSpc>
                <a:spcPct val="150000"/>
              </a:lnSpc>
            </a:pPr>
            <a:r>
              <a:rPr lang="en-ZA" sz="3200" b="1" dirty="0"/>
              <a:t>Conclusions</a:t>
            </a:r>
          </a:p>
        </p:txBody>
      </p:sp>
    </p:spTree>
    <p:extLst>
      <p:ext uri="{BB962C8B-B14F-4D97-AF65-F5344CB8AC3E}">
        <p14:creationId xmlns:p14="http://schemas.microsoft.com/office/powerpoint/2010/main" xmlns="" val="13352834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100" dirty="0"/>
              <a:t>Concluding remarks</a:t>
            </a:r>
          </a:p>
        </p:txBody>
      </p:sp>
      <p:sp>
        <p:nvSpPr>
          <p:cNvPr id="5" name="Text Placeholder 4"/>
          <p:cNvSpPr>
            <a:spLocks noGrp="1"/>
          </p:cNvSpPr>
          <p:nvPr>
            <p:ph type="body" sz="quarter" idx="10"/>
          </p:nvPr>
        </p:nvSpPr>
        <p:spPr>
          <a:xfrm>
            <a:off x="395148" y="980728"/>
            <a:ext cx="8597205" cy="5695717"/>
          </a:xfrm>
        </p:spPr>
        <p:txBody>
          <a:bodyPr>
            <a:noAutofit/>
          </a:bodyPr>
          <a:lstStyle/>
          <a:p>
            <a:pPr marL="300044" indent="-300044">
              <a:lnSpc>
                <a:spcPct val="150000"/>
              </a:lnSpc>
              <a:buFont typeface="+mj-lt"/>
              <a:buAutoNum type="arabicPeriod"/>
            </a:pPr>
            <a:r>
              <a:rPr lang="en-ZA" sz="1700" b="0" dirty="0"/>
              <a:t>We </a:t>
            </a:r>
            <a:r>
              <a:rPr lang="en-ZA" sz="1700" dirty="0"/>
              <a:t>have passed the</a:t>
            </a:r>
            <a:r>
              <a:rPr lang="en-ZA" sz="1700" b="0" dirty="0"/>
              <a:t> </a:t>
            </a:r>
            <a:r>
              <a:rPr lang="en-ZA" sz="1700" dirty="0"/>
              <a:t>peak </a:t>
            </a:r>
            <a:r>
              <a:rPr lang="en-ZA" sz="1700" b="0" dirty="0"/>
              <a:t>of the </a:t>
            </a:r>
            <a:r>
              <a:rPr lang="en-ZA" sz="1700" dirty="0"/>
              <a:t>2</a:t>
            </a:r>
            <a:r>
              <a:rPr lang="en-ZA" sz="1700" baseline="30000" dirty="0"/>
              <a:t>nd</a:t>
            </a:r>
            <a:r>
              <a:rPr lang="en-ZA" sz="1700" dirty="0"/>
              <a:t> wave </a:t>
            </a:r>
            <a:r>
              <a:rPr lang="en-ZA" sz="1700" b="0" dirty="0"/>
              <a:t>in the Western Cape, with </a:t>
            </a:r>
            <a:r>
              <a:rPr lang="en-ZA" sz="1700" dirty="0"/>
              <a:t>clear and consistent signs </a:t>
            </a:r>
            <a:r>
              <a:rPr lang="en-ZA" sz="1700" b="0" dirty="0"/>
              <a:t>of decline in </a:t>
            </a:r>
            <a:r>
              <a:rPr lang="en-ZA" sz="1700" dirty="0"/>
              <a:t>cases, hospitalisation and deaths</a:t>
            </a:r>
            <a:r>
              <a:rPr lang="en-ZA" sz="1700" b="0" dirty="0"/>
              <a:t>.</a:t>
            </a:r>
          </a:p>
          <a:p>
            <a:pPr marL="300044" indent="-300044">
              <a:lnSpc>
                <a:spcPct val="150000"/>
              </a:lnSpc>
              <a:buFont typeface="+mj-lt"/>
              <a:buAutoNum type="arabicPeriod"/>
            </a:pPr>
            <a:r>
              <a:rPr lang="en-ZA" sz="1700" b="0" dirty="0"/>
              <a:t>Our </a:t>
            </a:r>
            <a:r>
              <a:rPr lang="en-ZA" sz="1700" dirty="0"/>
              <a:t>local teams </a:t>
            </a:r>
            <a:r>
              <a:rPr lang="en-ZA" sz="1700" b="0" dirty="0"/>
              <a:t>remain on </a:t>
            </a:r>
            <a:r>
              <a:rPr lang="en-ZA" sz="1700" dirty="0"/>
              <a:t>high alert for surveillance &amp; response </a:t>
            </a:r>
            <a:r>
              <a:rPr lang="en-ZA" sz="1700" b="0" dirty="0"/>
              <a:t>to localised clusters, </a:t>
            </a:r>
            <a:r>
              <a:rPr lang="en-ZA" sz="1700" dirty="0"/>
              <a:t>especially for the vulnerable</a:t>
            </a:r>
            <a:r>
              <a:rPr lang="en-ZA" sz="1700" b="0" dirty="0"/>
              <a:t>.</a:t>
            </a:r>
          </a:p>
          <a:p>
            <a:pPr marL="300044" indent="-300044">
              <a:lnSpc>
                <a:spcPct val="150000"/>
              </a:lnSpc>
              <a:buFont typeface="+mj-lt"/>
              <a:buAutoNum type="arabicPeriod"/>
            </a:pPr>
            <a:r>
              <a:rPr lang="en-ZA" sz="1700" b="0" dirty="0"/>
              <a:t>We should remain vigilant and continue to </a:t>
            </a:r>
            <a:r>
              <a:rPr lang="en-ZA" sz="1700" dirty="0"/>
              <a:t>adhere to protective behaviours to reduce new cases </a:t>
            </a:r>
            <a:r>
              <a:rPr lang="en-ZA" sz="1700" b="0" dirty="0"/>
              <a:t>– while restrictions are lifted in a phased manner.</a:t>
            </a:r>
          </a:p>
          <a:p>
            <a:pPr marL="309569" indent="-309569">
              <a:lnSpc>
                <a:spcPct val="150000"/>
              </a:lnSpc>
              <a:buFont typeface="+mj-lt"/>
              <a:buAutoNum type="arabicPeriod"/>
            </a:pPr>
            <a:r>
              <a:rPr lang="en-ZA" sz="1700" b="0" dirty="0"/>
              <a:t>Our </a:t>
            </a:r>
            <a:r>
              <a:rPr lang="en-ZA" sz="1700" dirty="0"/>
              <a:t>health care workers have faced </a:t>
            </a:r>
            <a:r>
              <a:rPr lang="en-ZA" sz="1700" b="0" dirty="0"/>
              <a:t>significant</a:t>
            </a:r>
            <a:r>
              <a:rPr lang="en-ZA" sz="1700" dirty="0"/>
              <a:t> mental and emotional strain</a:t>
            </a:r>
            <a:r>
              <a:rPr lang="en-ZA" sz="1700" b="0" dirty="0"/>
              <a:t>. We have started an </a:t>
            </a:r>
            <a:r>
              <a:rPr lang="en-ZA" sz="1700" dirty="0"/>
              <a:t>intentional process </a:t>
            </a:r>
            <a:r>
              <a:rPr lang="en-ZA" sz="1700" b="0" dirty="0"/>
              <a:t>of </a:t>
            </a:r>
            <a:r>
              <a:rPr lang="en-ZA" sz="1700" dirty="0"/>
              <a:t>grieving and healing</a:t>
            </a:r>
            <a:r>
              <a:rPr lang="en-ZA" sz="1700" b="0" dirty="0"/>
              <a:t>.  </a:t>
            </a:r>
          </a:p>
          <a:p>
            <a:pPr marL="309569" indent="-309569">
              <a:lnSpc>
                <a:spcPct val="150000"/>
              </a:lnSpc>
              <a:buFont typeface="+mj-lt"/>
              <a:buAutoNum type="arabicPeriod"/>
            </a:pPr>
            <a:r>
              <a:rPr lang="en-ZA" sz="1700" b="0" dirty="0"/>
              <a:t>It is essential to maintain a </a:t>
            </a:r>
            <a:r>
              <a:rPr lang="en-ZA" sz="1700" dirty="0"/>
              <a:t>strong focus on behaviour change </a:t>
            </a:r>
            <a:r>
              <a:rPr lang="en-ZA" sz="1700" b="0" dirty="0"/>
              <a:t>to ensure containment for the </a:t>
            </a:r>
            <a:r>
              <a:rPr lang="en-ZA" sz="1700" dirty="0"/>
              <a:t>coming months</a:t>
            </a:r>
            <a:r>
              <a:rPr lang="en-ZA" sz="1700" b="0" dirty="0"/>
              <a:t>, as we gear up access to </a:t>
            </a:r>
            <a:r>
              <a:rPr lang="en-ZA" sz="1700" dirty="0"/>
              <a:t>vaccines.</a:t>
            </a:r>
          </a:p>
          <a:p>
            <a:pPr marL="309569" indent="-309569">
              <a:lnSpc>
                <a:spcPct val="150000"/>
              </a:lnSpc>
              <a:buFont typeface="+mj-lt"/>
              <a:buAutoNum type="arabicPeriod"/>
            </a:pPr>
            <a:r>
              <a:rPr lang="en-ZA" sz="1700" b="0" dirty="0"/>
              <a:t>We should gear up the </a:t>
            </a:r>
            <a:r>
              <a:rPr lang="en-ZA" sz="1700" dirty="0"/>
              <a:t>implementation of vaccines </a:t>
            </a:r>
            <a:r>
              <a:rPr lang="en-ZA" sz="1700" b="0" dirty="0"/>
              <a:t>as the </a:t>
            </a:r>
            <a:r>
              <a:rPr lang="en-ZA" sz="1700" dirty="0"/>
              <a:t>key drive against COVID</a:t>
            </a:r>
            <a:r>
              <a:rPr lang="en-ZA" sz="1700" b="0" dirty="0"/>
              <a:t> over the coming months.</a:t>
            </a:r>
          </a:p>
        </p:txBody>
      </p:sp>
    </p:spTree>
    <p:extLst>
      <p:ext uri="{BB962C8B-B14F-4D97-AF65-F5344CB8AC3E}">
        <p14:creationId xmlns:p14="http://schemas.microsoft.com/office/powerpoint/2010/main" xmlns="" val="216296554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001489"/>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A5BB2699-2CDA-44A8-BE6E-DA302536D42F}"/>
              </a:ext>
            </a:extLst>
          </p:cNvPr>
          <p:cNvSpPr>
            <a:spLocks noGrp="1"/>
          </p:cNvSpPr>
          <p:nvPr>
            <p:ph type="body" sz="quarter" idx="12"/>
          </p:nvPr>
        </p:nvSpPr>
        <p:spPr>
          <a:xfrm>
            <a:off x="899592" y="2581089"/>
            <a:ext cx="6210968" cy="864487"/>
          </a:xfrm>
        </p:spPr>
        <p:txBody>
          <a:bodyPr>
            <a:noAutofit/>
          </a:bodyPr>
          <a:lstStyle/>
          <a:p>
            <a:pPr>
              <a:lnSpc>
                <a:spcPct val="150000"/>
              </a:lnSpc>
            </a:pPr>
            <a:r>
              <a:rPr lang="en-ZA" sz="3200" b="1" dirty="0"/>
              <a:t>Thank you</a:t>
            </a:r>
          </a:p>
        </p:txBody>
      </p:sp>
    </p:spTree>
    <p:extLst>
      <p:ext uri="{BB962C8B-B14F-4D97-AF65-F5344CB8AC3E}">
        <p14:creationId xmlns:p14="http://schemas.microsoft.com/office/powerpoint/2010/main" xmlns="" val="31610366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8C5EC38B-125D-4513-A67C-47E001203AE5}"/>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a:extLst>
              <a:ext uri="{FF2B5EF4-FFF2-40B4-BE49-F238E27FC236}">
                <a16:creationId xmlns:a16="http://schemas.microsoft.com/office/drawing/2014/main" xmlns="" id="{2DEC8702-F628-41FE-BDC6-E148CC81062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Go to Insert &gt; Header &amp; Footer &gt; Enter presentation name into footer field</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8" name="Title 1">
            <a:extLst>
              <a:ext uri="{FF2B5EF4-FFF2-40B4-BE49-F238E27FC236}">
                <a16:creationId xmlns:a16="http://schemas.microsoft.com/office/drawing/2014/main" xmlns="" id="{23D99315-0695-41AB-911D-E0D21637A95C}"/>
              </a:ext>
            </a:extLst>
          </p:cNvPr>
          <p:cNvSpPr txBox="1">
            <a:spLocks/>
          </p:cNvSpPr>
          <p:nvPr/>
        </p:nvSpPr>
        <p:spPr>
          <a:xfrm>
            <a:off x="323528" y="260648"/>
            <a:ext cx="8704062" cy="419442"/>
          </a:xfrm>
          <a:prstGeom prst="rect">
            <a:avLst/>
          </a:prstGeom>
        </p:spPr>
        <p:txBody>
          <a:bodyPr wrap="none">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ZA" sz="2400" b="1" i="0" u="none" strike="noStrike" kern="1200" cap="none" spc="0" normalizeH="0" baseline="0" noProof="0" dirty="0">
                <a:ln>
                  <a:noFill/>
                </a:ln>
                <a:solidFill>
                  <a:srgbClr val="003399"/>
                </a:solidFill>
                <a:effectLst/>
                <a:uLnTx/>
                <a:uFillTx/>
                <a:latin typeface="Century Gothic" pitchFamily="34" charset="0"/>
                <a:ea typeface="+mj-ea"/>
                <a:cs typeface="+mj-cs"/>
              </a:rPr>
              <a:t>Mortality by date of death</a:t>
            </a:r>
          </a:p>
        </p:txBody>
      </p:sp>
      <p:sp>
        <p:nvSpPr>
          <p:cNvPr id="9" name="TextBox 8">
            <a:extLst>
              <a:ext uri="{FF2B5EF4-FFF2-40B4-BE49-F238E27FC236}">
                <a16:creationId xmlns:a16="http://schemas.microsoft.com/office/drawing/2014/main" xmlns="" id="{350342DA-5B9C-4386-B969-24ABE70F3772}"/>
              </a:ext>
            </a:extLst>
          </p:cNvPr>
          <p:cNvSpPr txBox="1"/>
          <p:nvPr/>
        </p:nvSpPr>
        <p:spPr>
          <a:xfrm>
            <a:off x="7732650" y="6283484"/>
            <a:ext cx="1394934"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600" b="0" i="0" u="none" strike="noStrike" kern="1200" cap="none" spc="0" normalizeH="0" baseline="0" noProof="0" dirty="0">
                <a:ln>
                  <a:noFill/>
                </a:ln>
                <a:solidFill>
                  <a:prstClr val="black"/>
                </a:solidFill>
                <a:effectLst/>
                <a:uLnTx/>
                <a:uFillTx/>
                <a:latin typeface="Century Gothic"/>
                <a:ea typeface="+mn-ea"/>
                <a:cs typeface="+mn-cs"/>
              </a:rPr>
              <a:t>CMA – centred moving average</a:t>
            </a:r>
            <a:endParaRPr kumimoji="0" lang="en-GB" sz="600" b="0" i="0" u="none" strike="noStrike" kern="1200" cap="none" spc="0" normalizeH="0" baseline="0" noProof="0" dirty="0">
              <a:ln>
                <a:noFill/>
              </a:ln>
              <a:solidFill>
                <a:prstClr val="black"/>
              </a:solidFill>
              <a:effectLst/>
              <a:uLnTx/>
              <a:uFillTx/>
              <a:latin typeface="Century Gothic"/>
              <a:ea typeface="+mn-ea"/>
              <a:cs typeface="+mn-cs"/>
            </a:endParaRPr>
          </a:p>
        </p:txBody>
      </p:sp>
      <p:pic>
        <p:nvPicPr>
          <p:cNvPr id="6" name="Picture 5">
            <a:extLst>
              <a:ext uri="{FF2B5EF4-FFF2-40B4-BE49-F238E27FC236}">
                <a16:creationId xmlns:a16="http://schemas.microsoft.com/office/drawing/2014/main" xmlns="" id="{FD107190-86CD-4C36-BF0B-AB393EE35A04}"/>
              </a:ext>
            </a:extLst>
          </p:cNvPr>
          <p:cNvPicPr>
            <a:picLocks noChangeAspect="1"/>
          </p:cNvPicPr>
          <p:nvPr/>
        </p:nvPicPr>
        <p:blipFill>
          <a:blip r:embed="rId2" cstate="print"/>
          <a:stretch>
            <a:fillRect/>
          </a:stretch>
        </p:blipFill>
        <p:spPr>
          <a:xfrm>
            <a:off x="0" y="1257289"/>
            <a:ext cx="9144000" cy="5441693"/>
          </a:xfrm>
          <a:prstGeom prst="rect">
            <a:avLst/>
          </a:prstGeom>
        </p:spPr>
      </p:pic>
    </p:spTree>
    <p:extLst>
      <p:ext uri="{BB962C8B-B14F-4D97-AF65-F5344CB8AC3E}">
        <p14:creationId xmlns:p14="http://schemas.microsoft.com/office/powerpoint/2010/main" xmlns="" val="33539418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9CBF2CA-1BE7-46F3-9E76-BDCD44F76C62}"/>
              </a:ext>
            </a:extLst>
          </p:cNvPr>
          <p:cNvSpPr>
            <a:spLocks noGrp="1"/>
          </p:cNvSpPr>
          <p:nvPr>
            <p:ph type="title"/>
          </p:nvPr>
        </p:nvSpPr>
        <p:spPr/>
        <p:txBody>
          <a:bodyPr/>
          <a:lstStyle/>
          <a:p>
            <a:r>
              <a:rPr lang="en-ZA" dirty="0"/>
              <a:t>Current reproduction number</a:t>
            </a:r>
            <a:endParaRPr lang="en-GB" dirty="0"/>
          </a:p>
        </p:txBody>
      </p:sp>
      <p:sp>
        <p:nvSpPr>
          <p:cNvPr id="3" name="Slide Number Placeholder 2">
            <a:extLst>
              <a:ext uri="{FF2B5EF4-FFF2-40B4-BE49-F238E27FC236}">
                <a16:creationId xmlns:a16="http://schemas.microsoft.com/office/drawing/2014/main" xmlns="" id="{CFB9BDC9-4DBA-4EB3-99A0-122503AF84B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a:extLst>
              <a:ext uri="{FF2B5EF4-FFF2-40B4-BE49-F238E27FC236}">
                <a16:creationId xmlns:a16="http://schemas.microsoft.com/office/drawing/2014/main" xmlns="" id="{49372617-4DE7-439C-ADC2-B33DBD2C2B54}"/>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Go to Insert &gt; Header &amp; Footer &gt; Enter presentation name into footer field</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6" name="TextBox 5">
            <a:extLst>
              <a:ext uri="{FF2B5EF4-FFF2-40B4-BE49-F238E27FC236}">
                <a16:creationId xmlns:a16="http://schemas.microsoft.com/office/drawing/2014/main" xmlns="" id="{61E35B66-79C7-4FF5-96FF-65A3233E9C04}"/>
              </a:ext>
            </a:extLst>
          </p:cNvPr>
          <p:cNvSpPr txBox="1"/>
          <p:nvPr/>
        </p:nvSpPr>
        <p:spPr>
          <a:xfrm>
            <a:off x="6660232" y="6268095"/>
            <a:ext cx="2387192"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700" b="0" i="0" u="none" strike="noStrike" kern="1200" cap="none" spc="0" normalizeH="0" baseline="0" noProof="0" dirty="0">
                <a:ln>
                  <a:noFill/>
                </a:ln>
                <a:solidFill>
                  <a:prstClr val="black"/>
                </a:solidFill>
                <a:effectLst/>
                <a:uLnTx/>
                <a:uFillTx/>
                <a:latin typeface="Century Gothic"/>
                <a:ea typeface="+mn-ea"/>
                <a:cs typeface="+mn-cs"/>
              </a:rPr>
              <a:t>Approximated based on smoothed doubling times</a:t>
            </a:r>
            <a:endParaRPr kumimoji="0" lang="en-GB" sz="700" b="0" i="1" u="none" strike="noStrike" kern="1200" cap="none" spc="0" normalizeH="0" baseline="0" noProof="0" dirty="0">
              <a:ln>
                <a:noFill/>
              </a:ln>
              <a:solidFill>
                <a:prstClr val="black"/>
              </a:solidFill>
              <a:effectLst/>
              <a:uLnTx/>
              <a:uFillTx/>
              <a:latin typeface="Century Gothic"/>
              <a:ea typeface="+mn-ea"/>
              <a:cs typeface="+mn-cs"/>
            </a:endParaRPr>
          </a:p>
        </p:txBody>
      </p:sp>
      <p:pic>
        <p:nvPicPr>
          <p:cNvPr id="7" name="Picture 6">
            <a:extLst>
              <a:ext uri="{FF2B5EF4-FFF2-40B4-BE49-F238E27FC236}">
                <a16:creationId xmlns:a16="http://schemas.microsoft.com/office/drawing/2014/main" xmlns="" id="{C5AAF0EE-5A03-4BB6-920F-A3CD6CCD401E}"/>
              </a:ext>
            </a:extLst>
          </p:cNvPr>
          <p:cNvPicPr>
            <a:picLocks noChangeAspect="1"/>
          </p:cNvPicPr>
          <p:nvPr/>
        </p:nvPicPr>
        <p:blipFill>
          <a:blip r:embed="rId2" cstate="print"/>
          <a:stretch>
            <a:fillRect/>
          </a:stretch>
        </p:blipFill>
        <p:spPr>
          <a:xfrm>
            <a:off x="584722" y="1124744"/>
            <a:ext cx="3270996" cy="3099420"/>
          </a:xfrm>
          <a:prstGeom prst="rect">
            <a:avLst/>
          </a:prstGeom>
        </p:spPr>
      </p:pic>
      <p:pic>
        <p:nvPicPr>
          <p:cNvPr id="9" name="Picture 8">
            <a:extLst>
              <a:ext uri="{FF2B5EF4-FFF2-40B4-BE49-F238E27FC236}">
                <a16:creationId xmlns:a16="http://schemas.microsoft.com/office/drawing/2014/main" xmlns="" id="{7CA60129-F469-49D2-B4DC-4F3F0BE6073C}"/>
              </a:ext>
            </a:extLst>
          </p:cNvPr>
          <p:cNvPicPr>
            <a:picLocks noChangeAspect="1"/>
          </p:cNvPicPr>
          <p:nvPr/>
        </p:nvPicPr>
        <p:blipFill>
          <a:blip r:embed="rId3" cstate="print"/>
          <a:stretch>
            <a:fillRect/>
          </a:stretch>
        </p:blipFill>
        <p:spPr>
          <a:xfrm>
            <a:off x="5004048" y="1124744"/>
            <a:ext cx="2984541" cy="3046504"/>
          </a:xfrm>
          <a:prstGeom prst="rect">
            <a:avLst/>
          </a:prstGeom>
        </p:spPr>
      </p:pic>
      <p:pic>
        <p:nvPicPr>
          <p:cNvPr id="15" name="Picture 14">
            <a:extLst>
              <a:ext uri="{FF2B5EF4-FFF2-40B4-BE49-F238E27FC236}">
                <a16:creationId xmlns:a16="http://schemas.microsoft.com/office/drawing/2014/main" xmlns="" id="{8AC92921-88F8-4330-8AFF-94F7755EDC7F}"/>
              </a:ext>
            </a:extLst>
          </p:cNvPr>
          <p:cNvPicPr>
            <a:picLocks noChangeAspect="1"/>
          </p:cNvPicPr>
          <p:nvPr/>
        </p:nvPicPr>
        <p:blipFill>
          <a:blip r:embed="rId4" cstate="print"/>
          <a:stretch>
            <a:fillRect/>
          </a:stretch>
        </p:blipFill>
        <p:spPr>
          <a:xfrm>
            <a:off x="774789" y="4371594"/>
            <a:ext cx="3635896" cy="1926529"/>
          </a:xfrm>
          <a:prstGeom prst="rect">
            <a:avLst/>
          </a:prstGeom>
        </p:spPr>
      </p:pic>
      <p:pic>
        <p:nvPicPr>
          <p:cNvPr id="19" name="Picture 18">
            <a:extLst>
              <a:ext uri="{FF2B5EF4-FFF2-40B4-BE49-F238E27FC236}">
                <a16:creationId xmlns:a16="http://schemas.microsoft.com/office/drawing/2014/main" xmlns="" id="{141E0E98-886E-4C9B-85FC-F12F7C46349E}"/>
              </a:ext>
            </a:extLst>
          </p:cNvPr>
          <p:cNvPicPr>
            <a:picLocks noChangeAspect="1"/>
          </p:cNvPicPr>
          <p:nvPr/>
        </p:nvPicPr>
        <p:blipFill>
          <a:blip r:embed="rId5" cstate="print"/>
          <a:stretch>
            <a:fillRect/>
          </a:stretch>
        </p:blipFill>
        <p:spPr>
          <a:xfrm>
            <a:off x="4493226" y="4371303"/>
            <a:ext cx="3726300" cy="1896792"/>
          </a:xfrm>
          <a:prstGeom prst="rect">
            <a:avLst/>
          </a:prstGeom>
        </p:spPr>
      </p:pic>
    </p:spTree>
    <p:extLst>
      <p:ext uri="{BB962C8B-B14F-4D97-AF65-F5344CB8AC3E}">
        <p14:creationId xmlns:p14="http://schemas.microsoft.com/office/powerpoint/2010/main" xmlns="" val="26301863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46" name="Rectangle 45">
            <a:extLst>
              <a:ext uri="{FF2B5EF4-FFF2-40B4-BE49-F238E27FC236}">
                <a16:creationId xmlns:a16="http://schemas.microsoft.com/office/drawing/2014/main" xmlns="" id="{9B76D444-2756-434F-AE61-96D69830C13E}"/>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xmlns="" id="{A27B6159-7734-4564-9E0F-C4BC43C36E52}"/>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bwMode="ltGray">
          <a:xfrm>
            <a:off x="241173" y="4782312"/>
            <a:ext cx="8661654" cy="1755648"/>
          </a:xfrm>
          <a:prstGeom prst="rect">
            <a:avLst/>
          </a:prstGeom>
          <a:solidFill>
            <a:schemeClr val="tx1">
              <a:alpha val="93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Title 3">
            <a:extLst>
              <a:ext uri="{FF2B5EF4-FFF2-40B4-BE49-F238E27FC236}">
                <a16:creationId xmlns:a16="http://schemas.microsoft.com/office/drawing/2014/main" xmlns="" id="{06EC7DFA-AC8F-4349-B77F-69A75628C158}"/>
              </a:ext>
            </a:extLst>
          </p:cNvPr>
          <p:cNvSpPr>
            <a:spLocks noGrp="1"/>
          </p:cNvSpPr>
          <p:nvPr>
            <p:ph type="title"/>
          </p:nvPr>
        </p:nvSpPr>
        <p:spPr>
          <a:xfrm>
            <a:off x="630936" y="5009083"/>
            <a:ext cx="2167128" cy="1345997"/>
          </a:xfrm>
        </p:spPr>
        <p:txBody>
          <a:bodyPr vert="horz" lIns="91440" tIns="45720" rIns="91440" bIns="45720" rtlCol="0" anchor="ctr">
            <a:normAutofit/>
          </a:bodyPr>
          <a:lstStyle/>
          <a:p>
            <a:pPr defTabSz="914400"/>
            <a:r>
              <a:rPr lang="en-US" sz="2300" b="1" dirty="0">
                <a:solidFill>
                  <a:schemeClr val="bg1"/>
                </a:solidFill>
              </a:rPr>
              <a:t>Provincial Overview</a:t>
            </a:r>
          </a:p>
        </p:txBody>
      </p:sp>
      <p:cxnSp>
        <p:nvCxnSpPr>
          <p:cNvPr id="50" name="Straight Connector 49">
            <a:extLst>
              <a:ext uri="{FF2B5EF4-FFF2-40B4-BE49-F238E27FC236}">
                <a16:creationId xmlns:a16="http://schemas.microsoft.com/office/drawing/2014/main" xmlns="" id="{E2FFB46B-05BC-4950-B18A-9593FDAE6ED7}"/>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xmlns="" val="1"/>
              </p:ext>
            </p:extLst>
          </p:nvPr>
        </p:nvCxnSpPr>
        <p:spPr>
          <a:xfrm flipV="1">
            <a:off x="3044952" y="5237979"/>
            <a:ext cx="0" cy="914400"/>
          </a:xfrm>
          <a:prstGeom prst="line">
            <a:avLst/>
          </a:prstGeom>
          <a:ln w="190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xmlns="" id="{6B941F1C-799E-41F9-B01B-6369CA1A7B31}"/>
              </a:ext>
            </a:extLst>
          </p:cNvPr>
          <p:cNvSpPr txBox="1"/>
          <p:nvPr/>
        </p:nvSpPr>
        <p:spPr>
          <a:xfrm>
            <a:off x="3009322" y="4782312"/>
            <a:ext cx="5893505" cy="2018392"/>
          </a:xfrm>
          <a:prstGeom prst="rect">
            <a:avLst/>
          </a:prstGeom>
        </p:spPr>
        <p:txBody>
          <a:bodyPr vert="horz" lIns="91440" tIns="45720" rIns="91440" bIns="45720" rtlCol="0" anchor="ctr">
            <a:noAutofit/>
          </a:bodyPr>
          <a:lstStyle/>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The Western Cape continues its downward trajectory following the peak of the second wave in early January 2021. </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Using 7 day moving averages, confirmed cases have declined a further 44%, while admissions and deaths have dropped by 42% and 31% respectively.</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The proportion positive has dropped further to 13.47% on 29 January 2021.</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The province is heading towards levels seen prior to the second wave (late October) and may reach this at some point next week. </a:t>
            </a:r>
          </a:p>
          <a:p>
            <a:pPr marL="28575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While all data are pointing downwards, and we are relieved, we must take note that admissions and deaths are still high. The health system is still under pressure and everyone in the Western Cape is still at risk. </a:t>
            </a:r>
          </a:p>
          <a:p>
            <a:pPr marL="57150" marR="0" lvl="0" indent="0" algn="l" defTabSz="914400" rtl="0" eaLnBrk="1" fontAlgn="auto" latinLnBrk="0" hangingPunct="1">
              <a:lnSpc>
                <a:spcPct val="90000"/>
              </a:lnSpc>
              <a:spcBef>
                <a:spcPts val="0"/>
              </a:spcBef>
              <a:spcAft>
                <a:spcPts val="60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xmlns="" id="{539C89D7-C86C-4E32-BCE8-D5B1E5C0B2A3}"/>
              </a:ext>
            </a:extLst>
          </p:cNvPr>
          <p:cNvSpPr txBox="1"/>
          <p:nvPr/>
        </p:nvSpPr>
        <p:spPr>
          <a:xfrm>
            <a:off x="3284982" y="4782312"/>
            <a:ext cx="5232654" cy="1755648"/>
          </a:xfrm>
          <a:prstGeom prst="rect">
            <a:avLst/>
          </a:prstGeom>
        </p:spPr>
        <p:txBody>
          <a:bodyPr vert="horz" lIns="91440" tIns="45720" rIns="91440" bIns="45720" rtlCol="0" anchor="ctr">
            <a:normAutofit/>
          </a:bodyPr>
          <a:lstStyle/>
          <a:p>
            <a:pPr marL="57150" marR="0" lvl="0" indent="0" algn="l"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xmlns="" id="{D9034AF8-B289-4F46-9DBE-62DADE2708DE}"/>
              </a:ext>
            </a:extLst>
          </p:cNvPr>
          <p:cNvPicPr>
            <a:picLocks noChangeAspect="1"/>
          </p:cNvPicPr>
          <p:nvPr/>
        </p:nvPicPr>
        <p:blipFill>
          <a:blip r:embed="rId3" cstate="print"/>
          <a:stretch>
            <a:fillRect/>
          </a:stretch>
        </p:blipFill>
        <p:spPr>
          <a:xfrm>
            <a:off x="241173" y="-1"/>
            <a:ext cx="8661654" cy="4788017"/>
          </a:xfrm>
          <a:prstGeom prst="rect">
            <a:avLst/>
          </a:prstGeom>
        </p:spPr>
      </p:pic>
      <p:sp>
        <p:nvSpPr>
          <p:cNvPr id="13" name="TextBox 12">
            <a:extLst>
              <a:ext uri="{FF2B5EF4-FFF2-40B4-BE49-F238E27FC236}">
                <a16:creationId xmlns:a16="http://schemas.microsoft.com/office/drawing/2014/main" xmlns="" id="{B1D61468-D2EC-4306-B6E6-D4145187546C}"/>
              </a:ext>
            </a:extLst>
          </p:cNvPr>
          <p:cNvSpPr txBox="1"/>
          <p:nvPr/>
        </p:nvSpPr>
        <p:spPr>
          <a:xfrm>
            <a:off x="2555776" y="1124744"/>
            <a:ext cx="2140340"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00"/>
                </a:solidFill>
                <a:effectLst/>
                <a:uLnTx/>
                <a:uFillTx/>
                <a:latin typeface="Calibri" panose="020F0502020204030204"/>
                <a:ea typeface="+mn-ea"/>
                <a:cs typeface="+mn-cs"/>
              </a:rPr>
              <a:t>- 44%  in last wk </a:t>
            </a:r>
            <a:br>
              <a:rPr kumimoji="0" lang="en-US" sz="1400" b="0" i="0" u="none" strike="noStrike" kern="1200" cap="none" spc="0" normalizeH="0" baseline="0" noProof="0" dirty="0">
                <a:ln>
                  <a:noFill/>
                </a:ln>
                <a:solidFill>
                  <a:srgbClr val="FFFF00"/>
                </a:solidFill>
                <a:effectLst/>
                <a:uLnTx/>
                <a:uFillTx/>
                <a:latin typeface="Calibri" panose="020F0502020204030204"/>
                <a:ea typeface="+mn-ea"/>
                <a:cs typeface="+mn-cs"/>
              </a:rPr>
            </a:br>
            <a:r>
              <a:rPr kumimoji="0" lang="en-US" sz="1400" b="0" i="0" u="none" strike="noStrike" kern="1200" cap="none" spc="0" normalizeH="0" baseline="0" noProof="0" dirty="0">
                <a:ln>
                  <a:noFill/>
                </a:ln>
                <a:solidFill>
                  <a:srgbClr val="FFFF00"/>
                </a:solidFill>
                <a:effectLst/>
                <a:uLnTx/>
                <a:uFillTx/>
                <a:latin typeface="Calibri" panose="020F0502020204030204"/>
                <a:ea typeface="+mn-ea"/>
                <a:cs typeface="+mn-cs"/>
              </a:rPr>
              <a:t>(22-29 Jan)</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FFFF00"/>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xmlns="" id="{E923A781-E441-4B03-B823-8ACE8651FAD6}"/>
              </a:ext>
            </a:extLst>
          </p:cNvPr>
          <p:cNvSpPr txBox="1"/>
          <p:nvPr/>
        </p:nvSpPr>
        <p:spPr>
          <a:xfrm>
            <a:off x="2267744" y="3284984"/>
            <a:ext cx="2140340" cy="80021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00"/>
                </a:solidFill>
                <a:effectLst/>
                <a:uLnTx/>
                <a:uFillTx/>
                <a:latin typeface="Calibri" panose="020F0502020204030204"/>
                <a:ea typeface="+mn-ea"/>
                <a:cs typeface="+mn-cs"/>
              </a:rPr>
              <a:t>-42%  in last wk</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00"/>
                </a:solidFill>
                <a:effectLst/>
                <a:uLnTx/>
                <a:uFillTx/>
                <a:latin typeface="Calibri" panose="020F0502020204030204"/>
                <a:ea typeface="+mn-ea"/>
                <a:cs typeface="+mn-cs"/>
              </a:rPr>
              <a:t>(22-29 Ja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00"/>
                </a:solidFill>
                <a:effectLst/>
                <a:uLnTx/>
                <a:uFillTx/>
                <a:latin typeface="Calibri" panose="020F0502020204030204"/>
                <a:ea typeface="+mn-ea"/>
                <a:cs typeface="+mn-cs"/>
              </a:rPr>
              <a:t> </a:t>
            </a:r>
            <a:br>
              <a:rPr kumimoji="0" lang="en-US" sz="1400" b="0" i="0" u="none" strike="noStrike" kern="1200" cap="none" spc="0" normalizeH="0" baseline="0" noProof="0" dirty="0">
                <a:ln>
                  <a:noFill/>
                </a:ln>
                <a:solidFill>
                  <a:srgbClr val="FFFF00"/>
                </a:solidFill>
                <a:effectLst/>
                <a:uLnTx/>
                <a:uFillTx/>
                <a:latin typeface="Calibri" panose="020F0502020204030204"/>
                <a:ea typeface="+mn-ea"/>
                <a:cs typeface="+mn-cs"/>
              </a:rPr>
            </a:br>
            <a:endParaRPr kumimoji="0" lang="en-US" sz="400" b="0" i="0" u="none" strike="noStrike" kern="1200" cap="none" spc="0" normalizeH="0" baseline="0" noProof="0" dirty="0">
              <a:ln>
                <a:noFill/>
              </a:ln>
              <a:solidFill>
                <a:srgbClr val="FFFF00"/>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xmlns="" id="{5A9CA0FE-BE10-4202-9FEB-544294DA9329}"/>
              </a:ext>
            </a:extLst>
          </p:cNvPr>
          <p:cNvSpPr txBox="1"/>
          <p:nvPr/>
        </p:nvSpPr>
        <p:spPr>
          <a:xfrm>
            <a:off x="5806086" y="3315761"/>
            <a:ext cx="2140340"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00"/>
                </a:solidFill>
                <a:effectLst/>
                <a:uLnTx/>
                <a:uFillTx/>
                <a:latin typeface="Calibri" panose="020F0502020204030204"/>
                <a:ea typeface="+mn-ea"/>
                <a:cs typeface="+mn-cs"/>
              </a:rPr>
              <a:t>-31% (19-26 Jan)</a:t>
            </a:r>
            <a:br>
              <a:rPr kumimoji="0" lang="en-US" sz="1400" b="0" i="0" u="none" strike="noStrike" kern="1200" cap="none" spc="0" normalizeH="0" baseline="0" noProof="0" dirty="0">
                <a:ln>
                  <a:noFill/>
                </a:ln>
                <a:solidFill>
                  <a:srgbClr val="FFFF00"/>
                </a:solidFill>
                <a:effectLst/>
                <a:uLnTx/>
                <a:uFillTx/>
                <a:latin typeface="Calibri" panose="020F0502020204030204"/>
                <a:ea typeface="+mn-ea"/>
                <a:cs typeface="+mn-cs"/>
              </a:rPr>
            </a:br>
            <a:endParaRPr kumimoji="0" lang="en-US" sz="400" b="0" i="0" u="none" strike="noStrike" kern="1200" cap="none" spc="0" normalizeH="0" baseline="0" noProof="0" dirty="0">
              <a:ln>
                <a:noFill/>
              </a:ln>
              <a:solidFill>
                <a:srgbClr val="FFFF00"/>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998298537"/>
      </p:ext>
    </p:extLst>
  </p:cSld>
  <p:clrMapOvr>
    <a:overrideClrMapping bg1="dk1" tx1="lt1" bg2="dk2" tx2="lt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EB75D463-A388-4E86-BB99-03451CB5D521}"/>
              </a:ext>
            </a:extLst>
          </p:cNvPr>
          <p:cNvSpPr>
            <a:spLocks noGrp="1"/>
          </p:cNvSpPr>
          <p:nvPr>
            <p:ph type="sldNum" sz="quarter" idx="4"/>
          </p:nvPr>
        </p:nvSpPr>
        <p:spPr>
          <a:prstGeom prst="rect">
            <a:avLst/>
          </a:prstGeom>
        </p:spPr>
        <p:txBody>
          <a:bodyPr vert="horz" lIns="72000" tIns="72000" rIns="0" bIns="0" rtlCol="0" anchor="ctr"/>
          <a:lstStyle>
            <a:defPPr>
              <a:defRPr lang="en-US"/>
            </a:defPPr>
            <a:lvl1pPr marL="0" algn="r" defTabSz="914400" rtl="0" eaLnBrk="1" latinLnBrk="0" hangingPunct="1">
              <a:defRPr sz="900" kern="120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44546A"/>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ZA" sz="900" b="0" i="0" u="none" strike="noStrike" kern="1200" cap="none" spc="0" normalizeH="0" baseline="0" noProof="0" dirty="0">
              <a:ln>
                <a:noFill/>
              </a:ln>
              <a:solidFill>
                <a:srgbClr val="44546A"/>
              </a:solidFill>
              <a:effectLst/>
              <a:uLnTx/>
              <a:uFillTx/>
              <a:latin typeface="Century Gothic" pitchFamily="34" charset="0"/>
              <a:ea typeface="+mn-ea"/>
              <a:cs typeface="+mn-cs"/>
            </a:endParaRPr>
          </a:p>
        </p:txBody>
      </p:sp>
      <p:sp>
        <p:nvSpPr>
          <p:cNvPr id="4" name="Footer Placeholder 3">
            <a:extLst>
              <a:ext uri="{FF2B5EF4-FFF2-40B4-BE49-F238E27FC236}">
                <a16:creationId xmlns:a16="http://schemas.microsoft.com/office/drawing/2014/main" xmlns="" id="{CDCE3F59-8085-4144-90B2-15F803F89272}"/>
              </a:ext>
            </a:extLst>
          </p:cNvPr>
          <p:cNvSpPr>
            <a:spLocks noGrp="1"/>
          </p:cNvSpPr>
          <p:nvPr>
            <p:ph type="ftr" sz="quarter" idx="3"/>
          </p:nvPr>
        </p:nvSpPr>
        <p:spPr>
          <a:prstGeom prst="rect">
            <a:avLst/>
          </a:prstGeom>
        </p:spPr>
        <p:txBody>
          <a:bodyPr vert="horz" lIns="0" tIns="72000" rIns="72000" bIns="0" rtlCol="0" anchor="b"/>
          <a:lstStyle>
            <a:defPPr>
              <a:defRPr lang="en-US"/>
            </a:defPPr>
            <a:lvl1pPr marL="0" algn="l" defTabSz="914400" rtl="0" eaLnBrk="1" latinLnBrk="0" hangingPunct="1">
              <a:defRPr sz="8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A5A5A5"/>
                </a:solidFill>
                <a:effectLst/>
                <a:uLnTx/>
                <a:uFillTx/>
                <a:latin typeface="Calibri" panose="020F0502020204030204"/>
                <a:ea typeface="+mn-ea"/>
                <a:cs typeface="+mn-cs"/>
              </a:rPr>
              <a:t>Go to Insert &gt; Header &amp; Footer &gt; Enter presentation name into footer field</a:t>
            </a:r>
            <a:endParaRPr kumimoji="0" lang="en-GB" sz="800" b="0" i="0" u="none" strike="noStrike" kern="1200" cap="none" spc="0" normalizeH="0" baseline="0" noProof="0" dirty="0">
              <a:ln>
                <a:noFill/>
              </a:ln>
              <a:solidFill>
                <a:srgbClr val="A5A5A5"/>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xmlns="" id="{7B92C1F1-4292-46F4-AE4D-A729CC703588}"/>
              </a:ext>
            </a:extLst>
          </p:cNvPr>
          <p:cNvSpPr txBox="1">
            <a:spLocks/>
          </p:cNvSpPr>
          <p:nvPr/>
        </p:nvSpPr>
        <p:spPr>
          <a:xfrm>
            <a:off x="611560" y="200524"/>
            <a:ext cx="8563857" cy="419442"/>
          </a:xfrm>
          <a:prstGeom prst="rect">
            <a:avLst/>
          </a:prstGeom>
        </p:spPr>
        <p:txBody>
          <a:bodyPr wrap="none">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ZA" sz="2800" b="1" i="0" u="none" strike="noStrike" kern="1200" cap="none" spc="0" normalizeH="0" baseline="0" noProof="0" dirty="0">
                <a:ln>
                  <a:noFill/>
                </a:ln>
                <a:solidFill>
                  <a:srgbClr val="003399"/>
                </a:solidFill>
                <a:effectLst/>
                <a:uLnTx/>
                <a:uFillTx/>
                <a:latin typeface="Century Gothic" pitchFamily="34" charset="0"/>
                <a:ea typeface="+mj-ea"/>
                <a:cs typeface="+mj-cs"/>
              </a:rPr>
              <a:t>Active cases</a:t>
            </a:r>
          </a:p>
        </p:txBody>
      </p:sp>
      <p:sp>
        <p:nvSpPr>
          <p:cNvPr id="8" name="TextBox 7">
            <a:extLst>
              <a:ext uri="{FF2B5EF4-FFF2-40B4-BE49-F238E27FC236}">
                <a16:creationId xmlns:a16="http://schemas.microsoft.com/office/drawing/2014/main" xmlns="" id="{2CA02091-113E-4654-B293-A4F7E5E2E98E}"/>
              </a:ext>
            </a:extLst>
          </p:cNvPr>
          <p:cNvSpPr txBox="1"/>
          <p:nvPr/>
        </p:nvSpPr>
        <p:spPr>
          <a:xfrm>
            <a:off x="611560" y="1484784"/>
            <a:ext cx="100380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prstClr val="black"/>
                </a:solidFill>
                <a:effectLst/>
                <a:uLnTx/>
                <a:uFillTx/>
                <a:latin typeface="Calibri" panose="020F0502020204030204"/>
                <a:ea typeface="+mn-ea"/>
                <a:cs typeface="+mn-cs"/>
              </a:rPr>
              <a:t>Districts</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xmlns="" id="{F21D135B-1312-440E-AE45-86E1CE48FDBF}"/>
              </a:ext>
            </a:extLst>
          </p:cNvPr>
          <p:cNvSpPr txBox="1"/>
          <p:nvPr/>
        </p:nvSpPr>
        <p:spPr>
          <a:xfrm>
            <a:off x="5292080" y="1531496"/>
            <a:ext cx="274145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prstClr val="black"/>
                </a:solidFill>
                <a:effectLst/>
                <a:uLnTx/>
                <a:uFillTx/>
                <a:latin typeface="Calibri" panose="020F0502020204030204"/>
                <a:ea typeface="+mn-ea"/>
                <a:cs typeface="+mn-cs"/>
              </a:rPr>
              <a:t>Cape Town subdistricts</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xmlns="" id="{CE5A6066-289E-4F4C-BBAD-21787B2A54E6}"/>
              </a:ext>
            </a:extLst>
          </p:cNvPr>
          <p:cNvPicPr>
            <a:picLocks noChangeAspect="1"/>
          </p:cNvPicPr>
          <p:nvPr/>
        </p:nvPicPr>
        <p:blipFill>
          <a:blip r:embed="rId2" cstate="print"/>
          <a:stretch>
            <a:fillRect/>
          </a:stretch>
        </p:blipFill>
        <p:spPr>
          <a:xfrm>
            <a:off x="0" y="1966511"/>
            <a:ext cx="9144000" cy="2924978"/>
          </a:xfrm>
          <a:prstGeom prst="rect">
            <a:avLst/>
          </a:prstGeom>
        </p:spPr>
      </p:pic>
    </p:spTree>
    <p:extLst>
      <p:ext uri="{BB962C8B-B14F-4D97-AF65-F5344CB8AC3E}">
        <p14:creationId xmlns:p14="http://schemas.microsoft.com/office/powerpoint/2010/main" xmlns="" val="2927473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yPDc+YGAsVDnrAdBfm5OLomapWE3kVAqh9b2jawd28kRYNSZ2VM9Zq8jLnRQsKd+zm3flYlSQ3N6EyKkSMGAbtXZPDAgzPCqp12cLtaehhktX0tL2QJLqhJXT50rTZFve8mXKum9VLtDf8/Ef4PJE20Wfd9sEmg5jcWpaEZMya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PNDeIVz0RoyyGqFVhYARYQ"/>
</p:tagLst>
</file>

<file path=ppt/tags/tag787.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0.xml><?xml version="1.0" encoding="utf-8"?>
<a:theme xmlns:a="http://schemas.openxmlformats.org/drawingml/2006/main" name="17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1.xml><?xml version="1.0" encoding="utf-8"?>
<a:theme xmlns:a="http://schemas.openxmlformats.org/drawingml/2006/main" name="19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2.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3.xml><?xml version="1.0" encoding="utf-8"?>
<a:theme xmlns:a="http://schemas.openxmlformats.org/drawingml/2006/main" name="18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4.xml><?xml version="1.0" encoding="utf-8"?>
<a:theme xmlns:a="http://schemas.openxmlformats.org/drawingml/2006/main" name="20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5.xml><?xml version="1.0" encoding="utf-8"?>
<a:theme xmlns:a="http://schemas.openxmlformats.org/drawingml/2006/main" name="10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6.xml><?xml version="1.0" encoding="utf-8"?>
<a:theme xmlns:a="http://schemas.openxmlformats.org/drawingml/2006/main" name="4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7.xml><?xml version="1.0" encoding="utf-8"?>
<a:theme xmlns:a="http://schemas.openxmlformats.org/drawingml/2006/main" name="1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8.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9.xml><?xml version="1.0" encoding="utf-8"?>
<a:theme xmlns:a="http://schemas.openxmlformats.org/drawingml/2006/main" name="12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2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0.xml><?xml version="1.0" encoding="utf-8"?>
<a:theme xmlns:a="http://schemas.openxmlformats.org/drawingml/2006/main" name="14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1.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2.xml><?xml version="1.0" encoding="utf-8"?>
<a:theme xmlns:a="http://schemas.openxmlformats.org/drawingml/2006/main" name="5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4.xml><?xml version="1.0" encoding="utf-8"?>
<a:theme xmlns:a="http://schemas.openxmlformats.org/drawingml/2006/main" name="1_Custom Design">
  <a:themeElements>
    <a:clrScheme name="Custom 3">
      <a:dk1>
        <a:sysClr val="windowText" lastClr="000000"/>
      </a:dk1>
      <a:lt1>
        <a:sysClr val="window" lastClr="FFFFFF"/>
      </a:lt1>
      <a:dk2>
        <a:srgbClr val="005D28"/>
      </a:dk2>
      <a:lt2>
        <a:srgbClr val="7F7F7F"/>
      </a:lt2>
      <a:accent1>
        <a:srgbClr val="005D28"/>
      </a:accent1>
      <a:accent2>
        <a:srgbClr val="39931D"/>
      </a:accent2>
      <a:accent3>
        <a:srgbClr val="9BBB59"/>
      </a:accent3>
      <a:accent4>
        <a:srgbClr val="FFC000"/>
      </a:accent4>
      <a:accent5>
        <a:srgbClr val="81875A"/>
      </a:accent5>
      <a:accent6>
        <a:srgbClr val="FFFF00"/>
      </a:accent6>
      <a:hlink>
        <a:srgbClr val="0000FF"/>
      </a:hlink>
      <a:folHlink>
        <a:srgbClr val="FF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7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8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9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13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8.xml><?xml version="1.0" encoding="utf-8"?>
<a:theme xmlns:a="http://schemas.openxmlformats.org/drawingml/2006/main" name="WCGH">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78202CB7ED954397F173524F61860E" ma:contentTypeVersion="13" ma:contentTypeDescription="Create a new document." ma:contentTypeScope="" ma:versionID="7664ec56746ebb9da6aeb8d7e7052e10">
  <xsd:schema xmlns:xsd="http://www.w3.org/2001/XMLSchema" xmlns:xs="http://www.w3.org/2001/XMLSchema" xmlns:p="http://schemas.microsoft.com/office/2006/metadata/properties" xmlns:ns3="f30499d5-6c1a-4749-8333-c9ac3feca137" xmlns:ns4="2b32963d-efbb-428e-a395-a8a697098a5f" targetNamespace="http://schemas.microsoft.com/office/2006/metadata/properties" ma:root="true" ma:fieldsID="af4c0d99727b5354933912092a545ff5" ns3:_="" ns4:_="">
    <xsd:import namespace="f30499d5-6c1a-4749-8333-c9ac3feca137"/>
    <xsd:import namespace="2b32963d-efbb-428e-a395-a8a697098a5f"/>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AutoKeyPoints" minOccurs="0"/>
                <xsd:element ref="ns3:MediaServiceKeyPoints"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0499d5-6c1a-4749-8333-c9ac3feca1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b32963d-efbb-428e-a395-a8a697098a5f"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2F44A0B-A16A-4101-A743-87DE5934B4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30499d5-6c1a-4749-8333-c9ac3feca137"/>
    <ds:schemaRef ds:uri="2b32963d-efbb-428e-a395-a8a697098a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9437E67-15E5-4FC2-A244-11F0BBBF3B26}">
  <ds:schemaRefs>
    <ds:schemaRef ds:uri="http://schemas.microsoft.com/office/2006/metadata/properties"/>
    <ds:schemaRef ds:uri="f30499d5-6c1a-4749-8333-c9ac3feca137"/>
    <ds:schemaRef ds:uri="http://schemas.microsoft.com/office/2006/documentManagement/types"/>
    <ds:schemaRef ds:uri="http://purl.org/dc/elements/1.1/"/>
    <ds:schemaRef ds:uri="2b32963d-efbb-428e-a395-a8a697098a5f"/>
    <ds:schemaRef ds:uri="http://purl.org/dc/terms/"/>
    <ds:schemaRef ds:uri="http://purl.org/dc/dcmitype/"/>
    <ds:schemaRef ds:uri="http://www.w3.org/XML/1998/namespace"/>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0D605EAF-797F-43FB-BFA8-D2EF2799575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199</TotalTime>
  <Words>4119</Words>
  <Application>Microsoft Office PowerPoint</Application>
  <PresentationFormat>On-screen Show (4:3)</PresentationFormat>
  <Paragraphs>915</Paragraphs>
  <Slides>58</Slides>
  <Notes>9</Notes>
  <HiddenSlides>0</HiddenSlides>
  <MMClips>0</MMClips>
  <ScaleCrop>false</ScaleCrop>
  <HeadingPairs>
    <vt:vector size="6" baseType="variant">
      <vt:variant>
        <vt:lpstr>Theme</vt:lpstr>
      </vt:variant>
      <vt:variant>
        <vt:i4>25</vt:i4>
      </vt:variant>
      <vt:variant>
        <vt:lpstr>Embedded OLE Servers</vt:lpstr>
      </vt:variant>
      <vt:variant>
        <vt:i4>1</vt:i4>
      </vt:variant>
      <vt:variant>
        <vt:lpstr>Slide Titles</vt:lpstr>
      </vt:variant>
      <vt:variant>
        <vt:i4>58</vt:i4>
      </vt:variant>
    </vt:vector>
  </HeadingPairs>
  <TitlesOfParts>
    <vt:vector size="84" baseType="lpstr">
      <vt:lpstr>WCG-PPT Master-121022-amc</vt:lpstr>
      <vt:lpstr>2_WCG-PPT Master-121022-amc</vt:lpstr>
      <vt:lpstr>3_WCG-PPT Master-121022-amc</vt:lpstr>
      <vt:lpstr>7_WCG-PPT Master-121022-amc</vt:lpstr>
      <vt:lpstr>8_WCG-PPT Master-121022-amc</vt:lpstr>
      <vt:lpstr>9_WCG-PPT Master-121022-amc</vt:lpstr>
      <vt:lpstr>13_WCG-PPT Master-121022-amc</vt:lpstr>
      <vt:lpstr>WCGH</vt:lpstr>
      <vt:lpstr>Office Theme</vt:lpstr>
      <vt:lpstr>17_WCG-PPT Master-121022-amc</vt:lpstr>
      <vt:lpstr>19_WCG-PPT Master-121022-amc</vt:lpstr>
      <vt:lpstr>2_Office Theme</vt:lpstr>
      <vt:lpstr>18_WCG-PPT Master-121022-amc</vt:lpstr>
      <vt:lpstr>20_WCG-PPT Master-121022-amc</vt:lpstr>
      <vt:lpstr>10_WCG-PPT Master-121022-amc</vt:lpstr>
      <vt:lpstr>4_WCG-PPT Master-121022-amc</vt:lpstr>
      <vt:lpstr>11_WCG-PPT Master-121022-amc</vt:lpstr>
      <vt:lpstr>Custom Design</vt:lpstr>
      <vt:lpstr>12_WCG-PPT Master-121022-amc</vt:lpstr>
      <vt:lpstr>14_WCG-PPT Master-121022-amc</vt:lpstr>
      <vt:lpstr>1_WCG-PPT Master-121022-amc</vt:lpstr>
      <vt:lpstr>5_WCG-PPT Master-121022-amc</vt:lpstr>
      <vt:lpstr>3_Office Theme</vt:lpstr>
      <vt:lpstr>1_Custom Design</vt:lpstr>
      <vt:lpstr>1_Office Theme</vt:lpstr>
      <vt:lpstr>think-cell Slide</vt:lpstr>
      <vt:lpstr>Slide 1</vt:lpstr>
      <vt:lpstr>Overview </vt:lpstr>
      <vt:lpstr>Slide 3</vt:lpstr>
      <vt:lpstr>Slide 4</vt:lpstr>
      <vt:lpstr>Hospitalisation trends of patients with confirmed SARS-CoV-2 (including specialised hospitals, excluding PUIs)</vt:lpstr>
      <vt:lpstr>Slide 6</vt:lpstr>
      <vt:lpstr>Current reproduction number</vt:lpstr>
      <vt:lpstr>Provincial Overview</vt:lpstr>
      <vt:lpstr>Slide 9</vt:lpstr>
      <vt:lpstr>Metro Overview</vt:lpstr>
      <vt:lpstr>Rural Overview</vt:lpstr>
      <vt:lpstr>Triangulating with wastewater</vt:lpstr>
      <vt:lpstr>The seven day moving average of case numbers in the Garden Route continue to decline, and case numbers across all sub-districts are on a downward trajectory.   Hospitalisations and deaths are on a steady downward trajectory.  These data are re-assuring, but citizens must continue to protect themselves.   .   </vt:lpstr>
      <vt:lpstr>Slide 14</vt:lpstr>
      <vt:lpstr>Slide 15</vt:lpstr>
      <vt:lpstr>Acute service platform – general comments</vt:lpstr>
      <vt:lpstr>Slide 17</vt:lpstr>
      <vt:lpstr>  Daily oxygen consumption over past month – tons/day     </vt:lpstr>
      <vt:lpstr>Public Sector oxygen consumption trend - tons/day </vt:lpstr>
      <vt:lpstr>Oxygen utilisation – general comments</vt:lpstr>
      <vt:lpstr>Slide 21</vt:lpstr>
      <vt:lpstr>DailyTrends</vt:lpstr>
      <vt:lpstr>RIP</vt:lpstr>
      <vt:lpstr>High Level Summary on Recruitment Drive</vt:lpstr>
      <vt:lpstr>Slide 25</vt:lpstr>
      <vt:lpstr>Aims of COVID-19 vaccine in South Africa</vt:lpstr>
      <vt:lpstr>Vaccines with available efficacy results</vt:lpstr>
      <vt:lpstr>How does a viral vector vaccine (Oxford/ AstraZeneca, J&amp;J, Sputnik 5) work?</vt:lpstr>
      <vt:lpstr>How does mRNA vaccines (Pfizer, Moderna) work?</vt:lpstr>
      <vt:lpstr>Was the vaccine development rushed?</vt:lpstr>
      <vt:lpstr>Will the vaccine work against the new variant 501.V2?</vt:lpstr>
      <vt:lpstr>Current vaccine distribution (as at 1 Feb - 98 million doses given - Bloomberg.com)</vt:lpstr>
      <vt:lpstr>Vaccines on order – NDoH update</vt:lpstr>
      <vt:lpstr>NDoH update on expected delivery of vaccine doses</vt:lpstr>
      <vt:lpstr>NDoH confirmation of allocated 1st doses – Public Sector  employees on PERSAL</vt:lpstr>
      <vt:lpstr>NDoH confirmation of allocated 1st doses – Private Sector  employees</vt:lpstr>
      <vt:lpstr>Primary Distribution Plan Status</vt:lpstr>
      <vt:lpstr>COVID-19 Vaccine Supply Chain Timelines </vt:lpstr>
      <vt:lpstr>Functional processes </vt:lpstr>
      <vt:lpstr>Vaccine implementation update (1)</vt:lpstr>
      <vt:lpstr>Vaccine implementation update(2): Phases and  Prioritisation Groups  </vt:lpstr>
      <vt:lpstr>Vaccine implementation update (3): Phases and  Prioritisation Groups </vt:lpstr>
      <vt:lpstr>Vaccine implementation update (4): Master Facility List</vt:lpstr>
      <vt:lpstr>Vaccine implementation update (5): Administration Sites</vt:lpstr>
      <vt:lpstr>Vaccine implementation update (6): Distribution Plan</vt:lpstr>
      <vt:lpstr>Vaccine implementation update (7): SCM</vt:lpstr>
      <vt:lpstr>Vaccine implementation update (8): Training for  Vaccinators</vt:lpstr>
      <vt:lpstr>Vaccine implementation update (9): Training for  Vaccinators</vt:lpstr>
      <vt:lpstr>Vaccine implementation Update (10)</vt:lpstr>
      <vt:lpstr>Vaccine implementation Update (11) - Next steps</vt:lpstr>
      <vt:lpstr>Staff Readiness: Rapid Poll Results</vt:lpstr>
      <vt:lpstr>Staff Opinion Poll</vt:lpstr>
      <vt:lpstr>           Communication</vt:lpstr>
      <vt:lpstr>             Tools that can help</vt:lpstr>
      <vt:lpstr>             Tools that can help</vt:lpstr>
      <vt:lpstr>Slide 56</vt:lpstr>
      <vt:lpstr>Concluding remarks</vt:lpstr>
      <vt:lpstr>Slide 5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adiq Kariem</dc:creator>
  <cp:lastModifiedBy>USER</cp:lastModifiedBy>
  <cp:revision>52</cp:revision>
  <dcterms:created xsi:type="dcterms:W3CDTF">2021-01-18T15:54:07Z</dcterms:created>
  <dcterms:modified xsi:type="dcterms:W3CDTF">2021-02-03T15:15:38Z</dcterms:modified>
</cp:coreProperties>
</file>